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4" r:id="rId5"/>
    <p:sldMasterId id="2147483707" r:id="rId6"/>
    <p:sldMasterId id="2147483728" r:id="rId7"/>
  </p:sldMasterIdLst>
  <p:notesMasterIdLst>
    <p:notesMasterId r:id="rId28"/>
  </p:notesMasterIdLst>
  <p:sldIdLst>
    <p:sldId id="259" r:id="rId8"/>
    <p:sldId id="2147478041" r:id="rId9"/>
    <p:sldId id="266" r:id="rId10"/>
    <p:sldId id="260" r:id="rId11"/>
    <p:sldId id="272" r:id="rId12"/>
    <p:sldId id="2147477953" r:id="rId13"/>
    <p:sldId id="2147478062" r:id="rId14"/>
    <p:sldId id="2147477921" r:id="rId15"/>
    <p:sldId id="2147477987" r:id="rId16"/>
    <p:sldId id="2147477986" r:id="rId17"/>
    <p:sldId id="2147478092" r:id="rId18"/>
    <p:sldId id="2147478075" r:id="rId19"/>
    <p:sldId id="2147478093" r:id="rId20"/>
    <p:sldId id="2147478063" r:id="rId21"/>
    <p:sldId id="2147478095" r:id="rId22"/>
    <p:sldId id="2147478090" r:id="rId23"/>
    <p:sldId id="2147478097" r:id="rId24"/>
    <p:sldId id="2147478096" r:id="rId25"/>
    <p:sldId id="2147478065" r:id="rId26"/>
    <p:sldId id="2147477916" r:id="rId27"/>
  </p:sldIdLst>
  <p:sldSz cx="12192000" cy="6858000"/>
  <p:notesSz cx="6858000" cy="9144000"/>
  <p:custDataLst>
    <p:tags r:id="rId29"/>
  </p:custDataLst>
  <p:defaultTextStyle>
    <a:defPPr>
      <a:defRPr lang="nb-NO"/>
    </a:defPPr>
    <a:lvl1pPr marL="0" algn="l" defTabSz="914400" rtl="0" eaLnBrk="1" fontAlgn="ctr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fontAlgn="ctr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fontAlgn="ctr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fontAlgn="ctr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fontAlgn="ctr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fontAlgn="ctr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fontAlgn="ctr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fontAlgn="ctr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fontAlgn="ctr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6265CC8-7278-25C5-B4CC-07D619E84D5F}" name="Benedicte Aas Glad" initials="BAG" userId="S::benedicte.glad@novari.no::55a9e165-0d8a-4034-a14f-0bb2987705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F28A9B-714B-46A6-9BF9-03D76AB4B5ED}" v="107" dt="2025-10-29T11:29:24.454"/>
    <p1510:client id="{C2B1EF27-2B4A-2843-8D2C-0BDE2107F8FC}" v="299" dt="2025-10-29T11:33:56.573"/>
    <p1510:client id="{C3DF5177-B3C9-4131-A5FA-DD6A24424902}" v="5" dt="2025-10-29T11:12:17.9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36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e Synnøve Sundsteigen" userId="S::anne.synnove.sundsteigen@novari.no::19c42437-4938-46f5-882c-087437ab266b" providerId="AD" clId="Web-{C3DF5177-B3C9-4131-A5FA-DD6A24424902}"/>
    <pc:docChg chg="modSld">
      <pc:chgData name="Anne Synnøve Sundsteigen" userId="S::anne.synnove.sundsteigen@novari.no::19c42437-4938-46f5-882c-087437ab266b" providerId="AD" clId="Web-{C3DF5177-B3C9-4131-A5FA-DD6A24424902}" dt="2025-10-29T11:12:07.375" v="3"/>
      <pc:docMkLst>
        <pc:docMk/>
      </pc:docMkLst>
      <pc:sldChg chg="addSp delSp modSp">
        <pc:chgData name="Anne Synnøve Sundsteigen" userId="S::anne.synnove.sundsteigen@novari.no::19c42437-4938-46f5-882c-087437ab266b" providerId="AD" clId="Web-{C3DF5177-B3C9-4131-A5FA-DD6A24424902}" dt="2025-10-29T11:12:07.375" v="3"/>
        <pc:sldMkLst>
          <pc:docMk/>
          <pc:sldMk cId="1054550753" sldId="2147478090"/>
        </pc:sldMkLst>
        <pc:spChg chg="add del mod">
          <ac:chgData name="Anne Synnøve Sundsteigen" userId="S::anne.synnove.sundsteigen@novari.no::19c42437-4938-46f5-882c-087437ab266b" providerId="AD" clId="Web-{C3DF5177-B3C9-4131-A5FA-DD6A24424902}" dt="2025-10-29T11:12:07.375" v="3"/>
          <ac:spMkLst>
            <pc:docMk/>
            <pc:sldMk cId="1054550753" sldId="2147478090"/>
            <ac:spMk id="6" creationId="{594F918A-52DA-9469-A245-F1C4BA7F9EE2}"/>
          </ac:spMkLst>
        </pc:spChg>
      </pc:sldChg>
    </pc:docChg>
  </pc:docChgLst>
  <pc:docChgLst>
    <pc:chgData name="Anne Synnøve Sundsteigen" userId="19c42437-4938-46f5-882c-087437ab266b" providerId="ADAL" clId="{E9290A6A-0175-43D5-A765-7E6073D97469}"/>
    <pc:docChg chg="undo custSel addSld delSld modSld">
      <pc:chgData name="Anne Synnøve Sundsteigen" userId="19c42437-4938-46f5-882c-087437ab266b" providerId="ADAL" clId="{E9290A6A-0175-43D5-A765-7E6073D97469}" dt="2025-10-29T11:29:24.454" v="143" actId="1076"/>
      <pc:docMkLst>
        <pc:docMk/>
      </pc:docMkLst>
      <pc:sldChg chg="addSp delSp modSp mod modClrScheme chgLayout">
        <pc:chgData name="Anne Synnøve Sundsteigen" userId="19c42437-4938-46f5-882c-087437ab266b" providerId="ADAL" clId="{E9290A6A-0175-43D5-A765-7E6073D97469}" dt="2025-10-29T11:17:42.403" v="37" actId="255"/>
        <pc:sldMkLst>
          <pc:docMk/>
          <pc:sldMk cId="1054550753" sldId="2147478090"/>
        </pc:sldMkLst>
        <pc:spChg chg="mod">
          <ac:chgData name="Anne Synnøve Sundsteigen" userId="19c42437-4938-46f5-882c-087437ab266b" providerId="ADAL" clId="{E9290A6A-0175-43D5-A765-7E6073D97469}" dt="2025-10-29T11:17:42.403" v="37" actId="255"/>
          <ac:spMkLst>
            <pc:docMk/>
            <pc:sldMk cId="1054550753" sldId="2147478090"/>
            <ac:spMk id="2" creationId="{15E8076E-6EBC-7DC3-7DCC-F9FAD03D0B0D}"/>
          </ac:spMkLst>
        </pc:spChg>
        <pc:spChg chg="mod ord modVis">
          <ac:chgData name="Anne Synnøve Sundsteigen" userId="19c42437-4938-46f5-882c-087437ab266b" providerId="ADAL" clId="{E9290A6A-0175-43D5-A765-7E6073D97469}" dt="2025-10-29T11:14:02.301" v="6" actId="26606"/>
          <ac:spMkLst>
            <pc:docMk/>
            <pc:sldMk cId="1054550753" sldId="2147478090"/>
            <ac:spMk id="3" creationId="{4C933B78-59C9-C183-1BCE-52A5236240E5}"/>
          </ac:spMkLst>
        </pc:spChg>
        <pc:spChg chg="add del mod">
          <ac:chgData name="Anne Synnøve Sundsteigen" userId="19c42437-4938-46f5-882c-087437ab266b" providerId="ADAL" clId="{E9290A6A-0175-43D5-A765-7E6073D97469}" dt="2025-10-29T11:15:35.279" v="17" actId="20577"/>
          <ac:spMkLst>
            <pc:docMk/>
            <pc:sldMk cId="1054550753" sldId="2147478090"/>
            <ac:spMk id="4" creationId="{B1638798-E0E3-8777-F465-E005FA12CE15}"/>
          </ac:spMkLst>
        </pc:spChg>
        <pc:spChg chg="add del mod">
          <ac:chgData name="Anne Synnøve Sundsteigen" userId="19c42437-4938-46f5-882c-087437ab266b" providerId="ADAL" clId="{E9290A6A-0175-43D5-A765-7E6073D97469}" dt="2025-10-29T11:14:20.393" v="10" actId="20577"/>
          <ac:spMkLst>
            <pc:docMk/>
            <pc:sldMk cId="1054550753" sldId="2147478090"/>
            <ac:spMk id="5" creationId="{61442F55-9AD1-1353-3379-A50D286D40CE}"/>
          </ac:spMkLst>
        </pc:spChg>
        <pc:spChg chg="add del mod">
          <ac:chgData name="Anne Synnøve Sundsteigen" userId="19c42437-4938-46f5-882c-087437ab266b" providerId="ADAL" clId="{E9290A6A-0175-43D5-A765-7E6073D97469}" dt="2025-10-29T11:14:02.301" v="6" actId="26606"/>
          <ac:spMkLst>
            <pc:docMk/>
            <pc:sldMk cId="1054550753" sldId="2147478090"/>
            <ac:spMk id="12" creationId="{5CE7B7F7-D48D-FA0D-EE89-50AE28344B96}"/>
          </ac:spMkLst>
        </pc:spChg>
        <pc:spChg chg="add del mod">
          <ac:chgData name="Anne Synnøve Sundsteigen" userId="19c42437-4938-46f5-882c-087437ab266b" providerId="ADAL" clId="{E9290A6A-0175-43D5-A765-7E6073D97469}" dt="2025-10-29T11:14:02.301" v="6" actId="26606"/>
          <ac:spMkLst>
            <pc:docMk/>
            <pc:sldMk cId="1054550753" sldId="2147478090"/>
            <ac:spMk id="14" creationId="{AF6978B5-35DE-447C-E968-AA4D8E9E7102}"/>
          </ac:spMkLst>
        </pc:spChg>
        <pc:picChg chg="add del mod">
          <ac:chgData name="Anne Synnøve Sundsteigen" userId="19c42437-4938-46f5-882c-087437ab266b" providerId="ADAL" clId="{E9290A6A-0175-43D5-A765-7E6073D97469}" dt="2025-10-29T11:16:12.979" v="19" actId="21"/>
          <ac:picMkLst>
            <pc:docMk/>
            <pc:sldMk cId="1054550753" sldId="2147478090"/>
            <ac:picMk id="7" creationId="{778BFFA8-C462-5575-B4F8-69EF6F6284A0}"/>
          </ac:picMkLst>
        </pc:picChg>
      </pc:sldChg>
      <pc:sldChg chg="new del">
        <pc:chgData name="Anne Synnøve Sundsteigen" userId="19c42437-4938-46f5-882c-087437ab266b" providerId="ADAL" clId="{E9290A6A-0175-43D5-A765-7E6073D97469}" dt="2025-10-29T11:13:45.921" v="4" actId="680"/>
        <pc:sldMkLst>
          <pc:docMk/>
          <pc:sldMk cId="2571352183" sldId="2147478096"/>
        </pc:sldMkLst>
      </pc:sldChg>
      <pc:sldChg chg="addSp delSp modSp new mod modClrScheme chgLayout">
        <pc:chgData name="Anne Synnøve Sundsteigen" userId="19c42437-4938-46f5-882c-087437ab266b" providerId="ADAL" clId="{E9290A6A-0175-43D5-A765-7E6073D97469}" dt="2025-10-29T11:29:24.454" v="143" actId="1076"/>
        <pc:sldMkLst>
          <pc:docMk/>
          <pc:sldMk cId="3143838545" sldId="2147478096"/>
        </pc:sldMkLst>
        <pc:spChg chg="del">
          <ac:chgData name="Anne Synnøve Sundsteigen" userId="19c42437-4938-46f5-882c-087437ab266b" providerId="ADAL" clId="{E9290A6A-0175-43D5-A765-7E6073D97469}" dt="2025-10-29T11:14:49.699" v="14" actId="26606"/>
          <ac:spMkLst>
            <pc:docMk/>
            <pc:sldMk cId="3143838545" sldId="2147478096"/>
            <ac:spMk id="2" creationId="{F0C9C198-63FE-63F0-3FFC-13476ED6F1E2}"/>
          </ac:spMkLst>
        </pc:spChg>
        <pc:spChg chg="mod ord modVis">
          <ac:chgData name="Anne Synnøve Sundsteigen" userId="19c42437-4938-46f5-882c-087437ab266b" providerId="ADAL" clId="{E9290A6A-0175-43D5-A765-7E6073D97469}" dt="2025-10-29T11:14:49.699" v="14" actId="26606"/>
          <ac:spMkLst>
            <pc:docMk/>
            <pc:sldMk cId="3143838545" sldId="2147478096"/>
            <ac:spMk id="3" creationId="{D144D88D-BCD4-0D56-89A9-1105129F8693}"/>
          </ac:spMkLst>
        </pc:spChg>
        <pc:spChg chg="del">
          <ac:chgData name="Anne Synnøve Sundsteigen" userId="19c42437-4938-46f5-882c-087437ab266b" providerId="ADAL" clId="{E9290A6A-0175-43D5-A765-7E6073D97469}" dt="2025-10-29T11:14:49.699" v="14" actId="26606"/>
          <ac:spMkLst>
            <pc:docMk/>
            <pc:sldMk cId="3143838545" sldId="2147478096"/>
            <ac:spMk id="4" creationId="{4413D5C0-EA96-9F68-5483-83C742362B4E}"/>
          </ac:spMkLst>
        </pc:spChg>
        <pc:spChg chg="del">
          <ac:chgData name="Anne Synnøve Sundsteigen" userId="19c42437-4938-46f5-882c-087437ab266b" providerId="ADAL" clId="{E9290A6A-0175-43D5-A765-7E6073D97469}" dt="2025-10-29T11:14:49.699" v="14" actId="26606"/>
          <ac:spMkLst>
            <pc:docMk/>
            <pc:sldMk cId="3143838545" sldId="2147478096"/>
            <ac:spMk id="5" creationId="{F1FC904F-92B0-0ECA-EC77-8AA83902AC61}"/>
          </ac:spMkLst>
        </pc:spChg>
        <pc:spChg chg="add mod">
          <ac:chgData name="Anne Synnøve Sundsteigen" userId="19c42437-4938-46f5-882c-087437ab266b" providerId="ADAL" clId="{E9290A6A-0175-43D5-A765-7E6073D97469}" dt="2025-10-29T11:29:24.454" v="143" actId="1076"/>
          <ac:spMkLst>
            <pc:docMk/>
            <pc:sldMk cId="3143838545" sldId="2147478096"/>
            <ac:spMk id="8" creationId="{0FD680D8-3728-2968-8244-184E9C02E648}"/>
          </ac:spMkLst>
        </pc:spChg>
        <pc:spChg chg="add mod">
          <ac:chgData name="Anne Synnøve Sundsteigen" userId="19c42437-4938-46f5-882c-087437ab266b" providerId="ADAL" clId="{E9290A6A-0175-43D5-A765-7E6073D97469}" dt="2025-10-29T11:27:46.993" v="116" actId="20577"/>
          <ac:spMkLst>
            <pc:docMk/>
            <pc:sldMk cId="3143838545" sldId="2147478096"/>
            <ac:spMk id="12" creationId="{2E11754D-5D4C-2DEB-0C79-BDF009EBB1D8}"/>
          </ac:spMkLst>
        </pc:spChg>
        <pc:spChg chg="add mod">
          <ac:chgData name="Anne Synnøve Sundsteigen" userId="19c42437-4938-46f5-882c-087437ab266b" providerId="ADAL" clId="{E9290A6A-0175-43D5-A765-7E6073D97469}" dt="2025-10-29T11:28:56.933" v="140" actId="207"/>
          <ac:spMkLst>
            <pc:docMk/>
            <pc:sldMk cId="3143838545" sldId="2147478096"/>
            <ac:spMk id="14" creationId="{8C6D3513-3542-0C5A-F8EE-787B86B2153B}"/>
          </ac:spMkLst>
        </pc:spChg>
        <pc:spChg chg="add mod">
          <ac:chgData name="Anne Synnøve Sundsteigen" userId="19c42437-4938-46f5-882c-087437ab266b" providerId="ADAL" clId="{E9290A6A-0175-43D5-A765-7E6073D97469}" dt="2025-10-29T11:14:49.699" v="14" actId="26606"/>
          <ac:spMkLst>
            <pc:docMk/>
            <pc:sldMk cId="3143838545" sldId="2147478096"/>
            <ac:spMk id="16" creationId="{6A53F92A-D387-E620-AD6C-3C9DB90EF199}"/>
          </ac:spMkLst>
        </pc:spChg>
        <pc:picChg chg="add mod">
          <ac:chgData name="Anne Synnøve Sundsteigen" userId="19c42437-4938-46f5-882c-087437ab266b" providerId="ADAL" clId="{E9290A6A-0175-43D5-A765-7E6073D97469}" dt="2025-10-29T11:14:49.699" v="14" actId="26606"/>
          <ac:picMkLst>
            <pc:docMk/>
            <pc:sldMk cId="3143838545" sldId="2147478096"/>
            <ac:picMk id="7" creationId="{2D148238-C83C-D702-2E45-F7ED0432F460}"/>
          </ac:picMkLst>
        </pc:picChg>
      </pc:sldChg>
      <pc:sldChg chg="addSp modSp new mod">
        <pc:chgData name="Anne Synnøve Sundsteigen" userId="19c42437-4938-46f5-882c-087437ab266b" providerId="ADAL" clId="{E9290A6A-0175-43D5-A765-7E6073D97469}" dt="2025-10-29T11:27:18.183" v="114" actId="1076"/>
        <pc:sldMkLst>
          <pc:docMk/>
          <pc:sldMk cId="1604091534" sldId="2147478097"/>
        </pc:sldMkLst>
        <pc:spChg chg="mod">
          <ac:chgData name="Anne Synnøve Sundsteigen" userId="19c42437-4938-46f5-882c-087437ab266b" providerId="ADAL" clId="{E9290A6A-0175-43D5-A765-7E6073D97469}" dt="2025-10-29T11:19:23.830" v="38" actId="20577"/>
          <ac:spMkLst>
            <pc:docMk/>
            <pc:sldMk cId="1604091534" sldId="2147478097"/>
            <ac:spMk id="2" creationId="{3E003856-6D06-4C46-A75C-4F238409568F}"/>
          </ac:spMkLst>
        </pc:spChg>
        <pc:spChg chg="mod">
          <ac:chgData name="Anne Synnøve Sundsteigen" userId="19c42437-4938-46f5-882c-087437ab266b" providerId="ADAL" clId="{E9290A6A-0175-43D5-A765-7E6073D97469}" dt="2025-10-29T11:19:26.093" v="40" actId="20577"/>
          <ac:spMkLst>
            <pc:docMk/>
            <pc:sldMk cId="1604091534" sldId="2147478097"/>
            <ac:spMk id="4" creationId="{B0FD7CBA-55B0-391D-95D4-11E2D26B65C2}"/>
          </ac:spMkLst>
        </pc:spChg>
        <pc:spChg chg="mod">
          <ac:chgData name="Anne Synnøve Sundsteigen" userId="19c42437-4938-46f5-882c-087437ab266b" providerId="ADAL" clId="{E9290A6A-0175-43D5-A765-7E6073D97469}" dt="2025-10-29T11:19:24.914" v="39" actId="20577"/>
          <ac:spMkLst>
            <pc:docMk/>
            <pc:sldMk cId="1604091534" sldId="2147478097"/>
            <ac:spMk id="5" creationId="{145FCD46-C60D-63AD-A8D1-C35E7455F9C5}"/>
          </ac:spMkLst>
        </pc:spChg>
        <pc:picChg chg="add mod">
          <ac:chgData name="Anne Synnøve Sundsteigen" userId="19c42437-4938-46f5-882c-087437ab266b" providerId="ADAL" clId="{E9290A6A-0175-43D5-A765-7E6073D97469}" dt="2025-10-29T11:27:18.183" v="114" actId="1076"/>
          <ac:picMkLst>
            <pc:docMk/>
            <pc:sldMk cId="1604091534" sldId="2147478097"/>
            <ac:picMk id="6" creationId="{E9551C34-AE3D-4954-C69B-4A831F5CDC00}"/>
          </ac:picMkLst>
        </pc:picChg>
      </pc:sldChg>
    </pc:docChg>
  </pc:docChgLst>
  <pc:docChgLst>
    <pc:chgData name="Benedicte Aas Glad" userId="55a9e165-0d8a-4034-a14f-0bb29877055b" providerId="ADAL" clId="{07F21E20-7E9E-54B4-9300-50EF0F4B7C0B}"/>
    <pc:docChg chg="undo custSel addSld delSld modSld sldOrd">
      <pc:chgData name="Benedicte Aas Glad" userId="55a9e165-0d8a-4034-a14f-0bb29877055b" providerId="ADAL" clId="{07F21E20-7E9E-54B4-9300-50EF0F4B7C0B}" dt="2025-10-29T11:33:56.573" v="4122"/>
      <pc:docMkLst>
        <pc:docMk/>
      </pc:docMkLst>
      <pc:sldChg chg="modSp mod">
        <pc:chgData name="Benedicte Aas Glad" userId="55a9e165-0d8a-4034-a14f-0bb29877055b" providerId="ADAL" clId="{07F21E20-7E9E-54B4-9300-50EF0F4B7C0B}" dt="2025-10-27T07:56:22.163" v="67" actId="255"/>
        <pc:sldMkLst>
          <pc:docMk/>
          <pc:sldMk cId="593841140" sldId="259"/>
        </pc:sldMkLst>
        <pc:spChg chg="mod">
          <ac:chgData name="Benedicte Aas Glad" userId="55a9e165-0d8a-4034-a14f-0bb29877055b" providerId="ADAL" clId="{07F21E20-7E9E-54B4-9300-50EF0F4B7C0B}" dt="2025-10-27T07:56:22.163" v="67" actId="255"/>
          <ac:spMkLst>
            <pc:docMk/>
            <pc:sldMk cId="593841140" sldId="259"/>
            <ac:spMk id="7" creationId="{0101577E-8699-52D5-A641-C1755B36089D}"/>
          </ac:spMkLst>
        </pc:spChg>
      </pc:sldChg>
      <pc:sldChg chg="addSp delSp modSp add mod ord">
        <pc:chgData name="Benedicte Aas Glad" userId="55a9e165-0d8a-4034-a14f-0bb29877055b" providerId="ADAL" clId="{07F21E20-7E9E-54B4-9300-50EF0F4B7C0B}" dt="2025-10-28T19:06:00.604" v="2687" actId="20578"/>
        <pc:sldMkLst>
          <pc:docMk/>
          <pc:sldMk cId="3036882497" sldId="260"/>
        </pc:sldMkLst>
        <pc:spChg chg="mod">
          <ac:chgData name="Benedicte Aas Glad" userId="55a9e165-0d8a-4034-a14f-0bb29877055b" providerId="ADAL" clId="{07F21E20-7E9E-54B4-9300-50EF0F4B7C0B}" dt="2025-10-27T08:57:18.948" v="1945" actId="948"/>
          <ac:spMkLst>
            <pc:docMk/>
            <pc:sldMk cId="3036882497" sldId="260"/>
            <ac:spMk id="2" creationId="{B2B94021-9BCF-9DBA-B0E5-612035CAA529}"/>
          </ac:spMkLst>
        </pc:spChg>
        <pc:spChg chg="mod">
          <ac:chgData name="Benedicte Aas Glad" userId="55a9e165-0d8a-4034-a14f-0bb29877055b" providerId="ADAL" clId="{07F21E20-7E9E-54B4-9300-50EF0F4B7C0B}" dt="2025-10-27T08:57:09.199" v="1943" actId="1035"/>
          <ac:spMkLst>
            <pc:docMk/>
            <pc:sldMk cId="3036882497" sldId="260"/>
            <ac:spMk id="5" creationId="{0E730485-069B-7EF7-C733-1FEB6B54C7F9}"/>
          </ac:spMkLst>
        </pc:spChg>
        <pc:spChg chg="mod">
          <ac:chgData name="Benedicte Aas Glad" userId="55a9e165-0d8a-4034-a14f-0bb29877055b" providerId="ADAL" clId="{07F21E20-7E9E-54B4-9300-50EF0F4B7C0B}" dt="2025-10-27T08:57:09.199" v="1943" actId="1035"/>
          <ac:spMkLst>
            <pc:docMk/>
            <pc:sldMk cId="3036882497" sldId="260"/>
            <ac:spMk id="6" creationId="{77F4D43E-A1A2-4D9A-0907-93BB318C7331}"/>
          </ac:spMkLst>
        </pc:spChg>
        <pc:spChg chg="mod">
          <ac:chgData name="Benedicte Aas Glad" userId="55a9e165-0d8a-4034-a14f-0bb29877055b" providerId="ADAL" clId="{07F21E20-7E9E-54B4-9300-50EF0F4B7C0B}" dt="2025-10-27T08:57:09.199" v="1943" actId="1035"/>
          <ac:spMkLst>
            <pc:docMk/>
            <pc:sldMk cId="3036882497" sldId="260"/>
            <ac:spMk id="7" creationId="{7D0EB2A6-0F76-1576-C7B0-95CFD21E2AE9}"/>
          </ac:spMkLst>
        </pc:spChg>
        <pc:spChg chg="mod">
          <ac:chgData name="Benedicte Aas Glad" userId="55a9e165-0d8a-4034-a14f-0bb29877055b" providerId="ADAL" clId="{07F21E20-7E9E-54B4-9300-50EF0F4B7C0B}" dt="2025-10-27T08:57:09.199" v="1943" actId="1035"/>
          <ac:spMkLst>
            <pc:docMk/>
            <pc:sldMk cId="3036882497" sldId="260"/>
            <ac:spMk id="8" creationId="{A736BEE8-49BD-6CBF-2BBB-9F97A2FE06AD}"/>
          </ac:spMkLst>
        </pc:spChg>
        <pc:spChg chg="mod">
          <ac:chgData name="Benedicte Aas Glad" userId="55a9e165-0d8a-4034-a14f-0bb29877055b" providerId="ADAL" clId="{07F21E20-7E9E-54B4-9300-50EF0F4B7C0B}" dt="2025-10-27T08:57:09.199" v="1943" actId="1035"/>
          <ac:spMkLst>
            <pc:docMk/>
            <pc:sldMk cId="3036882497" sldId="260"/>
            <ac:spMk id="12" creationId="{D573A346-2B11-5C03-4EF7-F2FFA580B449}"/>
          </ac:spMkLst>
        </pc:spChg>
        <pc:spChg chg="mod">
          <ac:chgData name="Benedicte Aas Glad" userId="55a9e165-0d8a-4034-a14f-0bb29877055b" providerId="ADAL" clId="{07F21E20-7E9E-54B4-9300-50EF0F4B7C0B}" dt="2025-10-27T08:57:09.199" v="1943" actId="1035"/>
          <ac:spMkLst>
            <pc:docMk/>
            <pc:sldMk cId="3036882497" sldId="260"/>
            <ac:spMk id="14" creationId="{AD449A0A-7951-85C8-30E9-E1DE2F9938C0}"/>
          </ac:spMkLst>
        </pc:spChg>
        <pc:spChg chg="mod">
          <ac:chgData name="Benedicte Aas Glad" userId="55a9e165-0d8a-4034-a14f-0bb29877055b" providerId="ADAL" clId="{07F21E20-7E9E-54B4-9300-50EF0F4B7C0B}" dt="2025-10-27T08:57:09.199" v="1943" actId="1035"/>
          <ac:spMkLst>
            <pc:docMk/>
            <pc:sldMk cId="3036882497" sldId="260"/>
            <ac:spMk id="23" creationId="{A78749B5-390F-A95C-A655-0A4F6713D574}"/>
          </ac:spMkLst>
        </pc:spChg>
        <pc:spChg chg="mod">
          <ac:chgData name="Benedicte Aas Glad" userId="55a9e165-0d8a-4034-a14f-0bb29877055b" providerId="ADAL" clId="{07F21E20-7E9E-54B4-9300-50EF0F4B7C0B}" dt="2025-10-27T08:57:09.199" v="1943" actId="1035"/>
          <ac:spMkLst>
            <pc:docMk/>
            <pc:sldMk cId="3036882497" sldId="260"/>
            <ac:spMk id="24" creationId="{0EB12EF4-2708-4CEA-4EAD-E99136857A60}"/>
          </ac:spMkLst>
        </pc:spChg>
        <pc:graphicFrameChg chg="mod">
          <ac:chgData name="Benedicte Aas Glad" userId="55a9e165-0d8a-4034-a14f-0bb29877055b" providerId="ADAL" clId="{07F21E20-7E9E-54B4-9300-50EF0F4B7C0B}" dt="2025-10-27T08:57:18.966" v="1968"/>
          <ac:graphicFrameMkLst>
            <pc:docMk/>
            <pc:sldMk cId="3036882497" sldId="260"/>
            <ac:graphicFrameMk id="4" creationId="{14A57EF9-5970-303B-232A-E479AD0CECD1}"/>
          </ac:graphicFrameMkLst>
        </pc:graphicFrameChg>
        <pc:picChg chg="mod">
          <ac:chgData name="Benedicte Aas Glad" userId="55a9e165-0d8a-4034-a14f-0bb29877055b" providerId="ADAL" clId="{07F21E20-7E9E-54B4-9300-50EF0F4B7C0B}" dt="2025-10-27T08:57:09.199" v="1943" actId="1035"/>
          <ac:picMkLst>
            <pc:docMk/>
            <pc:sldMk cId="3036882497" sldId="260"/>
            <ac:picMk id="13" creationId="{9A5F821B-C0F7-8394-95BE-1232BC8CA890}"/>
          </ac:picMkLst>
        </pc:picChg>
        <pc:picChg chg="mod">
          <ac:chgData name="Benedicte Aas Glad" userId="55a9e165-0d8a-4034-a14f-0bb29877055b" providerId="ADAL" clId="{07F21E20-7E9E-54B4-9300-50EF0F4B7C0B}" dt="2025-10-27T08:57:09.199" v="1943" actId="1035"/>
          <ac:picMkLst>
            <pc:docMk/>
            <pc:sldMk cId="3036882497" sldId="260"/>
            <ac:picMk id="15" creationId="{A110EF28-5D13-E410-353B-2E2C5D0BA05A}"/>
          </ac:picMkLst>
        </pc:picChg>
      </pc:sldChg>
      <pc:sldChg chg="add modNotesTx">
        <pc:chgData name="Benedicte Aas Glad" userId="55a9e165-0d8a-4034-a14f-0bb29877055b" providerId="ADAL" clId="{07F21E20-7E9E-54B4-9300-50EF0F4B7C0B}" dt="2025-10-29T09:31:34.156" v="4097" actId="20577"/>
        <pc:sldMkLst>
          <pc:docMk/>
          <pc:sldMk cId="531959542" sldId="266"/>
        </pc:sldMkLst>
      </pc:sldChg>
      <pc:sldChg chg="modSp mod">
        <pc:chgData name="Benedicte Aas Glad" userId="55a9e165-0d8a-4034-a14f-0bb29877055b" providerId="ADAL" clId="{07F21E20-7E9E-54B4-9300-50EF0F4B7C0B}" dt="2025-10-28T20:04:46.795" v="4070" actId="207"/>
        <pc:sldMkLst>
          <pc:docMk/>
          <pc:sldMk cId="316989750" sldId="2147477921"/>
        </pc:sldMkLst>
        <pc:spChg chg="mod">
          <ac:chgData name="Benedicte Aas Glad" userId="55a9e165-0d8a-4034-a14f-0bb29877055b" providerId="ADAL" clId="{07F21E20-7E9E-54B4-9300-50EF0F4B7C0B}" dt="2025-10-28T20:04:46.795" v="4070" actId="207"/>
          <ac:spMkLst>
            <pc:docMk/>
            <pc:sldMk cId="316989750" sldId="2147477921"/>
            <ac:spMk id="2" creationId="{8A07974E-3A95-D902-C48E-B15D096FA5D6}"/>
          </ac:spMkLst>
        </pc:spChg>
      </pc:sldChg>
      <pc:sldChg chg="add">
        <pc:chgData name="Benedicte Aas Glad" userId="55a9e165-0d8a-4034-a14f-0bb29877055b" providerId="ADAL" clId="{07F21E20-7E9E-54B4-9300-50EF0F4B7C0B}" dt="2025-10-28T19:05:20.674" v="2686"/>
        <pc:sldMkLst>
          <pc:docMk/>
          <pc:sldMk cId="1445751863" sldId="2147477953"/>
        </pc:sldMkLst>
      </pc:sldChg>
      <pc:sldChg chg="modSp add del mod">
        <pc:chgData name="Benedicte Aas Glad" userId="55a9e165-0d8a-4034-a14f-0bb29877055b" providerId="ADAL" clId="{07F21E20-7E9E-54B4-9300-50EF0F4B7C0B}" dt="2025-10-28T19:20:35.241" v="3073" actId="2696"/>
        <pc:sldMkLst>
          <pc:docMk/>
          <pc:sldMk cId="2728588386" sldId="2147477983"/>
        </pc:sldMkLst>
        <pc:spChg chg="mod">
          <ac:chgData name="Benedicte Aas Glad" userId="55a9e165-0d8a-4034-a14f-0bb29877055b" providerId="ADAL" clId="{07F21E20-7E9E-54B4-9300-50EF0F4B7C0B}" dt="2025-10-28T10:20:09.114" v="2373" actId="20577"/>
          <ac:spMkLst>
            <pc:docMk/>
            <pc:sldMk cId="2728588386" sldId="2147477983"/>
            <ac:spMk id="7" creationId="{29DC407D-BE3D-500B-ED0B-8643EE8E533E}"/>
          </ac:spMkLst>
        </pc:spChg>
      </pc:sldChg>
      <pc:sldChg chg="addSp modSp add mod">
        <pc:chgData name="Benedicte Aas Glad" userId="55a9e165-0d8a-4034-a14f-0bb29877055b" providerId="ADAL" clId="{07F21E20-7E9E-54B4-9300-50EF0F4B7C0B}" dt="2025-10-28T20:04:18.584" v="4066" actId="207"/>
        <pc:sldMkLst>
          <pc:docMk/>
          <pc:sldMk cId="293881043" sldId="2147477986"/>
        </pc:sldMkLst>
        <pc:spChg chg="add mod">
          <ac:chgData name="Benedicte Aas Glad" userId="55a9e165-0d8a-4034-a14f-0bb29877055b" providerId="ADAL" clId="{07F21E20-7E9E-54B4-9300-50EF0F4B7C0B}" dt="2025-10-27T09:07:42.173" v="2341" actId="403"/>
          <ac:spMkLst>
            <pc:docMk/>
            <pc:sldMk cId="293881043" sldId="2147477986"/>
            <ac:spMk id="2" creationId="{DC9987F8-A1AF-163C-BA7E-2E6945B7FBA4}"/>
          </ac:spMkLst>
        </pc:spChg>
        <pc:spChg chg="add mod">
          <ac:chgData name="Benedicte Aas Glad" userId="55a9e165-0d8a-4034-a14f-0bb29877055b" providerId="ADAL" clId="{07F21E20-7E9E-54B4-9300-50EF0F4B7C0B}" dt="2025-10-27T09:08:09.616" v="2358" actId="207"/>
          <ac:spMkLst>
            <pc:docMk/>
            <pc:sldMk cId="293881043" sldId="2147477986"/>
            <ac:spMk id="3" creationId="{DF602B08-1641-02E2-1720-49A59DFAA1AF}"/>
          </ac:spMkLst>
        </pc:spChg>
        <pc:spChg chg="mod">
          <ac:chgData name="Benedicte Aas Glad" userId="55a9e165-0d8a-4034-a14f-0bb29877055b" providerId="ADAL" clId="{07F21E20-7E9E-54B4-9300-50EF0F4B7C0B}" dt="2025-10-27T09:06:09.689" v="2323" actId="113"/>
          <ac:spMkLst>
            <pc:docMk/>
            <pc:sldMk cId="293881043" sldId="2147477986"/>
            <ac:spMk id="35" creationId="{5BB0C907-F94E-A8B8-FA5D-240BB19851A3}"/>
          </ac:spMkLst>
        </pc:spChg>
        <pc:spChg chg="mod">
          <ac:chgData name="Benedicte Aas Glad" userId="55a9e165-0d8a-4034-a14f-0bb29877055b" providerId="ADAL" clId="{07F21E20-7E9E-54B4-9300-50EF0F4B7C0B}" dt="2025-10-28T20:04:18.584" v="4066" actId="207"/>
          <ac:spMkLst>
            <pc:docMk/>
            <pc:sldMk cId="293881043" sldId="2147477986"/>
            <ac:spMk id="44" creationId="{DD4A5159-DF45-9EEC-CAFF-75D1C22F4A23}"/>
          </ac:spMkLst>
        </pc:spChg>
      </pc:sldChg>
      <pc:sldChg chg="addSp modSp add mod">
        <pc:chgData name="Benedicte Aas Glad" userId="55a9e165-0d8a-4034-a14f-0bb29877055b" providerId="ADAL" clId="{07F21E20-7E9E-54B4-9300-50EF0F4B7C0B}" dt="2025-10-29T11:24:17.990" v="4106" actId="20577"/>
        <pc:sldMkLst>
          <pc:docMk/>
          <pc:sldMk cId="1463009142" sldId="2147477987"/>
        </pc:sldMkLst>
        <pc:spChg chg="mod">
          <ac:chgData name="Benedicte Aas Glad" userId="55a9e165-0d8a-4034-a14f-0bb29877055b" providerId="ADAL" clId="{07F21E20-7E9E-54B4-9300-50EF0F4B7C0B}" dt="2025-10-28T20:22:47.491" v="4094" actId="20577"/>
          <ac:spMkLst>
            <pc:docMk/>
            <pc:sldMk cId="1463009142" sldId="2147477987"/>
            <ac:spMk id="3" creationId="{651DB42D-11BE-DC75-7AA5-EAEDDBEE2228}"/>
          </ac:spMkLst>
        </pc:spChg>
        <pc:spChg chg="add mod">
          <ac:chgData name="Benedicte Aas Glad" userId="55a9e165-0d8a-4034-a14f-0bb29877055b" providerId="ADAL" clId="{07F21E20-7E9E-54B4-9300-50EF0F4B7C0B}" dt="2025-10-27T09:05:13.828" v="2317" actId="1076"/>
          <ac:spMkLst>
            <pc:docMk/>
            <pc:sldMk cId="1463009142" sldId="2147477987"/>
            <ac:spMk id="4" creationId="{4F0575D0-D498-6EE3-4A37-341BFC10D77C}"/>
          </ac:spMkLst>
        </pc:spChg>
        <pc:spChg chg="add mod">
          <ac:chgData name="Benedicte Aas Glad" userId="55a9e165-0d8a-4034-a14f-0bb29877055b" providerId="ADAL" clId="{07F21E20-7E9E-54B4-9300-50EF0F4B7C0B}" dt="2025-10-27T09:05:13.828" v="2317" actId="1076"/>
          <ac:spMkLst>
            <pc:docMk/>
            <pc:sldMk cId="1463009142" sldId="2147477987"/>
            <ac:spMk id="5" creationId="{B1D95A24-EBF1-BCE9-FA18-A5E9C497EDDF}"/>
          </ac:spMkLst>
        </pc:spChg>
        <pc:spChg chg="mod">
          <ac:chgData name="Benedicte Aas Glad" userId="55a9e165-0d8a-4034-a14f-0bb29877055b" providerId="ADAL" clId="{07F21E20-7E9E-54B4-9300-50EF0F4B7C0B}" dt="2025-10-29T11:24:17.990" v="4106" actId="20577"/>
          <ac:spMkLst>
            <pc:docMk/>
            <pc:sldMk cId="1463009142" sldId="2147477987"/>
            <ac:spMk id="59" creationId="{7937F7A5-167E-EBB0-038E-2DB61827A27B}"/>
          </ac:spMkLst>
        </pc:spChg>
        <pc:graphicFrameChg chg="mod">
          <ac:chgData name="Benedicte Aas Glad" userId="55a9e165-0d8a-4034-a14f-0bb29877055b" providerId="ADAL" clId="{07F21E20-7E9E-54B4-9300-50EF0F4B7C0B}" dt="2025-10-27T09:04:51.234" v="2310"/>
          <ac:graphicFrameMkLst>
            <pc:docMk/>
            <pc:sldMk cId="1463009142" sldId="2147477987"/>
            <ac:graphicFrameMk id="94" creationId="{E8EA3F10-6C67-3D3C-15FF-11112BFB5CCE}"/>
          </ac:graphicFrameMkLst>
        </pc:graphicFrameChg>
        <pc:picChg chg="mod">
          <ac:chgData name="Benedicte Aas Glad" userId="55a9e165-0d8a-4034-a14f-0bb29877055b" providerId="ADAL" clId="{07F21E20-7E9E-54B4-9300-50EF0F4B7C0B}" dt="2025-10-27T09:05:06.730" v="2316" actId="1076"/>
          <ac:picMkLst>
            <pc:docMk/>
            <pc:sldMk cId="1463009142" sldId="2147477987"/>
            <ac:picMk id="2" creationId="{057D3D8F-4092-EB70-52F8-B5F54058FD90}"/>
          </ac:picMkLst>
        </pc:picChg>
      </pc:sldChg>
      <pc:sldChg chg="modSp">
        <pc:chgData name="Benedicte Aas Glad" userId="55a9e165-0d8a-4034-a14f-0bb29877055b" providerId="ADAL" clId="{07F21E20-7E9E-54B4-9300-50EF0F4B7C0B}" dt="2025-10-28T19:55:15.868" v="4064" actId="20577"/>
        <pc:sldMkLst>
          <pc:docMk/>
          <pc:sldMk cId="2113800702" sldId="2147478041"/>
        </pc:sldMkLst>
        <pc:graphicFrameChg chg="mod">
          <ac:chgData name="Benedicte Aas Glad" userId="55a9e165-0d8a-4034-a14f-0bb29877055b" providerId="ADAL" clId="{07F21E20-7E9E-54B4-9300-50EF0F4B7C0B}" dt="2025-10-28T19:55:15.868" v="4064" actId="20577"/>
          <ac:graphicFrameMkLst>
            <pc:docMk/>
            <pc:sldMk cId="2113800702" sldId="2147478041"/>
            <ac:graphicFrameMk id="503" creationId="{1BF7A599-9884-A8CE-5AEE-D0EE872BD81F}"/>
          </ac:graphicFrameMkLst>
        </pc:graphicFrameChg>
      </pc:sldChg>
      <pc:sldChg chg="add">
        <pc:chgData name="Benedicte Aas Glad" userId="55a9e165-0d8a-4034-a14f-0bb29877055b" providerId="ADAL" clId="{07F21E20-7E9E-54B4-9300-50EF0F4B7C0B}" dt="2025-10-27T08:07:32.004" v="457"/>
        <pc:sldMkLst>
          <pc:docMk/>
          <pc:sldMk cId="3032819932" sldId="2147478062"/>
        </pc:sldMkLst>
      </pc:sldChg>
      <pc:sldChg chg="del mod ord modShow">
        <pc:chgData name="Benedicte Aas Glad" userId="55a9e165-0d8a-4034-a14f-0bb29877055b" providerId="ADAL" clId="{07F21E20-7E9E-54B4-9300-50EF0F4B7C0B}" dt="2025-10-29T08:52:35.908" v="4096" actId="2696"/>
        <pc:sldMkLst>
          <pc:docMk/>
          <pc:sldMk cId="3384658995" sldId="2147478089"/>
        </pc:sldMkLst>
      </pc:sldChg>
      <pc:sldChg chg="addSp modSp mod">
        <pc:chgData name="Benedicte Aas Glad" userId="55a9e165-0d8a-4034-a14f-0bb29877055b" providerId="ADAL" clId="{07F21E20-7E9E-54B4-9300-50EF0F4B7C0B}" dt="2025-10-29T11:33:56.573" v="4122"/>
        <pc:sldMkLst>
          <pc:docMk/>
          <pc:sldMk cId="1054550753" sldId="2147478090"/>
        </pc:sldMkLst>
        <pc:spChg chg="mod">
          <ac:chgData name="Benedicte Aas Glad" userId="55a9e165-0d8a-4034-a14f-0bb29877055b" providerId="ADAL" clId="{07F21E20-7E9E-54B4-9300-50EF0F4B7C0B}" dt="2025-10-29T11:33:56.554" v="4109" actId="948"/>
          <ac:spMkLst>
            <pc:docMk/>
            <pc:sldMk cId="1054550753" sldId="2147478090"/>
            <ac:spMk id="2" creationId="{15E8076E-6EBC-7DC3-7DCC-F9FAD03D0B0D}"/>
          </ac:spMkLst>
        </pc:spChg>
        <pc:graphicFrameChg chg="add mod modVis">
          <ac:chgData name="Benedicte Aas Glad" userId="55a9e165-0d8a-4034-a14f-0bb29877055b" providerId="ADAL" clId="{07F21E20-7E9E-54B4-9300-50EF0F4B7C0B}" dt="2025-10-29T11:33:56.573" v="4122"/>
          <ac:graphicFrameMkLst>
            <pc:docMk/>
            <pc:sldMk cId="1054550753" sldId="2147478090"/>
            <ac:graphicFrameMk id="6" creationId="{897DFC4B-7801-B2A0-6E23-5173282A3B01}"/>
          </ac:graphicFrameMkLst>
        </pc:graphicFrameChg>
      </pc:sldChg>
      <pc:sldChg chg="addSp delSp modSp del mod ord modShow">
        <pc:chgData name="Benedicte Aas Glad" userId="55a9e165-0d8a-4034-a14f-0bb29877055b" providerId="ADAL" clId="{07F21E20-7E9E-54B4-9300-50EF0F4B7C0B}" dt="2025-10-29T08:52:35.344" v="4095" actId="2696"/>
        <pc:sldMkLst>
          <pc:docMk/>
          <pc:sldMk cId="987552354" sldId="2147478091"/>
        </pc:sldMkLst>
        <pc:spChg chg="del">
          <ac:chgData name="Benedicte Aas Glad" userId="55a9e165-0d8a-4034-a14f-0bb29877055b" providerId="ADAL" clId="{07F21E20-7E9E-54B4-9300-50EF0F4B7C0B}" dt="2025-10-28T19:19:29.287" v="3056" actId="478"/>
          <ac:spMkLst>
            <pc:docMk/>
            <pc:sldMk cId="987552354" sldId="2147478091"/>
            <ac:spMk id="2" creationId="{6A064E40-22D2-92E2-C79C-F577F1358D14}"/>
          </ac:spMkLst>
        </pc:spChg>
        <pc:graphicFrameChg chg="add mod modVis">
          <ac:chgData name="Benedicte Aas Glad" userId="55a9e165-0d8a-4034-a14f-0bb29877055b" providerId="ADAL" clId="{07F21E20-7E9E-54B4-9300-50EF0F4B7C0B}" dt="2025-10-28T19:19:29.867" v="3069"/>
          <ac:graphicFrameMkLst>
            <pc:docMk/>
            <pc:sldMk cId="987552354" sldId="2147478091"/>
            <ac:graphicFrameMk id="6" creationId="{A3BD1C1B-B2EB-DC2A-2829-4F4075492A32}"/>
          </ac:graphicFrameMkLst>
        </pc:graphicFrameChg>
      </pc:sldChg>
      <pc:sldChg chg="addSp delSp modSp add mod">
        <pc:chgData name="Benedicte Aas Glad" userId="55a9e165-0d8a-4034-a14f-0bb29877055b" providerId="ADAL" clId="{07F21E20-7E9E-54B4-9300-50EF0F4B7C0B}" dt="2025-10-29T11:25:39.467" v="4108" actId="14100"/>
        <pc:sldMkLst>
          <pc:docMk/>
          <pc:sldMk cId="1699254460" sldId="2147478092"/>
        </pc:sldMkLst>
        <pc:spChg chg="del mod">
          <ac:chgData name="Benedicte Aas Glad" userId="55a9e165-0d8a-4034-a14f-0bb29877055b" providerId="ADAL" clId="{07F21E20-7E9E-54B4-9300-50EF0F4B7C0B}" dt="2025-10-29T11:25:32.687" v="4107" actId="478"/>
          <ac:spMkLst>
            <pc:docMk/>
            <pc:sldMk cId="1699254460" sldId="2147478092"/>
            <ac:spMk id="2" creationId="{2A8FA2C7-823E-06A1-E763-3F59BFC77E04}"/>
          </ac:spMkLst>
        </pc:spChg>
        <pc:spChg chg="mod">
          <ac:chgData name="Benedicte Aas Glad" userId="55a9e165-0d8a-4034-a14f-0bb29877055b" providerId="ADAL" clId="{07F21E20-7E9E-54B4-9300-50EF0F4B7C0B}" dt="2025-10-28T19:17:33.738" v="3048" actId="1076"/>
          <ac:spMkLst>
            <pc:docMk/>
            <pc:sldMk cId="1699254460" sldId="2147478092"/>
            <ac:spMk id="3" creationId="{1F6E023D-90B0-78D8-4D3B-7DDE6640198C}"/>
          </ac:spMkLst>
        </pc:spChg>
        <pc:spChg chg="mod">
          <ac:chgData name="Benedicte Aas Glad" userId="55a9e165-0d8a-4034-a14f-0bb29877055b" providerId="ADAL" clId="{07F21E20-7E9E-54B4-9300-50EF0F4B7C0B}" dt="2025-10-28T19:17:33.738" v="3048" actId="1076"/>
          <ac:spMkLst>
            <pc:docMk/>
            <pc:sldMk cId="1699254460" sldId="2147478092"/>
            <ac:spMk id="4" creationId="{8973AF9D-154F-CCBF-5C73-3CD5F5C4A7B1}"/>
          </ac:spMkLst>
        </pc:spChg>
        <pc:spChg chg="del">
          <ac:chgData name="Benedicte Aas Glad" userId="55a9e165-0d8a-4034-a14f-0bb29877055b" providerId="ADAL" clId="{07F21E20-7E9E-54B4-9300-50EF0F4B7C0B}" dt="2025-10-28T11:24:21.606" v="2422" actId="478"/>
          <ac:spMkLst>
            <pc:docMk/>
            <pc:sldMk cId="1699254460" sldId="2147478092"/>
            <ac:spMk id="5" creationId="{65E461BC-FAED-3D15-B0A2-9287E6DEDA31}"/>
          </ac:spMkLst>
        </pc:spChg>
        <pc:spChg chg="mod">
          <ac:chgData name="Benedicte Aas Glad" userId="55a9e165-0d8a-4034-a14f-0bb29877055b" providerId="ADAL" clId="{07F21E20-7E9E-54B4-9300-50EF0F4B7C0B}" dt="2025-10-28T19:17:33.738" v="3048" actId="1076"/>
          <ac:spMkLst>
            <pc:docMk/>
            <pc:sldMk cId="1699254460" sldId="2147478092"/>
            <ac:spMk id="18" creationId="{C59E24AD-70F3-5661-31E5-A9BB95188D16}"/>
          </ac:spMkLst>
        </pc:spChg>
        <pc:spChg chg="mod">
          <ac:chgData name="Benedicte Aas Glad" userId="55a9e165-0d8a-4034-a14f-0bb29877055b" providerId="ADAL" clId="{07F21E20-7E9E-54B4-9300-50EF0F4B7C0B}" dt="2025-10-28T19:12:06.773" v="2899" actId="20577"/>
          <ac:spMkLst>
            <pc:docMk/>
            <pc:sldMk cId="1699254460" sldId="2147478092"/>
            <ac:spMk id="19" creationId="{8F446CE6-2F2E-3001-F0E0-4ED2BA287619}"/>
          </ac:spMkLst>
        </pc:spChg>
        <pc:spChg chg="mod">
          <ac:chgData name="Benedicte Aas Glad" userId="55a9e165-0d8a-4034-a14f-0bb29877055b" providerId="ADAL" clId="{07F21E20-7E9E-54B4-9300-50EF0F4B7C0B}" dt="2025-10-28T19:17:33.738" v="3048" actId="1076"/>
          <ac:spMkLst>
            <pc:docMk/>
            <pc:sldMk cId="1699254460" sldId="2147478092"/>
            <ac:spMk id="22" creationId="{2D001C82-A799-6358-C3DD-56D3D162A3FE}"/>
          </ac:spMkLst>
        </pc:spChg>
        <pc:spChg chg="mod">
          <ac:chgData name="Benedicte Aas Glad" userId="55a9e165-0d8a-4034-a14f-0bb29877055b" providerId="ADAL" clId="{07F21E20-7E9E-54B4-9300-50EF0F4B7C0B}" dt="2025-10-28T19:17:33.738" v="3048" actId="1076"/>
          <ac:spMkLst>
            <pc:docMk/>
            <pc:sldMk cId="1699254460" sldId="2147478092"/>
            <ac:spMk id="23" creationId="{B66AF760-86E9-09A6-979B-213156F6AAE4}"/>
          </ac:spMkLst>
        </pc:spChg>
        <pc:spChg chg="mod">
          <ac:chgData name="Benedicte Aas Glad" userId="55a9e165-0d8a-4034-a14f-0bb29877055b" providerId="ADAL" clId="{07F21E20-7E9E-54B4-9300-50EF0F4B7C0B}" dt="2025-10-28T19:16:53.908" v="3044" actId="14100"/>
          <ac:spMkLst>
            <pc:docMk/>
            <pc:sldMk cId="1699254460" sldId="2147478092"/>
            <ac:spMk id="27" creationId="{DDB2301B-C1E1-F196-E471-CE616C67EEB9}"/>
          </ac:spMkLst>
        </pc:spChg>
        <pc:spChg chg="mod">
          <ac:chgData name="Benedicte Aas Glad" userId="55a9e165-0d8a-4034-a14f-0bb29877055b" providerId="ADAL" clId="{07F21E20-7E9E-54B4-9300-50EF0F4B7C0B}" dt="2025-10-28T19:16:53.908" v="3044" actId="14100"/>
          <ac:spMkLst>
            <pc:docMk/>
            <pc:sldMk cId="1699254460" sldId="2147478092"/>
            <ac:spMk id="28" creationId="{17D249D1-96EC-52D8-7917-D95E37ABFC51}"/>
          </ac:spMkLst>
        </pc:spChg>
        <pc:spChg chg="mod">
          <ac:chgData name="Benedicte Aas Glad" userId="55a9e165-0d8a-4034-a14f-0bb29877055b" providerId="ADAL" clId="{07F21E20-7E9E-54B4-9300-50EF0F4B7C0B}" dt="2025-10-28T19:16:53.908" v="3044" actId="14100"/>
          <ac:spMkLst>
            <pc:docMk/>
            <pc:sldMk cId="1699254460" sldId="2147478092"/>
            <ac:spMk id="30" creationId="{3FC49F3A-C98A-AC11-3661-18264E679E63}"/>
          </ac:spMkLst>
        </pc:spChg>
        <pc:spChg chg="mod">
          <ac:chgData name="Benedicte Aas Glad" userId="55a9e165-0d8a-4034-a14f-0bb29877055b" providerId="ADAL" clId="{07F21E20-7E9E-54B4-9300-50EF0F4B7C0B}" dt="2025-10-28T19:16:53.908" v="3044" actId="14100"/>
          <ac:spMkLst>
            <pc:docMk/>
            <pc:sldMk cId="1699254460" sldId="2147478092"/>
            <ac:spMk id="32" creationId="{C76CA1A0-A412-4AE3-664C-2B147D11DCB0}"/>
          </ac:spMkLst>
        </pc:spChg>
        <pc:spChg chg="mod">
          <ac:chgData name="Benedicte Aas Glad" userId="55a9e165-0d8a-4034-a14f-0bb29877055b" providerId="ADAL" clId="{07F21E20-7E9E-54B4-9300-50EF0F4B7C0B}" dt="2025-10-28T19:16:53.908" v="3044" actId="14100"/>
          <ac:spMkLst>
            <pc:docMk/>
            <pc:sldMk cId="1699254460" sldId="2147478092"/>
            <ac:spMk id="33" creationId="{7D9AD4FF-25B8-BEFA-EE77-A5AEA72687B0}"/>
          </ac:spMkLst>
        </pc:spChg>
        <pc:spChg chg="mod">
          <ac:chgData name="Benedicte Aas Glad" userId="55a9e165-0d8a-4034-a14f-0bb29877055b" providerId="ADAL" clId="{07F21E20-7E9E-54B4-9300-50EF0F4B7C0B}" dt="2025-10-28T19:16:53.908" v="3044" actId="14100"/>
          <ac:spMkLst>
            <pc:docMk/>
            <pc:sldMk cId="1699254460" sldId="2147478092"/>
            <ac:spMk id="34" creationId="{60965989-3233-3581-88B8-5664651F98D3}"/>
          </ac:spMkLst>
        </pc:spChg>
        <pc:spChg chg="mod">
          <ac:chgData name="Benedicte Aas Glad" userId="55a9e165-0d8a-4034-a14f-0bb29877055b" providerId="ADAL" clId="{07F21E20-7E9E-54B4-9300-50EF0F4B7C0B}" dt="2025-10-28T19:16:41.021" v="3043" actId="20577"/>
          <ac:spMkLst>
            <pc:docMk/>
            <pc:sldMk cId="1699254460" sldId="2147478092"/>
            <ac:spMk id="35" creationId="{7AFE19AE-9C45-D7B3-34F8-DC2CE4CB93D2}"/>
          </ac:spMkLst>
        </pc:spChg>
        <pc:spChg chg="mod">
          <ac:chgData name="Benedicte Aas Glad" userId="55a9e165-0d8a-4034-a14f-0bb29877055b" providerId="ADAL" clId="{07F21E20-7E9E-54B4-9300-50EF0F4B7C0B}" dt="2025-10-28T19:16:53.908" v="3044" actId="14100"/>
          <ac:spMkLst>
            <pc:docMk/>
            <pc:sldMk cId="1699254460" sldId="2147478092"/>
            <ac:spMk id="36" creationId="{599C2A62-F5B0-47CD-E153-F681D43D01EE}"/>
          </ac:spMkLst>
        </pc:spChg>
        <pc:spChg chg="mod">
          <ac:chgData name="Benedicte Aas Glad" userId="55a9e165-0d8a-4034-a14f-0bb29877055b" providerId="ADAL" clId="{07F21E20-7E9E-54B4-9300-50EF0F4B7C0B}" dt="2025-10-28T19:16:53.908" v="3044" actId="14100"/>
          <ac:spMkLst>
            <pc:docMk/>
            <pc:sldMk cId="1699254460" sldId="2147478092"/>
            <ac:spMk id="37" creationId="{3917608A-6D4B-4C1F-D119-39162CB894F0}"/>
          </ac:spMkLst>
        </pc:spChg>
        <pc:spChg chg="mod">
          <ac:chgData name="Benedicte Aas Glad" userId="55a9e165-0d8a-4034-a14f-0bb29877055b" providerId="ADAL" clId="{07F21E20-7E9E-54B4-9300-50EF0F4B7C0B}" dt="2025-10-28T19:16:53.908" v="3044" actId="14100"/>
          <ac:spMkLst>
            <pc:docMk/>
            <pc:sldMk cId="1699254460" sldId="2147478092"/>
            <ac:spMk id="38" creationId="{33847B40-86D0-6510-6C8B-87FBB25CC0A0}"/>
          </ac:spMkLst>
        </pc:spChg>
        <pc:spChg chg="mod">
          <ac:chgData name="Benedicte Aas Glad" userId="55a9e165-0d8a-4034-a14f-0bb29877055b" providerId="ADAL" clId="{07F21E20-7E9E-54B4-9300-50EF0F4B7C0B}" dt="2025-10-28T20:04:33.255" v="4068" actId="207"/>
          <ac:spMkLst>
            <pc:docMk/>
            <pc:sldMk cId="1699254460" sldId="2147478092"/>
            <ac:spMk id="40" creationId="{84F40431-84D1-7A3C-4FCD-5FD42FCE90DF}"/>
          </ac:spMkLst>
        </pc:spChg>
        <pc:spChg chg="add mod">
          <ac:chgData name="Benedicte Aas Glad" userId="55a9e165-0d8a-4034-a14f-0bb29877055b" providerId="ADAL" clId="{07F21E20-7E9E-54B4-9300-50EF0F4B7C0B}" dt="2025-10-28T19:18:38.739" v="3054" actId="1076"/>
          <ac:spMkLst>
            <pc:docMk/>
            <pc:sldMk cId="1699254460" sldId="2147478092"/>
            <ac:spMk id="41" creationId="{B9B34387-5DF4-EA66-87EF-96263584D29C}"/>
          </ac:spMkLst>
        </pc:spChg>
        <pc:spChg chg="add mod">
          <ac:chgData name="Benedicte Aas Glad" userId="55a9e165-0d8a-4034-a14f-0bb29877055b" providerId="ADAL" clId="{07F21E20-7E9E-54B4-9300-50EF0F4B7C0B}" dt="2025-10-28T19:18:31.850" v="3053" actId="1076"/>
          <ac:spMkLst>
            <pc:docMk/>
            <pc:sldMk cId="1699254460" sldId="2147478092"/>
            <ac:spMk id="42" creationId="{44B8FA0E-13B5-63C1-E543-06421AFDB948}"/>
          </ac:spMkLst>
        </pc:spChg>
        <pc:spChg chg="add del mod">
          <ac:chgData name="Benedicte Aas Glad" userId="55a9e165-0d8a-4034-a14f-0bb29877055b" providerId="ADAL" clId="{07F21E20-7E9E-54B4-9300-50EF0F4B7C0B}" dt="2025-10-28T19:17:02.972" v="3045" actId="478"/>
          <ac:spMkLst>
            <pc:docMk/>
            <pc:sldMk cId="1699254460" sldId="2147478092"/>
            <ac:spMk id="43" creationId="{CEE384F3-FC0F-BA15-1122-61C11A330179}"/>
          </ac:spMkLst>
        </pc:spChg>
        <pc:spChg chg="add mod">
          <ac:chgData name="Benedicte Aas Glad" userId="55a9e165-0d8a-4034-a14f-0bb29877055b" providerId="ADAL" clId="{07F21E20-7E9E-54B4-9300-50EF0F4B7C0B}" dt="2025-10-28T19:13:59.751" v="2909" actId="1076"/>
          <ac:spMkLst>
            <pc:docMk/>
            <pc:sldMk cId="1699254460" sldId="2147478092"/>
            <ac:spMk id="44" creationId="{B1FF5BF4-42C2-9E9F-BF3F-B1649581C705}"/>
          </ac:spMkLst>
        </pc:spChg>
        <pc:spChg chg="add mod">
          <ac:chgData name="Benedicte Aas Glad" userId="55a9e165-0d8a-4034-a14f-0bb29877055b" providerId="ADAL" clId="{07F21E20-7E9E-54B4-9300-50EF0F4B7C0B}" dt="2025-10-29T11:25:39.467" v="4108" actId="14100"/>
          <ac:spMkLst>
            <pc:docMk/>
            <pc:sldMk cId="1699254460" sldId="2147478092"/>
            <ac:spMk id="46" creationId="{0046FBD7-86A7-74C1-C9B3-0CACCA37E4E7}"/>
          </ac:spMkLst>
        </pc:spChg>
        <pc:picChg chg="mod">
          <ac:chgData name="Benedicte Aas Glad" userId="55a9e165-0d8a-4034-a14f-0bb29877055b" providerId="ADAL" clId="{07F21E20-7E9E-54B4-9300-50EF0F4B7C0B}" dt="2025-10-28T19:17:33.738" v="3048" actId="1076"/>
          <ac:picMkLst>
            <pc:docMk/>
            <pc:sldMk cId="1699254460" sldId="2147478092"/>
            <ac:picMk id="11" creationId="{8329C0E3-C098-CBCC-AF03-057D20B89DAB}"/>
          </ac:picMkLst>
        </pc:picChg>
        <pc:picChg chg="mod">
          <ac:chgData name="Benedicte Aas Glad" userId="55a9e165-0d8a-4034-a14f-0bb29877055b" providerId="ADAL" clId="{07F21E20-7E9E-54B4-9300-50EF0F4B7C0B}" dt="2025-10-28T19:17:33.738" v="3048" actId="1076"/>
          <ac:picMkLst>
            <pc:docMk/>
            <pc:sldMk cId="1699254460" sldId="2147478092"/>
            <ac:picMk id="12" creationId="{54070CAC-B7BE-23FE-0F91-B7EDDF7D2C19}"/>
          </ac:picMkLst>
        </pc:picChg>
        <pc:picChg chg="mod">
          <ac:chgData name="Benedicte Aas Glad" userId="55a9e165-0d8a-4034-a14f-0bb29877055b" providerId="ADAL" clId="{07F21E20-7E9E-54B4-9300-50EF0F4B7C0B}" dt="2025-10-28T19:17:33.738" v="3048" actId="1076"/>
          <ac:picMkLst>
            <pc:docMk/>
            <pc:sldMk cId="1699254460" sldId="2147478092"/>
            <ac:picMk id="13" creationId="{53285CB1-C3FE-6FB9-D579-5BAA19BCA625}"/>
          </ac:picMkLst>
        </pc:picChg>
        <pc:picChg chg="mod">
          <ac:chgData name="Benedicte Aas Glad" userId="55a9e165-0d8a-4034-a14f-0bb29877055b" providerId="ADAL" clId="{07F21E20-7E9E-54B4-9300-50EF0F4B7C0B}" dt="2025-10-28T19:17:33.738" v="3048" actId="1076"/>
          <ac:picMkLst>
            <pc:docMk/>
            <pc:sldMk cId="1699254460" sldId="2147478092"/>
            <ac:picMk id="16" creationId="{A53CD6AB-4CB9-A49C-F930-D5948135E45C}"/>
          </ac:picMkLst>
        </pc:picChg>
        <pc:picChg chg="del">
          <ac:chgData name="Benedicte Aas Glad" userId="55a9e165-0d8a-4034-a14f-0bb29877055b" providerId="ADAL" clId="{07F21E20-7E9E-54B4-9300-50EF0F4B7C0B}" dt="2025-10-28T11:24:19.384" v="2421" actId="478"/>
          <ac:picMkLst>
            <pc:docMk/>
            <pc:sldMk cId="1699254460" sldId="2147478092"/>
            <ac:picMk id="20" creationId="{DC82F54A-03DE-EF8F-E22D-CC48BD5FCC71}"/>
          </ac:picMkLst>
        </pc:picChg>
      </pc:sldChg>
      <pc:sldChg chg="addSp delSp modSp new mod ord">
        <pc:chgData name="Benedicte Aas Glad" userId="55a9e165-0d8a-4034-a14f-0bb29877055b" providerId="ADAL" clId="{07F21E20-7E9E-54B4-9300-50EF0F4B7C0B}" dt="2025-10-28T19:30:04.239" v="3332" actId="14100"/>
        <pc:sldMkLst>
          <pc:docMk/>
          <pc:sldMk cId="1853267709" sldId="2147478093"/>
        </pc:sldMkLst>
        <pc:spChg chg="del">
          <ac:chgData name="Benedicte Aas Glad" userId="55a9e165-0d8a-4034-a14f-0bb29877055b" providerId="ADAL" clId="{07F21E20-7E9E-54B4-9300-50EF0F4B7C0B}" dt="2025-10-28T19:20:48.099" v="3075" actId="478"/>
          <ac:spMkLst>
            <pc:docMk/>
            <pc:sldMk cId="1853267709" sldId="2147478093"/>
            <ac:spMk id="2" creationId="{2207498E-9126-C685-20AA-876C792D7CDF}"/>
          </ac:spMkLst>
        </pc:spChg>
        <pc:spChg chg="del">
          <ac:chgData name="Benedicte Aas Glad" userId="55a9e165-0d8a-4034-a14f-0bb29877055b" providerId="ADAL" clId="{07F21E20-7E9E-54B4-9300-50EF0F4B7C0B}" dt="2025-10-28T19:20:48.099" v="3075" actId="478"/>
          <ac:spMkLst>
            <pc:docMk/>
            <pc:sldMk cId="1853267709" sldId="2147478093"/>
            <ac:spMk id="3" creationId="{88870C1C-C652-794A-153A-6B4A3F6B7964}"/>
          </ac:spMkLst>
        </pc:spChg>
        <pc:spChg chg="mod">
          <ac:chgData name="Benedicte Aas Glad" userId="55a9e165-0d8a-4034-a14f-0bb29877055b" providerId="ADAL" clId="{07F21E20-7E9E-54B4-9300-50EF0F4B7C0B}" dt="2025-10-28T19:22:52.035" v="3101" actId="1076"/>
          <ac:spMkLst>
            <pc:docMk/>
            <pc:sldMk cId="1853267709" sldId="2147478093"/>
            <ac:spMk id="4" creationId="{B9521506-2B77-A230-77D0-5918793C2648}"/>
          </ac:spMkLst>
        </pc:spChg>
        <pc:spChg chg="del">
          <ac:chgData name="Benedicte Aas Glad" userId="55a9e165-0d8a-4034-a14f-0bb29877055b" providerId="ADAL" clId="{07F21E20-7E9E-54B4-9300-50EF0F4B7C0B}" dt="2025-10-28T19:20:48.099" v="3075" actId="478"/>
          <ac:spMkLst>
            <pc:docMk/>
            <pc:sldMk cId="1853267709" sldId="2147478093"/>
            <ac:spMk id="5" creationId="{55739D94-FA0E-DC3E-8875-00B9EC236789}"/>
          </ac:spMkLst>
        </pc:spChg>
        <pc:spChg chg="add mod">
          <ac:chgData name="Benedicte Aas Glad" userId="55a9e165-0d8a-4034-a14f-0bb29877055b" providerId="ADAL" clId="{07F21E20-7E9E-54B4-9300-50EF0F4B7C0B}" dt="2025-10-28T19:30:04.239" v="3332" actId="14100"/>
          <ac:spMkLst>
            <pc:docMk/>
            <pc:sldMk cId="1853267709" sldId="2147478093"/>
            <ac:spMk id="9" creationId="{016A578D-09CD-4690-50DB-488654E4DED8}"/>
          </ac:spMkLst>
        </pc:spChg>
        <pc:graphicFrameChg chg="add mod modVis">
          <ac:chgData name="Benedicte Aas Glad" userId="55a9e165-0d8a-4034-a14f-0bb29877055b" providerId="ADAL" clId="{07F21E20-7E9E-54B4-9300-50EF0F4B7C0B}" dt="2025-10-28T19:20:48.638" v="3088"/>
          <ac:graphicFrameMkLst>
            <pc:docMk/>
            <pc:sldMk cId="1853267709" sldId="2147478093"/>
            <ac:graphicFrameMk id="6" creationId="{F9670F28-BBA5-52CB-B1C5-67C8C0B430C7}"/>
          </ac:graphicFrameMkLst>
        </pc:graphicFrameChg>
        <pc:graphicFrameChg chg="add mod modGraphic">
          <ac:chgData name="Benedicte Aas Glad" userId="55a9e165-0d8a-4034-a14f-0bb29877055b" providerId="ADAL" clId="{07F21E20-7E9E-54B4-9300-50EF0F4B7C0B}" dt="2025-10-28T19:29:10.971" v="3203" actId="1076"/>
          <ac:graphicFrameMkLst>
            <pc:docMk/>
            <pc:sldMk cId="1853267709" sldId="2147478093"/>
            <ac:graphicFrameMk id="7" creationId="{5BAD1E96-BE47-90DD-4802-A7215C255A52}"/>
          </ac:graphicFrameMkLst>
        </pc:graphicFrameChg>
      </pc:sldChg>
      <pc:sldChg chg="addSp delSp modSp new del mod">
        <pc:chgData name="Benedicte Aas Glad" userId="55a9e165-0d8a-4034-a14f-0bb29877055b" providerId="ADAL" clId="{07F21E20-7E9E-54B4-9300-50EF0F4B7C0B}" dt="2025-10-28T19:53:17.472" v="4037" actId="2696"/>
        <pc:sldMkLst>
          <pc:docMk/>
          <pc:sldMk cId="2027832799" sldId="2147478094"/>
        </pc:sldMkLst>
        <pc:spChg chg="del">
          <ac:chgData name="Benedicte Aas Glad" userId="55a9e165-0d8a-4034-a14f-0bb29877055b" providerId="ADAL" clId="{07F21E20-7E9E-54B4-9300-50EF0F4B7C0B}" dt="2025-10-28T19:31:03.210" v="3496" actId="478"/>
          <ac:spMkLst>
            <pc:docMk/>
            <pc:sldMk cId="2027832799" sldId="2147478094"/>
            <ac:spMk id="2" creationId="{E8ACD5B6-0C1C-2977-7621-6F4B4AD171C5}"/>
          </ac:spMkLst>
        </pc:spChg>
        <pc:spChg chg="del">
          <ac:chgData name="Benedicte Aas Glad" userId="55a9e165-0d8a-4034-a14f-0bb29877055b" providerId="ADAL" clId="{07F21E20-7E9E-54B4-9300-50EF0F4B7C0B}" dt="2025-10-28T19:31:09.709" v="3500" actId="478"/>
          <ac:spMkLst>
            <pc:docMk/>
            <pc:sldMk cId="2027832799" sldId="2147478094"/>
            <ac:spMk id="3" creationId="{D6BF80D2-19C0-7474-31DB-A60DC07D801F}"/>
          </ac:spMkLst>
        </pc:spChg>
        <pc:spChg chg="mod">
          <ac:chgData name="Benedicte Aas Glad" userId="55a9e165-0d8a-4034-a14f-0bb29877055b" providerId="ADAL" clId="{07F21E20-7E9E-54B4-9300-50EF0F4B7C0B}" dt="2025-10-28T19:37:38.732" v="3786" actId="948"/>
          <ac:spMkLst>
            <pc:docMk/>
            <pc:sldMk cId="2027832799" sldId="2147478094"/>
            <ac:spMk id="5" creationId="{5B7D4A29-B2BA-0CBA-8984-4F3E70A5EFDD}"/>
          </ac:spMkLst>
        </pc:spChg>
        <pc:spChg chg="add del mod modVis">
          <ac:chgData name="Benedicte Aas Glad" userId="55a9e165-0d8a-4034-a14f-0bb29877055b" providerId="ADAL" clId="{07F21E20-7E9E-54B4-9300-50EF0F4B7C0B}" dt="2025-10-28T19:30:51.508" v="3381"/>
          <ac:spMkLst>
            <pc:docMk/>
            <pc:sldMk cId="2027832799" sldId="2147478094"/>
            <ac:spMk id="7" creationId="{3CE4977F-8F32-5B4A-8E36-B6D1FBDD5048}"/>
          </ac:spMkLst>
        </pc:spChg>
        <pc:spChg chg="add del mod modVis">
          <ac:chgData name="Benedicte Aas Glad" userId="55a9e165-0d8a-4034-a14f-0bb29877055b" providerId="ADAL" clId="{07F21E20-7E9E-54B4-9300-50EF0F4B7C0B}" dt="2025-10-28T19:30:55.306" v="3421"/>
          <ac:spMkLst>
            <pc:docMk/>
            <pc:sldMk cId="2027832799" sldId="2147478094"/>
            <ac:spMk id="8" creationId="{29FEA423-55EB-3E7B-38C1-83B6F416777C}"/>
          </ac:spMkLst>
        </pc:spChg>
        <pc:spChg chg="add del mod modVis">
          <ac:chgData name="Benedicte Aas Glad" userId="55a9e165-0d8a-4034-a14f-0bb29877055b" providerId="ADAL" clId="{07F21E20-7E9E-54B4-9300-50EF0F4B7C0B}" dt="2025-10-28T19:30:57.938" v="3456"/>
          <ac:spMkLst>
            <pc:docMk/>
            <pc:sldMk cId="2027832799" sldId="2147478094"/>
            <ac:spMk id="9" creationId="{AAE3DB70-D89A-D555-1479-5373D8C314DC}"/>
          </ac:spMkLst>
        </pc:spChg>
        <pc:spChg chg="add del mod modVis">
          <ac:chgData name="Benedicte Aas Glad" userId="55a9e165-0d8a-4034-a14f-0bb29877055b" providerId="ADAL" clId="{07F21E20-7E9E-54B4-9300-50EF0F4B7C0B}" dt="2025-10-28T19:31:00.841" v="3493"/>
          <ac:spMkLst>
            <pc:docMk/>
            <pc:sldMk cId="2027832799" sldId="2147478094"/>
            <ac:spMk id="10" creationId="{B8F9C8C5-9B1F-0406-4ABC-DFCB799CB2D7}"/>
          </ac:spMkLst>
        </pc:spChg>
        <pc:spChg chg="add mod">
          <ac:chgData name="Benedicte Aas Glad" userId="55a9e165-0d8a-4034-a14f-0bb29877055b" providerId="ADAL" clId="{07F21E20-7E9E-54B4-9300-50EF0F4B7C0B}" dt="2025-10-28T19:48:56.336" v="3848" actId="1076"/>
          <ac:spMkLst>
            <pc:docMk/>
            <pc:sldMk cId="2027832799" sldId="2147478094"/>
            <ac:spMk id="11" creationId="{8CBFF081-80D8-47CA-FAEC-9A14DD5DAFFC}"/>
          </ac:spMkLst>
        </pc:spChg>
        <pc:spChg chg="add del mod modVis">
          <ac:chgData name="Benedicte Aas Glad" userId="55a9e165-0d8a-4034-a14f-0bb29877055b" providerId="ADAL" clId="{07F21E20-7E9E-54B4-9300-50EF0F4B7C0B}" dt="2025-10-28T19:37:35.598" v="3782"/>
          <ac:spMkLst>
            <pc:docMk/>
            <pc:sldMk cId="2027832799" sldId="2147478094"/>
            <ac:spMk id="12" creationId="{F4128D95-66EB-D1D8-9CE2-498671A4D832}"/>
          </ac:spMkLst>
        </pc:spChg>
        <pc:spChg chg="add del mod modVis">
          <ac:chgData name="Benedicte Aas Glad" userId="55a9e165-0d8a-4034-a14f-0bb29877055b" providerId="ADAL" clId="{07F21E20-7E9E-54B4-9300-50EF0F4B7C0B}" dt="2025-10-28T19:37:38.750" v="3807"/>
          <ac:spMkLst>
            <pc:docMk/>
            <pc:sldMk cId="2027832799" sldId="2147478094"/>
            <ac:spMk id="13" creationId="{807FD669-1E60-8607-F01E-6F0069B3CC43}"/>
          </ac:spMkLst>
        </pc:spChg>
        <pc:spChg chg="add mod">
          <ac:chgData name="Benedicte Aas Glad" userId="55a9e165-0d8a-4034-a14f-0bb29877055b" providerId="ADAL" clId="{07F21E20-7E9E-54B4-9300-50EF0F4B7C0B}" dt="2025-10-28T19:48:09.556" v="3844"/>
          <ac:spMkLst>
            <pc:docMk/>
            <pc:sldMk cId="2027832799" sldId="2147478094"/>
            <ac:spMk id="14" creationId="{3DD822F3-32C3-0F1E-4D4F-845127375DE6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22" creationId="{C433D912-A2C8-EA45-5F30-ACE8EBB27481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46" creationId="{39950D4C-B878-B7B2-A3DA-56E9F009F852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74" creationId="{57B885D3-15C0-E683-B860-93712CB378DF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90" creationId="{20B0D7A6-4ABA-09EF-A2DF-9DEB1CAB0E2C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101" creationId="{0DE8C500-1EB6-C0F2-93BA-D9EE48DA9C9F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128" creationId="{3105B453-A10D-7960-B545-95E2B89E5F68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139" creationId="{83844B0B-E8E0-79D4-3D2B-A92473E0558E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153" creationId="{9F493996-BD35-757F-D980-74E31D53D46E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155" creationId="{9E07804D-6DB7-C6E2-A140-38DD98AC45B8}"/>
          </ac:spMkLst>
        </pc:spChg>
        <pc:spChg chg="mod">
          <ac:chgData name="Benedicte Aas Glad" userId="55a9e165-0d8a-4034-a14f-0bb29877055b" providerId="ADAL" clId="{07F21E20-7E9E-54B4-9300-50EF0F4B7C0B}" dt="2025-10-28T19:48:34.079" v="3845"/>
          <ac:spMkLst>
            <pc:docMk/>
            <pc:sldMk cId="2027832799" sldId="2147478094"/>
            <ac:spMk id="174" creationId="{ABF2EB9E-1740-D46F-1614-CFD512EBD181}"/>
          </ac:spMkLst>
        </pc:spChg>
        <pc:graphicFrameChg chg="add mod modVis">
          <ac:chgData name="Benedicte Aas Glad" userId="55a9e165-0d8a-4034-a14f-0bb29877055b" providerId="ADAL" clId="{07F21E20-7E9E-54B4-9300-50EF0F4B7C0B}" dt="2025-10-28T19:37:38.751" v="3809"/>
          <ac:graphicFrameMkLst>
            <pc:docMk/>
            <pc:sldMk cId="2027832799" sldId="2147478094"/>
            <ac:graphicFrameMk id="6" creationId="{C2522C9B-B9C4-4D0C-1B5F-2743C720011B}"/>
          </ac:graphicFrameMkLst>
        </pc:graphicFrameChg>
      </pc:sldChg>
      <pc:sldChg chg="addSp delSp modSp add mod ord">
        <pc:chgData name="Benedicte Aas Glad" userId="55a9e165-0d8a-4034-a14f-0bb29877055b" providerId="ADAL" clId="{07F21E20-7E9E-54B4-9300-50EF0F4B7C0B}" dt="2025-10-28T19:53:40.559" v="4038" actId="20578"/>
        <pc:sldMkLst>
          <pc:docMk/>
          <pc:sldMk cId="1456225035" sldId="2147478095"/>
        </pc:sldMkLst>
        <pc:spChg chg="add del mod">
          <ac:chgData name="Benedicte Aas Glad" userId="55a9e165-0d8a-4034-a14f-0bb29877055b" providerId="ADAL" clId="{07F21E20-7E9E-54B4-9300-50EF0F4B7C0B}" dt="2025-10-28T19:49:16.967" v="3855" actId="478"/>
          <ac:spMkLst>
            <pc:docMk/>
            <pc:sldMk cId="1456225035" sldId="2147478095"/>
            <ac:spMk id="3" creationId="{D307A9C6-398A-F0BF-35E1-6F79D355F7E0}"/>
          </ac:spMkLst>
        </pc:spChg>
        <pc:spChg chg="del">
          <ac:chgData name="Benedicte Aas Glad" userId="55a9e165-0d8a-4034-a14f-0bb29877055b" providerId="ADAL" clId="{07F21E20-7E9E-54B4-9300-50EF0F4B7C0B}" dt="2025-10-28T19:49:15.337" v="3852" actId="478"/>
          <ac:spMkLst>
            <pc:docMk/>
            <pc:sldMk cId="1456225035" sldId="2147478095"/>
            <ac:spMk id="5" creationId="{A3A14BAA-1464-9355-96CB-AA725585C504}"/>
          </ac:spMkLst>
        </pc:spChg>
        <pc:spChg chg="add mod">
          <ac:chgData name="Benedicte Aas Glad" userId="55a9e165-0d8a-4034-a14f-0bb29877055b" providerId="ADAL" clId="{07F21E20-7E9E-54B4-9300-50EF0F4B7C0B}" dt="2025-10-28T19:53:08.438" v="4036" actId="14100"/>
          <ac:spMkLst>
            <pc:docMk/>
            <pc:sldMk cId="1456225035" sldId="2147478095"/>
            <ac:spMk id="9" creationId="{C6A99A97-13AA-AA86-176D-F962F77C3ADC}"/>
          </ac:spMkLst>
        </pc:spChg>
        <pc:spChg chg="del">
          <ac:chgData name="Benedicte Aas Glad" userId="55a9e165-0d8a-4034-a14f-0bb29877055b" providerId="ADAL" clId="{07F21E20-7E9E-54B4-9300-50EF0F4B7C0B}" dt="2025-10-28T19:49:06.227" v="3850" actId="478"/>
          <ac:spMkLst>
            <pc:docMk/>
            <pc:sldMk cId="1456225035" sldId="2147478095"/>
            <ac:spMk id="11" creationId="{DD007944-E756-43FD-E1AA-558D0C86FF0F}"/>
          </ac:spMkLst>
        </pc:spChg>
        <pc:spChg chg="del">
          <ac:chgData name="Benedicte Aas Glad" userId="55a9e165-0d8a-4034-a14f-0bb29877055b" providerId="ADAL" clId="{07F21E20-7E9E-54B4-9300-50EF0F4B7C0B}" dt="2025-10-28T19:49:11.486" v="3851" actId="478"/>
          <ac:spMkLst>
            <pc:docMk/>
            <pc:sldMk cId="1456225035" sldId="2147478095"/>
            <ac:spMk id="220" creationId="{210100A4-2B78-3FE2-51D9-C1C939630592}"/>
          </ac:spMkLst>
        </pc:spChg>
        <pc:grpChg chg="del mod">
          <ac:chgData name="Benedicte Aas Glad" userId="55a9e165-0d8a-4034-a14f-0bb29877055b" providerId="ADAL" clId="{07F21E20-7E9E-54B4-9300-50EF0F4B7C0B}" dt="2025-10-28T19:49:51.471" v="3860" actId="478"/>
          <ac:grpSpMkLst>
            <pc:docMk/>
            <pc:sldMk cId="1456225035" sldId="2147478095"/>
            <ac:grpSpMk id="15" creationId="{DDA7E198-6C93-D631-A1A1-64640371595B}"/>
          </ac:grpSpMkLst>
        </pc:grpChg>
        <pc:graphicFrameChg chg="mod">
          <ac:chgData name="Benedicte Aas Glad" userId="55a9e165-0d8a-4034-a14f-0bb29877055b" providerId="ADAL" clId="{07F21E20-7E9E-54B4-9300-50EF0F4B7C0B}" dt="2025-10-28T19:49:17.482" v="3857"/>
          <ac:graphicFrameMkLst>
            <pc:docMk/>
            <pc:sldMk cId="1456225035" sldId="2147478095"/>
            <ac:graphicFrameMk id="6" creationId="{BA27725F-C668-B403-660E-62AEB79076CA}"/>
          </ac:graphicFrameMkLst>
        </pc:graphicFrameChg>
        <pc:picChg chg="add mod">
          <ac:chgData name="Benedicte Aas Glad" userId="55a9e165-0d8a-4034-a14f-0bb29877055b" providerId="ADAL" clId="{07F21E20-7E9E-54B4-9300-50EF0F4B7C0B}" dt="2025-10-28T19:53:02.087" v="4034" actId="1076"/>
          <ac:picMkLst>
            <pc:docMk/>
            <pc:sldMk cId="1456225035" sldId="2147478095"/>
            <ac:picMk id="8" creationId="{812FF904-27D6-399E-4295-40397667A146}"/>
          </ac:picMkLst>
        </pc:picChg>
      </pc:sldChg>
    </pc:docChg>
  </pc:docChgLst>
  <pc:docChgLst>
    <pc:chgData name="Anne Synnøve Sundsteigen" userId="19c42437-4938-46f5-882c-087437ab266b" providerId="ADAL" clId="{0F61129A-8445-4CF7-92E9-77BC0EC81494}"/>
    <pc:docChg chg="undo custSel addSld delSld modSld sldOrd">
      <pc:chgData name="Anne Synnøve Sundsteigen" userId="19c42437-4938-46f5-882c-087437ab266b" providerId="ADAL" clId="{0F61129A-8445-4CF7-92E9-77BC0EC81494}" dt="2025-10-27T12:17:33.202" v="270"/>
      <pc:docMkLst>
        <pc:docMk/>
      </pc:docMkLst>
      <pc:sldChg chg="modSp mod">
        <pc:chgData name="Anne Synnøve Sundsteigen" userId="19c42437-4938-46f5-882c-087437ab266b" providerId="ADAL" clId="{0F61129A-8445-4CF7-92E9-77BC0EC81494}" dt="2025-10-27T11:44:17.351" v="13" actId="20577"/>
        <pc:sldMkLst>
          <pc:docMk/>
          <pc:sldMk cId="593841140" sldId="259"/>
        </pc:sldMkLst>
        <pc:spChg chg="mod">
          <ac:chgData name="Anne Synnøve Sundsteigen" userId="19c42437-4938-46f5-882c-087437ab266b" providerId="ADAL" clId="{0F61129A-8445-4CF7-92E9-77BC0EC81494}" dt="2025-10-27T11:44:17.351" v="13" actId="20577"/>
          <ac:spMkLst>
            <pc:docMk/>
            <pc:sldMk cId="593841140" sldId="259"/>
            <ac:spMk id="7" creationId="{0101577E-8699-52D5-A641-C1755B36089D}"/>
          </ac:spMkLst>
        </pc:spChg>
      </pc:sldChg>
      <pc:sldChg chg="add ord">
        <pc:chgData name="Anne Synnøve Sundsteigen" userId="19c42437-4938-46f5-882c-087437ab266b" providerId="ADAL" clId="{0F61129A-8445-4CF7-92E9-77BC0EC81494}" dt="2025-10-27T12:05:24.919" v="258"/>
        <pc:sldMkLst>
          <pc:docMk/>
          <pc:sldMk cId="95824813" sldId="272"/>
        </pc:sldMkLst>
      </pc:sldChg>
      <pc:sldChg chg="modSp add mod">
        <pc:chgData name="Anne Synnøve Sundsteigen" userId="19c42437-4938-46f5-882c-087437ab266b" providerId="ADAL" clId="{0F61129A-8445-4CF7-92E9-77BC0EC81494}" dt="2025-10-27T11:56:36.481" v="241" actId="20577"/>
        <pc:sldMkLst>
          <pc:docMk/>
          <pc:sldMk cId="2113800702" sldId="2147478041"/>
        </pc:sldMkLst>
        <pc:graphicFrameChg chg="modGraphic">
          <ac:chgData name="Anne Synnøve Sundsteigen" userId="19c42437-4938-46f5-882c-087437ab266b" providerId="ADAL" clId="{0F61129A-8445-4CF7-92E9-77BC0EC81494}" dt="2025-10-27T11:56:36.481" v="241" actId="20577"/>
          <ac:graphicFrameMkLst>
            <pc:docMk/>
            <pc:sldMk cId="2113800702" sldId="2147478041"/>
            <ac:graphicFrameMk id="503" creationId="{1BF7A599-9884-A8CE-5AEE-D0EE872BD81F}"/>
          </ac:graphicFrameMkLst>
        </pc:graphicFrameChg>
      </pc:sldChg>
      <pc:sldChg chg="add">
        <pc:chgData name="Anne Synnøve Sundsteigen" userId="19c42437-4938-46f5-882c-087437ab266b" providerId="ADAL" clId="{0F61129A-8445-4CF7-92E9-77BC0EC81494}" dt="2025-10-27T11:52:55.206" v="164"/>
        <pc:sldMkLst>
          <pc:docMk/>
          <pc:sldMk cId="2164493424" sldId="2147478063"/>
        </pc:sldMkLst>
      </pc:sldChg>
      <pc:sldChg chg="add">
        <pc:chgData name="Anne Synnøve Sundsteigen" userId="19c42437-4938-46f5-882c-087437ab266b" providerId="ADAL" clId="{0F61129A-8445-4CF7-92E9-77BC0EC81494}" dt="2025-10-27T11:52:35.520" v="163"/>
        <pc:sldMkLst>
          <pc:docMk/>
          <pc:sldMk cId="1441835590" sldId="2147478065"/>
        </pc:sldMkLst>
      </pc:sldChg>
      <pc:sldChg chg="modSp add mod">
        <pc:chgData name="Anne Synnøve Sundsteigen" userId="19c42437-4938-46f5-882c-087437ab266b" providerId="ADAL" clId="{0F61129A-8445-4CF7-92E9-77BC0EC81494}" dt="2025-10-27T11:56:18.201" v="214" actId="20577"/>
        <pc:sldMkLst>
          <pc:docMk/>
          <pc:sldMk cId="2342896847" sldId="2147478075"/>
        </pc:sldMkLst>
        <pc:spChg chg="mod">
          <ac:chgData name="Anne Synnøve Sundsteigen" userId="19c42437-4938-46f5-882c-087437ab266b" providerId="ADAL" clId="{0F61129A-8445-4CF7-92E9-77BC0EC81494}" dt="2025-10-27T11:56:18.201" v="214" actId="20577"/>
          <ac:spMkLst>
            <pc:docMk/>
            <pc:sldMk cId="2342896847" sldId="2147478075"/>
            <ac:spMk id="2" creationId="{7051AB0C-EF4E-ED0E-155C-733CA3202AEA}"/>
          </ac:spMkLst>
        </pc:spChg>
      </pc:sldChg>
      <pc:sldChg chg="modSp new mod ord">
        <pc:chgData name="Anne Synnøve Sundsteigen" userId="19c42437-4938-46f5-882c-087437ab266b" providerId="ADAL" clId="{0F61129A-8445-4CF7-92E9-77BC0EC81494}" dt="2025-10-27T12:17:33.202" v="270"/>
        <pc:sldMkLst>
          <pc:docMk/>
          <pc:sldMk cId="1054550753" sldId="2147478090"/>
        </pc:sldMkLst>
        <pc:spChg chg="mod">
          <ac:chgData name="Anne Synnøve Sundsteigen" userId="19c42437-4938-46f5-882c-087437ab266b" providerId="ADAL" clId="{0F61129A-8445-4CF7-92E9-77BC0EC81494}" dt="2025-10-27T12:17:21.824" v="268" actId="20577"/>
          <ac:spMkLst>
            <pc:docMk/>
            <pc:sldMk cId="1054550753" sldId="2147478090"/>
            <ac:spMk id="2" creationId="{15E8076E-6EBC-7DC3-7DCC-F9FAD03D0B0D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43CD26-1356-42EB-B2B1-1C0A3B55822D}" type="doc">
      <dgm:prSet loTypeId="urn:microsoft.com/office/officeart/2005/8/layout/vList2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529190-0108-4F8E-A295-8031D76C8EEE}">
      <dgm:prSet custT="1"/>
      <dgm:spPr/>
      <dgm:t>
        <a:bodyPr/>
        <a:lstStyle/>
        <a:p>
          <a:r>
            <a:rPr lang="en-US" sz="2800"/>
            <a:t>Status VIGO moderniseringen</a:t>
          </a:r>
        </a:p>
      </dgm:t>
    </dgm:pt>
    <dgm:pt modelId="{1EB66F66-D405-4BE4-958B-1AF9F362C0CE}" type="parTrans" cxnId="{D1537AC7-759F-4C58-B382-9A0B53B64189}">
      <dgm:prSet/>
      <dgm:spPr/>
      <dgm:t>
        <a:bodyPr/>
        <a:lstStyle/>
        <a:p>
          <a:endParaRPr lang="en-US" sz="2800"/>
        </a:p>
      </dgm:t>
    </dgm:pt>
    <dgm:pt modelId="{A7C7754F-44D5-46EF-B87C-1004F5E89E93}" type="sibTrans" cxnId="{D1537AC7-759F-4C58-B382-9A0B53B64189}">
      <dgm:prSet/>
      <dgm:spPr/>
      <dgm:t>
        <a:bodyPr/>
        <a:lstStyle/>
        <a:p>
          <a:endParaRPr lang="en-US" sz="2800"/>
        </a:p>
      </dgm:t>
    </dgm:pt>
    <dgm:pt modelId="{AE4D37DA-98FD-4BF9-B1C6-DE5BB0760D83}">
      <dgm:prSet custT="1"/>
      <dgm:spPr/>
      <dgm:t>
        <a:bodyPr/>
        <a:lstStyle/>
        <a:p>
          <a:r>
            <a:rPr lang="en-US" sz="2800"/>
            <a:t>Utviklingsmetodikk  </a:t>
          </a:r>
        </a:p>
      </dgm:t>
    </dgm:pt>
    <dgm:pt modelId="{EA3E1033-8E8A-49E9-9AB0-2F15A7D3626E}" type="parTrans" cxnId="{1F6CE0AC-6B61-45D6-AAF7-A3B4291BF6C2}">
      <dgm:prSet/>
      <dgm:spPr/>
      <dgm:t>
        <a:bodyPr/>
        <a:lstStyle/>
        <a:p>
          <a:endParaRPr lang="en-US" sz="2800"/>
        </a:p>
      </dgm:t>
    </dgm:pt>
    <dgm:pt modelId="{D5C09FCA-B0A1-4695-8F21-5D6486F94E41}" type="sibTrans" cxnId="{1F6CE0AC-6B61-45D6-AAF7-A3B4291BF6C2}">
      <dgm:prSet/>
      <dgm:spPr/>
      <dgm:t>
        <a:bodyPr/>
        <a:lstStyle/>
        <a:p>
          <a:endParaRPr lang="en-US" sz="2800"/>
        </a:p>
      </dgm:t>
    </dgm:pt>
    <dgm:pt modelId="{1348A31D-7E08-43EF-8774-782C809D8B43}">
      <dgm:prSet custT="1"/>
      <dgm:spPr/>
      <dgm:t>
        <a:bodyPr/>
        <a:lstStyle/>
        <a:p>
          <a:r>
            <a:rPr lang="en-US" sz="2800" b="0"/>
            <a:t>Medvirkning</a:t>
          </a:r>
        </a:p>
      </dgm:t>
    </dgm:pt>
    <dgm:pt modelId="{75977521-26F7-4D6C-89AB-119346547F00}" type="parTrans" cxnId="{B7D0E5A4-67B2-4EEC-BDA5-4C0392C26BCE}">
      <dgm:prSet/>
      <dgm:spPr/>
      <dgm:t>
        <a:bodyPr/>
        <a:lstStyle/>
        <a:p>
          <a:endParaRPr lang="en-US" sz="2800"/>
        </a:p>
      </dgm:t>
    </dgm:pt>
    <dgm:pt modelId="{F25CBF4E-3DD6-4B27-9F70-DED983069442}" type="sibTrans" cxnId="{B7D0E5A4-67B2-4EEC-BDA5-4C0392C26BCE}">
      <dgm:prSet/>
      <dgm:spPr/>
      <dgm:t>
        <a:bodyPr/>
        <a:lstStyle/>
        <a:p>
          <a:endParaRPr lang="en-US" sz="2800"/>
        </a:p>
      </dgm:t>
    </dgm:pt>
    <dgm:pt modelId="{4FE50CF1-4F68-42D4-8671-275BBDF491E7}" type="pres">
      <dgm:prSet presAssocID="{AF43CD26-1356-42EB-B2B1-1C0A3B55822D}" presName="linear" presStyleCnt="0">
        <dgm:presLayoutVars>
          <dgm:animLvl val="lvl"/>
          <dgm:resizeHandles val="exact"/>
        </dgm:presLayoutVars>
      </dgm:prSet>
      <dgm:spPr/>
    </dgm:pt>
    <dgm:pt modelId="{670C612A-9C7D-41C6-ADDC-E6EC8C46EF6A}" type="pres">
      <dgm:prSet presAssocID="{3E529190-0108-4F8E-A295-8031D76C8EE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BD7DFC9-E432-474D-A3C9-817746543572}" type="pres">
      <dgm:prSet presAssocID="{A7C7754F-44D5-46EF-B87C-1004F5E89E93}" presName="spacer" presStyleCnt="0"/>
      <dgm:spPr/>
    </dgm:pt>
    <dgm:pt modelId="{7D878911-9BB1-442E-A2E8-2E3B8C9675A0}" type="pres">
      <dgm:prSet presAssocID="{AE4D37DA-98FD-4BF9-B1C6-DE5BB0760D83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EC4A8701-1908-45AE-B2E8-64E7606556FC}" type="pres">
      <dgm:prSet presAssocID="{D5C09FCA-B0A1-4695-8F21-5D6486F94E41}" presName="spacer" presStyleCnt="0"/>
      <dgm:spPr/>
    </dgm:pt>
    <dgm:pt modelId="{574F01DF-E0AF-46E5-A4EF-9F65A9864BF6}" type="pres">
      <dgm:prSet presAssocID="{1348A31D-7E08-43EF-8774-782C809D8B43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EBC2A33F-D5C2-4D91-AC8F-0F494CC75541}" type="presOf" srcId="{AE4D37DA-98FD-4BF9-B1C6-DE5BB0760D83}" destId="{7D878911-9BB1-442E-A2E8-2E3B8C9675A0}" srcOrd="0" destOrd="0" presId="urn:microsoft.com/office/officeart/2005/8/layout/vList2"/>
    <dgm:cxn modelId="{5206787B-2F6A-4BA4-9A19-61EDEA5CE84F}" type="presOf" srcId="{1348A31D-7E08-43EF-8774-782C809D8B43}" destId="{574F01DF-E0AF-46E5-A4EF-9F65A9864BF6}" srcOrd="0" destOrd="0" presId="urn:microsoft.com/office/officeart/2005/8/layout/vList2"/>
    <dgm:cxn modelId="{B7D0E5A4-67B2-4EEC-BDA5-4C0392C26BCE}" srcId="{AF43CD26-1356-42EB-B2B1-1C0A3B55822D}" destId="{1348A31D-7E08-43EF-8774-782C809D8B43}" srcOrd="2" destOrd="0" parTransId="{75977521-26F7-4D6C-89AB-119346547F00}" sibTransId="{F25CBF4E-3DD6-4B27-9F70-DED983069442}"/>
    <dgm:cxn modelId="{B6F4BAA5-C5F5-43B8-870D-D36A62A19373}" type="presOf" srcId="{3E529190-0108-4F8E-A295-8031D76C8EEE}" destId="{670C612A-9C7D-41C6-ADDC-E6EC8C46EF6A}" srcOrd="0" destOrd="0" presId="urn:microsoft.com/office/officeart/2005/8/layout/vList2"/>
    <dgm:cxn modelId="{1F6CE0AC-6B61-45D6-AAF7-A3B4291BF6C2}" srcId="{AF43CD26-1356-42EB-B2B1-1C0A3B55822D}" destId="{AE4D37DA-98FD-4BF9-B1C6-DE5BB0760D83}" srcOrd="1" destOrd="0" parTransId="{EA3E1033-8E8A-49E9-9AB0-2F15A7D3626E}" sibTransId="{D5C09FCA-B0A1-4695-8F21-5D6486F94E41}"/>
    <dgm:cxn modelId="{D1537AC7-759F-4C58-B382-9A0B53B64189}" srcId="{AF43CD26-1356-42EB-B2B1-1C0A3B55822D}" destId="{3E529190-0108-4F8E-A295-8031D76C8EEE}" srcOrd="0" destOrd="0" parTransId="{1EB66F66-D405-4BE4-958B-1AF9F362C0CE}" sibTransId="{A7C7754F-44D5-46EF-B87C-1004F5E89E93}"/>
    <dgm:cxn modelId="{18C3A2CE-D323-44F0-A579-221F2B9815C7}" type="presOf" srcId="{AF43CD26-1356-42EB-B2B1-1C0A3B55822D}" destId="{4FE50CF1-4F68-42D4-8671-275BBDF491E7}" srcOrd="0" destOrd="0" presId="urn:microsoft.com/office/officeart/2005/8/layout/vList2"/>
    <dgm:cxn modelId="{13954C47-0BD6-4A88-AE3B-1F94421EA9E5}" type="presParOf" srcId="{4FE50CF1-4F68-42D4-8671-275BBDF491E7}" destId="{670C612A-9C7D-41C6-ADDC-E6EC8C46EF6A}" srcOrd="0" destOrd="0" presId="urn:microsoft.com/office/officeart/2005/8/layout/vList2"/>
    <dgm:cxn modelId="{C8D30D26-E638-479C-81EA-552290AB6CAA}" type="presParOf" srcId="{4FE50CF1-4F68-42D4-8671-275BBDF491E7}" destId="{0BD7DFC9-E432-474D-A3C9-817746543572}" srcOrd="1" destOrd="0" presId="urn:microsoft.com/office/officeart/2005/8/layout/vList2"/>
    <dgm:cxn modelId="{444C6DCF-0988-4FEA-A3A3-39CCFC777553}" type="presParOf" srcId="{4FE50CF1-4F68-42D4-8671-275BBDF491E7}" destId="{7D878911-9BB1-442E-A2E8-2E3B8C9675A0}" srcOrd="2" destOrd="0" presId="urn:microsoft.com/office/officeart/2005/8/layout/vList2"/>
    <dgm:cxn modelId="{E8332EE9-4BD6-4063-A0A6-289D7334DC2B}" type="presParOf" srcId="{4FE50CF1-4F68-42D4-8671-275BBDF491E7}" destId="{EC4A8701-1908-45AE-B2E8-64E7606556FC}" srcOrd="3" destOrd="0" presId="urn:microsoft.com/office/officeart/2005/8/layout/vList2"/>
    <dgm:cxn modelId="{8A17CBB5-5FDD-4C60-A1F4-0837F8570649}" type="presParOf" srcId="{4FE50CF1-4F68-42D4-8671-275BBDF491E7}" destId="{574F01DF-E0AF-46E5-A4EF-9F65A9864BF6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0C612A-9C7D-41C6-ADDC-E6EC8C46EF6A}">
      <dsp:nvSpPr>
        <dsp:cNvPr id="0" name=""/>
        <dsp:cNvSpPr/>
      </dsp:nvSpPr>
      <dsp:spPr>
        <a:xfrm>
          <a:off x="0" y="128105"/>
          <a:ext cx="7621588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0" cap="flat" cmpd="sng" algn="ctr">
          <a:noFill/>
        </a:ln>
        <a:effectLst>
          <a:blur/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Status VIGO moderniseringen</a:t>
          </a:r>
        </a:p>
      </dsp:txBody>
      <dsp:txXfrm>
        <a:off x="59399" y="187504"/>
        <a:ext cx="7502790" cy="1098002"/>
      </dsp:txXfrm>
    </dsp:sp>
    <dsp:sp modelId="{7D878911-9BB1-442E-A2E8-2E3B8C9675A0}">
      <dsp:nvSpPr>
        <dsp:cNvPr id="0" name=""/>
        <dsp:cNvSpPr/>
      </dsp:nvSpPr>
      <dsp:spPr>
        <a:xfrm>
          <a:off x="0" y="1532106"/>
          <a:ext cx="7621588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0" cap="flat" cmpd="sng" algn="ctr">
          <a:noFill/>
        </a:ln>
        <a:effectLst>
          <a:blur/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Utviklingsmetodikk  </a:t>
          </a:r>
        </a:p>
      </dsp:txBody>
      <dsp:txXfrm>
        <a:off x="59399" y="1591505"/>
        <a:ext cx="7502790" cy="1098002"/>
      </dsp:txXfrm>
    </dsp:sp>
    <dsp:sp modelId="{574F01DF-E0AF-46E5-A4EF-9F65A9864BF6}">
      <dsp:nvSpPr>
        <dsp:cNvPr id="0" name=""/>
        <dsp:cNvSpPr/>
      </dsp:nvSpPr>
      <dsp:spPr>
        <a:xfrm>
          <a:off x="0" y="2936106"/>
          <a:ext cx="7621588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0" cap="flat" cmpd="sng" algn="ctr">
          <a:noFill/>
        </a:ln>
        <a:effectLst>
          <a:blur/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kern="1200"/>
            <a:t>Medvirkning</a:t>
          </a:r>
        </a:p>
      </dsp:txBody>
      <dsp:txXfrm>
        <a:off x="59399" y="2995505"/>
        <a:ext cx="7502790" cy="1098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26E778-E5B7-409B-98F7-D952300A0896}" type="datetimeFigureOut">
              <a:rPr lang="nb-NO" smtClean="0"/>
              <a:t>29.10.202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E0436F-993E-42FF-BB8C-7983559F616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5403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0436F-993E-42FF-BB8C-7983559F616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2659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E0436F-993E-42FF-BB8C-7983559F6164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649469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0436F-993E-42FF-BB8C-7983559F616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17768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E0436F-993E-42FF-BB8C-7983559F6164}" type="slidenum">
              <a:rPr lang="nb-NO" smtClean="0"/>
              <a:pPr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510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E0436F-993E-42FF-BB8C-7983559F6164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55859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E0436F-993E-42FF-BB8C-7983559F6164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76083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">
            <a:extLst>
              <a:ext uri="{FF2B5EF4-FFF2-40B4-BE49-F238E27FC236}">
                <a16:creationId xmlns:a16="http://schemas.microsoft.com/office/drawing/2014/main" id="{468A1974-2205-8109-9C6D-43A808783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88505" y="817511"/>
            <a:ext cx="8392253" cy="5226407"/>
          </a:xfrm>
          <a:custGeom>
            <a:avLst/>
            <a:gdLst>
              <a:gd name="connsiteX0" fmla="*/ 4200920 w 8392253"/>
              <a:gd name="connsiteY0" fmla="*/ 2611966 h 5226407"/>
              <a:gd name="connsiteX1" fmla="*/ 5124519 w 8392253"/>
              <a:gd name="connsiteY1" fmla="*/ 2611966 h 5226407"/>
              <a:gd name="connsiteX2" fmla="*/ 2562260 w 8392253"/>
              <a:gd name="connsiteY2" fmla="*/ 0 h 5226407"/>
              <a:gd name="connsiteX3" fmla="*/ 0 w 8392253"/>
              <a:gd name="connsiteY3" fmla="*/ 2611966 h 5226407"/>
              <a:gd name="connsiteX4" fmla="*/ 0 w 8392253"/>
              <a:gd name="connsiteY4" fmla="*/ 5206665 h 5226407"/>
              <a:gd name="connsiteX5" fmla="*/ 923599 w 8392253"/>
              <a:gd name="connsiteY5" fmla="*/ 5206665 h 5226407"/>
              <a:gd name="connsiteX6" fmla="*/ 923599 w 8392253"/>
              <a:gd name="connsiteY6" fmla="*/ 2611966 h 5226407"/>
              <a:gd name="connsiteX7" fmla="*/ 2562260 w 8392253"/>
              <a:gd name="connsiteY7" fmla="*/ 941565 h 5226407"/>
              <a:gd name="connsiteX8" fmla="*/ 4200920 w 8392253"/>
              <a:gd name="connsiteY8" fmla="*/ 2611966 h 5226407"/>
              <a:gd name="connsiteX9" fmla="*/ 8392253 w 8392253"/>
              <a:gd name="connsiteY9" fmla="*/ 2614506 h 5226407"/>
              <a:gd name="connsiteX10" fmla="*/ 5829994 w 8392253"/>
              <a:gd name="connsiteY10" fmla="*/ 2539 h 5226407"/>
              <a:gd name="connsiteX11" fmla="*/ 5829994 w 8392253"/>
              <a:gd name="connsiteY11" fmla="*/ 944041 h 5226407"/>
              <a:gd name="connsiteX12" fmla="*/ 7468655 w 8392253"/>
              <a:gd name="connsiteY12" fmla="*/ 2614442 h 5226407"/>
              <a:gd name="connsiteX13" fmla="*/ 5829994 w 8392253"/>
              <a:gd name="connsiteY13" fmla="*/ 4284843 h 5226407"/>
              <a:gd name="connsiteX14" fmla="*/ 4191397 w 8392253"/>
              <a:gd name="connsiteY14" fmla="*/ 2614442 h 5226407"/>
              <a:gd name="connsiteX15" fmla="*/ 3267798 w 8392253"/>
              <a:gd name="connsiteY15" fmla="*/ 2614442 h 5226407"/>
              <a:gd name="connsiteX16" fmla="*/ 5829994 w 8392253"/>
              <a:gd name="connsiteY16" fmla="*/ 5226408 h 5226407"/>
              <a:gd name="connsiteX17" fmla="*/ 8392253 w 8392253"/>
              <a:gd name="connsiteY17" fmla="*/ 2614442 h 522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392253" h="5226407">
                <a:moveTo>
                  <a:pt x="4200920" y="2611966"/>
                </a:moveTo>
                <a:lnTo>
                  <a:pt x="5124519" y="2611966"/>
                </a:lnTo>
                <a:cubicBezTo>
                  <a:pt x="5124519" y="1171750"/>
                  <a:pt x="3975051" y="0"/>
                  <a:pt x="2562260" y="0"/>
                </a:cubicBezTo>
                <a:cubicBezTo>
                  <a:pt x="1149468" y="0"/>
                  <a:pt x="0" y="1171750"/>
                  <a:pt x="0" y="2611966"/>
                </a:cubicBezTo>
                <a:lnTo>
                  <a:pt x="0" y="5206665"/>
                </a:lnTo>
                <a:lnTo>
                  <a:pt x="923599" y="5206665"/>
                </a:lnTo>
                <a:lnTo>
                  <a:pt x="923599" y="2611966"/>
                </a:lnTo>
                <a:cubicBezTo>
                  <a:pt x="923599" y="1690906"/>
                  <a:pt x="1658721" y="941565"/>
                  <a:pt x="2562260" y="941565"/>
                </a:cubicBezTo>
                <a:cubicBezTo>
                  <a:pt x="3465799" y="941565"/>
                  <a:pt x="4200920" y="1690906"/>
                  <a:pt x="4200920" y="2611966"/>
                </a:cubicBezTo>
                <a:moveTo>
                  <a:pt x="8392253" y="2614506"/>
                </a:moveTo>
                <a:cubicBezTo>
                  <a:pt x="8392253" y="1174226"/>
                  <a:pt x="7242849" y="2539"/>
                  <a:pt x="5829994" y="2539"/>
                </a:cubicBezTo>
                <a:lnTo>
                  <a:pt x="5829994" y="944041"/>
                </a:lnTo>
                <a:cubicBezTo>
                  <a:pt x="6733533" y="944041"/>
                  <a:pt x="7468655" y="1693318"/>
                  <a:pt x="7468655" y="2614442"/>
                </a:cubicBezTo>
                <a:cubicBezTo>
                  <a:pt x="7468655" y="3535566"/>
                  <a:pt x="6733533" y="4284843"/>
                  <a:pt x="5829994" y="4284843"/>
                </a:cubicBezTo>
                <a:cubicBezTo>
                  <a:pt x="4926455" y="4284843"/>
                  <a:pt x="4191397" y="3535502"/>
                  <a:pt x="4191397" y="2614442"/>
                </a:cubicBezTo>
                <a:lnTo>
                  <a:pt x="3267798" y="2614442"/>
                </a:lnTo>
                <a:cubicBezTo>
                  <a:pt x="3267798" y="4054658"/>
                  <a:pt x="4417203" y="5226408"/>
                  <a:pt x="5829994" y="5226408"/>
                </a:cubicBezTo>
                <a:cubicBezTo>
                  <a:pt x="7242786" y="5226408"/>
                  <a:pt x="8392253" y="4054658"/>
                  <a:pt x="8392253" y="2614442"/>
                </a:cubicBezTo>
              </a:path>
            </a:pathLst>
          </a:custGeom>
          <a:solidFill>
            <a:srgbClr val="EFD8B8"/>
          </a:solidFill>
          <a:ln w="6348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7621588" cy="1846659"/>
          </a:xfrm>
        </p:spPr>
        <p:txBody>
          <a:bodyPr anchor="t" anchorCtr="0">
            <a:noAutofit/>
          </a:bodyPr>
          <a:lstStyle>
            <a:lvl1pPr algn="l">
              <a:defRPr sz="6000" spc="-100" baseline="0">
                <a:solidFill>
                  <a:schemeClr val="accent1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B0A549C-84E1-413E-ABC9-553840A9BD1D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046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, fritt oppset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4BA77D5D-02BF-5ECF-E9CC-34542FBB2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7545EDA6-1C04-1340-204F-A03868A769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33729" y="1464469"/>
            <a:ext cx="4199942" cy="3920096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bilde/utklipp, tabell eller graf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AB3DF-8B8E-4FE0-BB9C-DAD5FB434DCE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17" name="Plassholder for innhold 11">
            <a:extLst>
              <a:ext uri="{FF2B5EF4-FFF2-40B4-BE49-F238E27FC236}">
                <a16:creationId xmlns:a16="http://schemas.microsoft.com/office/drawing/2014/main" id="{663F0987-3403-380B-A9F6-4CB2FDB953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10238" y="1464470"/>
            <a:ext cx="4974886" cy="336952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bilde/utklipp, tabell eller graf</a:t>
            </a:r>
          </a:p>
        </p:txBody>
      </p:sp>
    </p:spTree>
    <p:extLst>
      <p:ext uri="{BB962C8B-B14F-4D97-AF65-F5344CB8AC3E}">
        <p14:creationId xmlns:p14="http://schemas.microsoft.com/office/powerpoint/2010/main" val="26519204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, 3 bil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8" name="Plassholder for bilde 10">
            <a:extLst>
              <a:ext uri="{FF2B5EF4-FFF2-40B4-BE49-F238E27FC236}">
                <a16:creationId xmlns:a16="http://schemas.microsoft.com/office/drawing/2014/main" id="{89FFB911-7972-201F-0C32-D6741C6C5E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29494" y="1464469"/>
            <a:ext cx="6234906" cy="4576762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0" name="Plassholder for bilde 10">
            <a:extLst>
              <a:ext uri="{FF2B5EF4-FFF2-40B4-BE49-F238E27FC236}">
                <a16:creationId xmlns:a16="http://schemas.microsoft.com/office/drawing/2014/main" id="{BEB3354C-66D1-65E3-E360-A3BF3B88B30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27257" y="770467"/>
            <a:ext cx="1953929" cy="2658534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C88CBE2F-3953-8378-F52D-63DF193C92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527257" y="4079081"/>
            <a:ext cx="2656681" cy="196215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2" name="Plassholder for stikktittel">
            <a:extLst>
              <a:ext uri="{FF2B5EF4-FFF2-40B4-BE49-F238E27FC236}">
                <a16:creationId xmlns:a16="http://schemas.microsoft.com/office/drawing/2014/main" id="{E1A44C09-CDE3-65EC-4691-DE5C54FA0A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6" name="Plassholder for dato 15">
            <a:extLst>
              <a:ext uri="{FF2B5EF4-FFF2-40B4-BE49-F238E27FC236}">
                <a16:creationId xmlns:a16="http://schemas.microsoft.com/office/drawing/2014/main" id="{A60840C5-D8A9-FD32-BCAC-35C30BDD0B1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ABD587D-0514-4F19-AE69-F0EEDE96F83B}" type="datetime1">
              <a:rPr lang="nb-NO" smtClean="0"/>
              <a:t>29.10.2025</a:t>
            </a:fld>
            <a:endParaRPr lang="nb-NO"/>
          </a:p>
        </p:txBody>
      </p:sp>
      <p:sp>
        <p:nvSpPr>
          <p:cNvPr id="17" name="Plassholder for bunntekst 16">
            <a:extLst>
              <a:ext uri="{FF2B5EF4-FFF2-40B4-BE49-F238E27FC236}">
                <a16:creationId xmlns:a16="http://schemas.microsoft.com/office/drawing/2014/main" id="{AB8B9337-4405-D5F0-3545-FF26BB1DA2E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8" name="Plassholder for lysbildenummer 17">
            <a:extLst>
              <a:ext uri="{FF2B5EF4-FFF2-40B4-BE49-F238E27FC236}">
                <a16:creationId xmlns:a16="http://schemas.microsoft.com/office/drawing/2014/main" id="{9BF0DD86-B856-2497-3AED-E0C72D4D11B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7587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sita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1554163"/>
            <a:ext cx="10154444" cy="2734916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5170">
                <a:solidFill>
                  <a:schemeClr val="accent6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CACFFDEA-348A-AB0A-58D0-F729EB2D4F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D1E254-09D4-453D-8769-376E4556FDB4}" type="datetime1">
              <a:rPr lang="nb-NO" smtClean="0"/>
              <a:t>29.10.2025</a:t>
            </a:fld>
            <a:endParaRPr lang="nb-NO"/>
          </a:p>
        </p:txBody>
      </p:sp>
      <p:sp>
        <p:nvSpPr>
          <p:cNvPr id="10" name="Plassholder for bunntekst 9">
            <a:extLst>
              <a:ext uri="{FF2B5EF4-FFF2-40B4-BE49-F238E27FC236}">
                <a16:creationId xmlns:a16="http://schemas.microsoft.com/office/drawing/2014/main" id="{6FCF257E-4BB7-2A52-CD90-AB6A854EB4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B49A831B-D3B3-EDBD-D732-5184933F58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stikktittel">
            <a:extLst>
              <a:ext uri="{FF2B5EF4-FFF2-40B4-BE49-F238E27FC236}">
                <a16:creationId xmlns:a16="http://schemas.microsoft.com/office/drawing/2014/main" id="{D53E3115-935A-AE50-764A-F6B86AF8E4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1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D1B338A-3645-7A55-C0E3-BF7996BA94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9494" y="4730750"/>
            <a:ext cx="4680744" cy="461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6"/>
                </a:solidFill>
              </a:defRPr>
            </a:lvl1pPr>
            <a:lvl2pPr marL="158843" indent="0">
              <a:buNone/>
              <a:defRPr/>
            </a:lvl2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,</a:t>
            </a:r>
            <a:br>
              <a:rPr lang="nb-NO"/>
            </a:br>
            <a:r>
              <a:rPr lang="nb-NO"/>
              <a:t>Tittel/stilling</a:t>
            </a:r>
          </a:p>
        </p:txBody>
      </p:sp>
    </p:spTree>
    <p:extLst>
      <p:ext uri="{BB962C8B-B14F-4D97-AF65-F5344CB8AC3E}">
        <p14:creationId xmlns:p14="http://schemas.microsoft.com/office/powerpoint/2010/main" val="41598168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 A: Grafik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2E96E04-050C-8584-B76A-431002072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821532"/>
            <a:ext cx="4680744" cy="769441"/>
          </a:xfrm>
        </p:spPr>
        <p:txBody>
          <a:bodyPr anchor="t" anchorCtr="0">
            <a:noAutofit/>
          </a:bodyPr>
          <a:lstStyle>
            <a:lvl1pPr>
              <a:defRPr sz="25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880C8A2-7304-2314-8523-D1FFEFD636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233C0CD3-9BB7-4728-BF77-96303D4DA3D4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EE73FFE-145C-E4BF-9A55-964A9A110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09F080D-2D36-9CA5-0DFD-1ABD5E827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F069DEE9-D87A-22F8-C14F-EB6DD69DFA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2007" y="2233244"/>
            <a:ext cx="10141931" cy="380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90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 B: 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>
            <a:extLst>
              <a:ext uri="{FF2B5EF4-FFF2-40B4-BE49-F238E27FC236}">
                <a16:creationId xmlns:a16="http://schemas.microsoft.com/office/drawing/2014/main" id="{BF16AF4E-8543-71DB-6692-6AFAFAE4CA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200449-EFED-42EC-8EAE-92A089D61CE8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Logo i plassholder">
            <a:extLst>
              <a:ext uri="{FF2B5EF4-FFF2-40B4-BE49-F238E27FC236}">
                <a16:creationId xmlns:a16="http://schemas.microsoft.com/office/drawing/2014/main" id="{0EB9FEEB-2663-4694-C189-576D39BB81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32363" y="6364781"/>
            <a:ext cx="558200" cy="11380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54535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25C0215E-A02B-D3B9-A2F9-CF68B7D47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E5C6D-1B61-48D3-9475-6408C65972E5}" type="datetime1">
              <a:rPr lang="nb-NO" smtClean="0"/>
              <a:t>29.10.2025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D235650B-3819-1C73-C2D5-BF5C118A1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Plassholder for lysbildenummer 13">
            <a:extLst>
              <a:ext uri="{FF2B5EF4-FFF2-40B4-BE49-F238E27FC236}">
                <a16:creationId xmlns:a16="http://schemas.microsoft.com/office/drawing/2014/main" id="{583CAAC6-30E6-21DA-8816-872BC5905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Plassholder for innhold 15">
            <a:extLst>
              <a:ext uri="{FF2B5EF4-FFF2-40B4-BE49-F238E27FC236}">
                <a16:creationId xmlns:a16="http://schemas.microsoft.com/office/drawing/2014/main" id="{8265D594-44F1-30A0-D7E1-6515D9534F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9494" y="1805749"/>
            <a:ext cx="7621588" cy="4281012"/>
          </a:xfrm>
        </p:spPr>
        <p:txBody>
          <a:bodyPr/>
          <a:lstStyle>
            <a:lvl1pPr marL="457200" indent="-457200">
              <a:lnSpc>
                <a:spcPct val="103000"/>
              </a:lnSpc>
              <a:buSzPct val="100000"/>
              <a:buFont typeface="+mj-lt"/>
              <a:buAutoNum type="arabicPeriod"/>
              <a:defRPr sz="2500">
                <a:latin typeface="+mj-lt"/>
              </a:defRPr>
            </a:lvl1pPr>
            <a:lvl2pPr marL="625475" indent="-157957">
              <a:defRPr/>
            </a:lvl2pPr>
            <a:lvl3pPr marL="819150" indent="-157957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77937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D064978-874C-7D8A-AFE0-B180BBD13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98A18-6B7E-4432-8AE6-400F13F972DC}" type="datetime1">
              <a:rPr lang="nb-NO" smtClean="0"/>
              <a:t>29.10.2025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1478240-A459-CDB4-8DEB-93A2E8715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20AF32-9AE9-644B-1BE5-C69DEA28D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D88D3F1-77A2-CA5D-2073-0793AEF78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9494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6" name="Plassholder for tekst 6">
            <a:extLst>
              <a:ext uri="{FF2B5EF4-FFF2-40B4-BE49-F238E27FC236}">
                <a16:creationId xmlns:a16="http://schemas.microsoft.com/office/drawing/2014/main" id="{03E7C7B3-6BF1-5572-DC74-78C4227A8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9494" y="3397250"/>
            <a:ext cx="2532856" cy="2623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8" name="Plassholder for tekst 4">
            <a:extLst>
              <a:ext uri="{FF2B5EF4-FFF2-40B4-BE49-F238E27FC236}">
                <a16:creationId xmlns:a16="http://schemas.microsoft.com/office/drawing/2014/main" id="{9FB55E71-8F53-4CA1-0C8B-1B65385F8D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67843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98823DEE-A9B4-7308-7A91-98382B5FF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67844" y="3397250"/>
            <a:ext cx="2532856" cy="2623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lassholder for tekst 4">
            <a:extLst>
              <a:ext uri="{FF2B5EF4-FFF2-40B4-BE49-F238E27FC236}">
                <a16:creationId xmlns:a16="http://schemas.microsoft.com/office/drawing/2014/main" id="{84DCCD78-0027-A9CA-7F17-3F5B3F5408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6193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11" name="Plassholder for tekst 6">
            <a:extLst>
              <a:ext uri="{FF2B5EF4-FFF2-40B4-BE49-F238E27FC236}">
                <a16:creationId xmlns:a16="http://schemas.microsoft.com/office/drawing/2014/main" id="{A859C48B-3FBA-A575-1DFB-CCBB46EF2BF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06193" y="3397250"/>
            <a:ext cx="2532856" cy="2623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96D92403-C516-4500-0ABB-D6E11583B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</p:spTree>
    <p:extLst>
      <p:ext uri="{BB962C8B-B14F-4D97-AF65-F5344CB8AC3E}">
        <p14:creationId xmlns:p14="http://schemas.microsoft.com/office/powerpoint/2010/main" val="24130388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6">
            <a:extLst>
              <a:ext uri="{FF2B5EF4-FFF2-40B4-BE49-F238E27FC236}">
                <a16:creationId xmlns:a16="http://schemas.microsoft.com/office/drawing/2014/main" id="{03E7C7B3-6BF1-5572-DC74-78C4227A8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9494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D064978-874C-7D8A-AFE0-B180BBD13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9236E0-6D9B-4E45-BD4A-FEC3F5B2ECD6}" type="datetime1">
              <a:rPr lang="nb-NO" smtClean="0"/>
              <a:t>29.10.2025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1478240-A459-CDB4-8DEB-93A2E8715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20AF32-9AE9-644B-1BE5-C69DEA28D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14" name="Plassholder for tekst 6">
            <a:extLst>
              <a:ext uri="{FF2B5EF4-FFF2-40B4-BE49-F238E27FC236}">
                <a16:creationId xmlns:a16="http://schemas.microsoft.com/office/drawing/2014/main" id="{AAF80E57-F4CB-0BDF-3064-73B5673B8A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11729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lassholder for tekst 6">
            <a:extLst>
              <a:ext uri="{FF2B5EF4-FFF2-40B4-BE49-F238E27FC236}">
                <a16:creationId xmlns:a16="http://schemas.microsoft.com/office/drawing/2014/main" id="{6C0C7590-7D5E-041F-04C5-A044B39468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3964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lassholder for tekst 6">
            <a:extLst>
              <a:ext uri="{FF2B5EF4-FFF2-40B4-BE49-F238E27FC236}">
                <a16:creationId xmlns:a16="http://schemas.microsoft.com/office/drawing/2014/main" id="{1EB9DF66-E096-7397-DA70-4B6ED25AE7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76199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lassholder for tekst 6">
            <a:extLst>
              <a:ext uri="{FF2B5EF4-FFF2-40B4-BE49-F238E27FC236}">
                <a16:creationId xmlns:a16="http://schemas.microsoft.com/office/drawing/2014/main" id="{3830DDCB-3757-5A04-CB6D-11DC955627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29494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lassholder for tekst 6">
            <a:extLst>
              <a:ext uri="{FF2B5EF4-FFF2-40B4-BE49-F238E27FC236}">
                <a16:creationId xmlns:a16="http://schemas.microsoft.com/office/drawing/2014/main" id="{C3ED00AD-B029-061F-AED3-14E59D6EFD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11729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lassholder for tekst 6">
            <a:extLst>
              <a:ext uri="{FF2B5EF4-FFF2-40B4-BE49-F238E27FC236}">
                <a16:creationId xmlns:a16="http://schemas.microsoft.com/office/drawing/2014/main" id="{2B524F33-33DF-5484-2BA7-615D0063AFE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93964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6">
            <a:extLst>
              <a:ext uri="{FF2B5EF4-FFF2-40B4-BE49-F238E27FC236}">
                <a16:creationId xmlns:a16="http://schemas.microsoft.com/office/drawing/2014/main" id="{37E43FD5-269B-C583-1DDC-92BD69819DF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776199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E7F7F1F5-3327-6B92-FE73-2EF9900BB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</p:spTree>
    <p:extLst>
      <p:ext uri="{BB962C8B-B14F-4D97-AF65-F5344CB8AC3E}">
        <p14:creationId xmlns:p14="http://schemas.microsoft.com/office/powerpoint/2010/main" val="3674083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971EE36-3C57-4E3F-8D97-F9C77C0153A6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bg2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1832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3EA0F6-6A5D-4E35-ABF5-67FED8BA971E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accent1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2100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">
            <a:extLst>
              <a:ext uri="{FF2B5EF4-FFF2-40B4-BE49-F238E27FC236}">
                <a16:creationId xmlns:a16="http://schemas.microsoft.com/office/drawing/2014/main" id="{468A1974-2205-8109-9C6D-43A808783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88505" y="817511"/>
            <a:ext cx="8392253" cy="5226407"/>
          </a:xfrm>
          <a:custGeom>
            <a:avLst/>
            <a:gdLst>
              <a:gd name="connsiteX0" fmla="*/ 4200920 w 8392253"/>
              <a:gd name="connsiteY0" fmla="*/ 2611966 h 5226407"/>
              <a:gd name="connsiteX1" fmla="*/ 5124519 w 8392253"/>
              <a:gd name="connsiteY1" fmla="*/ 2611966 h 5226407"/>
              <a:gd name="connsiteX2" fmla="*/ 2562260 w 8392253"/>
              <a:gd name="connsiteY2" fmla="*/ 0 h 5226407"/>
              <a:gd name="connsiteX3" fmla="*/ 0 w 8392253"/>
              <a:gd name="connsiteY3" fmla="*/ 2611966 h 5226407"/>
              <a:gd name="connsiteX4" fmla="*/ 0 w 8392253"/>
              <a:gd name="connsiteY4" fmla="*/ 5206665 h 5226407"/>
              <a:gd name="connsiteX5" fmla="*/ 923599 w 8392253"/>
              <a:gd name="connsiteY5" fmla="*/ 5206665 h 5226407"/>
              <a:gd name="connsiteX6" fmla="*/ 923599 w 8392253"/>
              <a:gd name="connsiteY6" fmla="*/ 2611966 h 5226407"/>
              <a:gd name="connsiteX7" fmla="*/ 2562260 w 8392253"/>
              <a:gd name="connsiteY7" fmla="*/ 941565 h 5226407"/>
              <a:gd name="connsiteX8" fmla="*/ 4200920 w 8392253"/>
              <a:gd name="connsiteY8" fmla="*/ 2611966 h 5226407"/>
              <a:gd name="connsiteX9" fmla="*/ 8392253 w 8392253"/>
              <a:gd name="connsiteY9" fmla="*/ 2614506 h 5226407"/>
              <a:gd name="connsiteX10" fmla="*/ 5829994 w 8392253"/>
              <a:gd name="connsiteY10" fmla="*/ 2539 h 5226407"/>
              <a:gd name="connsiteX11" fmla="*/ 5829994 w 8392253"/>
              <a:gd name="connsiteY11" fmla="*/ 944041 h 5226407"/>
              <a:gd name="connsiteX12" fmla="*/ 7468655 w 8392253"/>
              <a:gd name="connsiteY12" fmla="*/ 2614442 h 5226407"/>
              <a:gd name="connsiteX13" fmla="*/ 5829994 w 8392253"/>
              <a:gd name="connsiteY13" fmla="*/ 4284843 h 5226407"/>
              <a:gd name="connsiteX14" fmla="*/ 4191397 w 8392253"/>
              <a:gd name="connsiteY14" fmla="*/ 2614442 h 5226407"/>
              <a:gd name="connsiteX15" fmla="*/ 3267798 w 8392253"/>
              <a:gd name="connsiteY15" fmla="*/ 2614442 h 5226407"/>
              <a:gd name="connsiteX16" fmla="*/ 5829994 w 8392253"/>
              <a:gd name="connsiteY16" fmla="*/ 5226408 h 5226407"/>
              <a:gd name="connsiteX17" fmla="*/ 8392253 w 8392253"/>
              <a:gd name="connsiteY17" fmla="*/ 2614442 h 522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392253" h="5226407">
                <a:moveTo>
                  <a:pt x="4200920" y="2611966"/>
                </a:moveTo>
                <a:lnTo>
                  <a:pt x="5124519" y="2611966"/>
                </a:lnTo>
                <a:cubicBezTo>
                  <a:pt x="5124519" y="1171750"/>
                  <a:pt x="3975051" y="0"/>
                  <a:pt x="2562260" y="0"/>
                </a:cubicBezTo>
                <a:cubicBezTo>
                  <a:pt x="1149468" y="0"/>
                  <a:pt x="0" y="1171750"/>
                  <a:pt x="0" y="2611966"/>
                </a:cubicBezTo>
                <a:lnTo>
                  <a:pt x="0" y="5206665"/>
                </a:lnTo>
                <a:lnTo>
                  <a:pt x="923599" y="5206665"/>
                </a:lnTo>
                <a:lnTo>
                  <a:pt x="923599" y="2611966"/>
                </a:lnTo>
                <a:cubicBezTo>
                  <a:pt x="923599" y="1690906"/>
                  <a:pt x="1658721" y="941565"/>
                  <a:pt x="2562260" y="941565"/>
                </a:cubicBezTo>
                <a:cubicBezTo>
                  <a:pt x="3465799" y="941565"/>
                  <a:pt x="4200920" y="1690906"/>
                  <a:pt x="4200920" y="2611966"/>
                </a:cubicBezTo>
                <a:moveTo>
                  <a:pt x="8392253" y="2614506"/>
                </a:moveTo>
                <a:cubicBezTo>
                  <a:pt x="8392253" y="1174226"/>
                  <a:pt x="7242849" y="2539"/>
                  <a:pt x="5829994" y="2539"/>
                </a:cubicBezTo>
                <a:lnTo>
                  <a:pt x="5829994" y="944041"/>
                </a:lnTo>
                <a:cubicBezTo>
                  <a:pt x="6733533" y="944041"/>
                  <a:pt x="7468655" y="1693318"/>
                  <a:pt x="7468655" y="2614442"/>
                </a:cubicBezTo>
                <a:cubicBezTo>
                  <a:pt x="7468655" y="3535566"/>
                  <a:pt x="6733533" y="4284843"/>
                  <a:pt x="5829994" y="4284843"/>
                </a:cubicBezTo>
                <a:cubicBezTo>
                  <a:pt x="4926455" y="4284843"/>
                  <a:pt x="4191397" y="3535502"/>
                  <a:pt x="4191397" y="2614442"/>
                </a:cubicBezTo>
                <a:lnTo>
                  <a:pt x="3267798" y="2614442"/>
                </a:lnTo>
                <a:cubicBezTo>
                  <a:pt x="3267798" y="4054658"/>
                  <a:pt x="4417203" y="5226408"/>
                  <a:pt x="5829994" y="5226408"/>
                </a:cubicBezTo>
                <a:cubicBezTo>
                  <a:pt x="7242786" y="5226408"/>
                  <a:pt x="8392253" y="4054658"/>
                  <a:pt x="8392253" y="2614442"/>
                </a:cubicBezTo>
              </a:path>
            </a:pathLst>
          </a:custGeom>
          <a:solidFill>
            <a:schemeClr val="tx2"/>
          </a:solidFill>
          <a:ln w="6348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7621588" cy="1846659"/>
          </a:xfrm>
        </p:spPr>
        <p:txBody>
          <a:bodyPr anchor="t" anchorCtr="0">
            <a:noAutofit/>
          </a:bodyPr>
          <a:lstStyle>
            <a:lvl1pPr algn="l">
              <a:defRPr sz="6000" spc="-100" baseline="0">
                <a:solidFill>
                  <a:schemeClr val="bg1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D074D20-5017-4B08-8BBF-AD5B2C4CEA05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9201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3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CB04576-09F0-4EF3-93DC-189F94A212E3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accent1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  <p:sp>
        <p:nvSpPr>
          <p:cNvPr id="7" name="Plassholder for bilde 15">
            <a:extLst>
              <a:ext uri="{FF2B5EF4-FFF2-40B4-BE49-F238E27FC236}">
                <a16:creationId xmlns:a16="http://schemas.microsoft.com/office/drawing/2014/main" id="{1837FF05-A2F0-F287-DEE3-CB00A8F6ED9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07066" y="804190"/>
            <a:ext cx="5976934" cy="5240128"/>
          </a:xfrm>
          <a:custGeom>
            <a:avLst/>
            <a:gdLst>
              <a:gd name="connsiteX0" fmla="*/ 4770250 w 5976934"/>
              <a:gd name="connsiteY0" fmla="*/ 0 h 5240128"/>
              <a:gd name="connsiteX1" fmla="*/ 5976934 w 5976934"/>
              <a:gd name="connsiteY1" fmla="*/ 0 h 5240128"/>
              <a:gd name="connsiteX2" fmla="*/ 5976934 w 5976934"/>
              <a:gd name="connsiteY2" fmla="*/ 5240128 h 5240128"/>
              <a:gd name="connsiteX3" fmla="*/ 2617204 w 5976934"/>
              <a:gd name="connsiteY3" fmla="*/ 5240128 h 5240128"/>
              <a:gd name="connsiteX4" fmla="*/ 0 w 5976934"/>
              <a:gd name="connsiteY4" fmla="*/ 2622923 h 5240128"/>
              <a:gd name="connsiteX5" fmla="*/ 2617204 w 5976934"/>
              <a:gd name="connsiteY5" fmla="*/ 5719 h 5240128"/>
              <a:gd name="connsiteX6" fmla="*/ 4770250 w 5976934"/>
              <a:gd name="connsiteY6" fmla="*/ 5719 h 524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6934" h="5240128">
                <a:moveTo>
                  <a:pt x="4770250" y="0"/>
                </a:moveTo>
                <a:lnTo>
                  <a:pt x="5976934" y="0"/>
                </a:lnTo>
                <a:lnTo>
                  <a:pt x="5976934" y="5240128"/>
                </a:lnTo>
                <a:lnTo>
                  <a:pt x="2617204" y="5240128"/>
                </a:lnTo>
                <a:cubicBezTo>
                  <a:pt x="1171737" y="5240128"/>
                  <a:pt x="0" y="4068391"/>
                  <a:pt x="0" y="2622923"/>
                </a:cubicBezTo>
                <a:cubicBezTo>
                  <a:pt x="0" y="1177456"/>
                  <a:pt x="1171737" y="5719"/>
                  <a:pt x="2617204" y="5719"/>
                </a:cubicBezTo>
                <a:lnTo>
                  <a:pt x="4770250" y="5719"/>
                </a:lnTo>
                <a:close/>
              </a:path>
            </a:pathLst>
          </a:custGeom>
          <a:solidFill>
            <a:srgbClr val="EFD8B8"/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</p:spTree>
    <p:extLst>
      <p:ext uri="{BB962C8B-B14F-4D97-AF65-F5344CB8AC3E}">
        <p14:creationId xmlns:p14="http://schemas.microsoft.com/office/powerpoint/2010/main" val="22487327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771A24A-F0C7-EF88-F049-88B0A5DDA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5B95FFF-E27A-D083-6646-B6839873C9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552306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5954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">
            <a:extLst>
              <a:ext uri="{FF2B5EF4-FFF2-40B4-BE49-F238E27FC236}">
                <a16:creationId xmlns:a16="http://schemas.microsoft.com/office/drawing/2014/main" id="{468A1974-2205-8109-9C6D-43A808783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88505" y="817511"/>
            <a:ext cx="8392253" cy="5226407"/>
          </a:xfrm>
          <a:custGeom>
            <a:avLst/>
            <a:gdLst>
              <a:gd name="connsiteX0" fmla="*/ 4200920 w 8392253"/>
              <a:gd name="connsiteY0" fmla="*/ 2611966 h 5226407"/>
              <a:gd name="connsiteX1" fmla="*/ 5124519 w 8392253"/>
              <a:gd name="connsiteY1" fmla="*/ 2611966 h 5226407"/>
              <a:gd name="connsiteX2" fmla="*/ 2562260 w 8392253"/>
              <a:gd name="connsiteY2" fmla="*/ 0 h 5226407"/>
              <a:gd name="connsiteX3" fmla="*/ 0 w 8392253"/>
              <a:gd name="connsiteY3" fmla="*/ 2611966 h 5226407"/>
              <a:gd name="connsiteX4" fmla="*/ 0 w 8392253"/>
              <a:gd name="connsiteY4" fmla="*/ 5206665 h 5226407"/>
              <a:gd name="connsiteX5" fmla="*/ 923599 w 8392253"/>
              <a:gd name="connsiteY5" fmla="*/ 5206665 h 5226407"/>
              <a:gd name="connsiteX6" fmla="*/ 923599 w 8392253"/>
              <a:gd name="connsiteY6" fmla="*/ 2611966 h 5226407"/>
              <a:gd name="connsiteX7" fmla="*/ 2562260 w 8392253"/>
              <a:gd name="connsiteY7" fmla="*/ 941565 h 5226407"/>
              <a:gd name="connsiteX8" fmla="*/ 4200920 w 8392253"/>
              <a:gd name="connsiteY8" fmla="*/ 2611966 h 5226407"/>
              <a:gd name="connsiteX9" fmla="*/ 8392253 w 8392253"/>
              <a:gd name="connsiteY9" fmla="*/ 2614506 h 5226407"/>
              <a:gd name="connsiteX10" fmla="*/ 5829994 w 8392253"/>
              <a:gd name="connsiteY10" fmla="*/ 2539 h 5226407"/>
              <a:gd name="connsiteX11" fmla="*/ 5829994 w 8392253"/>
              <a:gd name="connsiteY11" fmla="*/ 944041 h 5226407"/>
              <a:gd name="connsiteX12" fmla="*/ 7468655 w 8392253"/>
              <a:gd name="connsiteY12" fmla="*/ 2614442 h 5226407"/>
              <a:gd name="connsiteX13" fmla="*/ 5829994 w 8392253"/>
              <a:gd name="connsiteY13" fmla="*/ 4284843 h 5226407"/>
              <a:gd name="connsiteX14" fmla="*/ 4191397 w 8392253"/>
              <a:gd name="connsiteY14" fmla="*/ 2614442 h 5226407"/>
              <a:gd name="connsiteX15" fmla="*/ 3267798 w 8392253"/>
              <a:gd name="connsiteY15" fmla="*/ 2614442 h 5226407"/>
              <a:gd name="connsiteX16" fmla="*/ 5829994 w 8392253"/>
              <a:gd name="connsiteY16" fmla="*/ 5226408 h 5226407"/>
              <a:gd name="connsiteX17" fmla="*/ 8392253 w 8392253"/>
              <a:gd name="connsiteY17" fmla="*/ 2614442 h 522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392253" h="5226407">
                <a:moveTo>
                  <a:pt x="4200920" y="2611966"/>
                </a:moveTo>
                <a:lnTo>
                  <a:pt x="5124519" y="2611966"/>
                </a:lnTo>
                <a:cubicBezTo>
                  <a:pt x="5124519" y="1171750"/>
                  <a:pt x="3975051" y="0"/>
                  <a:pt x="2562260" y="0"/>
                </a:cubicBezTo>
                <a:cubicBezTo>
                  <a:pt x="1149468" y="0"/>
                  <a:pt x="0" y="1171750"/>
                  <a:pt x="0" y="2611966"/>
                </a:cubicBezTo>
                <a:lnTo>
                  <a:pt x="0" y="5206665"/>
                </a:lnTo>
                <a:lnTo>
                  <a:pt x="923599" y="5206665"/>
                </a:lnTo>
                <a:lnTo>
                  <a:pt x="923599" y="2611966"/>
                </a:lnTo>
                <a:cubicBezTo>
                  <a:pt x="923599" y="1690906"/>
                  <a:pt x="1658721" y="941565"/>
                  <a:pt x="2562260" y="941565"/>
                </a:cubicBezTo>
                <a:cubicBezTo>
                  <a:pt x="3465799" y="941565"/>
                  <a:pt x="4200920" y="1690906"/>
                  <a:pt x="4200920" y="2611966"/>
                </a:cubicBezTo>
                <a:moveTo>
                  <a:pt x="8392253" y="2614506"/>
                </a:moveTo>
                <a:cubicBezTo>
                  <a:pt x="8392253" y="1174226"/>
                  <a:pt x="7242849" y="2539"/>
                  <a:pt x="5829994" y="2539"/>
                </a:cubicBezTo>
                <a:lnTo>
                  <a:pt x="5829994" y="944041"/>
                </a:lnTo>
                <a:cubicBezTo>
                  <a:pt x="6733533" y="944041"/>
                  <a:pt x="7468655" y="1693318"/>
                  <a:pt x="7468655" y="2614442"/>
                </a:cubicBezTo>
                <a:cubicBezTo>
                  <a:pt x="7468655" y="3535566"/>
                  <a:pt x="6733533" y="4284843"/>
                  <a:pt x="5829994" y="4284843"/>
                </a:cubicBezTo>
                <a:cubicBezTo>
                  <a:pt x="4926455" y="4284843"/>
                  <a:pt x="4191397" y="3535502"/>
                  <a:pt x="4191397" y="2614442"/>
                </a:cubicBezTo>
                <a:lnTo>
                  <a:pt x="3267798" y="2614442"/>
                </a:lnTo>
                <a:cubicBezTo>
                  <a:pt x="3267798" y="4054658"/>
                  <a:pt x="4417203" y="5226408"/>
                  <a:pt x="5829994" y="5226408"/>
                </a:cubicBezTo>
                <a:cubicBezTo>
                  <a:pt x="7242786" y="5226408"/>
                  <a:pt x="8392253" y="4054658"/>
                  <a:pt x="8392253" y="2614442"/>
                </a:cubicBezTo>
              </a:path>
            </a:pathLst>
          </a:custGeom>
          <a:solidFill>
            <a:srgbClr val="EFD8B8"/>
          </a:solidFill>
          <a:ln w="6348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7621588" cy="1846659"/>
          </a:xfrm>
        </p:spPr>
        <p:txBody>
          <a:bodyPr anchor="t" anchorCtr="0">
            <a:noAutofit/>
          </a:bodyPr>
          <a:lstStyle>
            <a:lvl1pPr algn="l">
              <a:defRPr sz="6000" spc="-100" baseline="0">
                <a:solidFill>
                  <a:schemeClr val="accent1"/>
                </a:solidFill>
                <a:latin typeface="Brockmann" pitchFamily="50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B0A549C-84E1-413E-ABC9-553840A9BD1D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5758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">
            <a:extLst>
              <a:ext uri="{FF2B5EF4-FFF2-40B4-BE49-F238E27FC236}">
                <a16:creationId xmlns:a16="http://schemas.microsoft.com/office/drawing/2014/main" id="{468A1974-2205-8109-9C6D-43A808783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88505" y="817511"/>
            <a:ext cx="8392253" cy="5226407"/>
          </a:xfrm>
          <a:custGeom>
            <a:avLst/>
            <a:gdLst>
              <a:gd name="connsiteX0" fmla="*/ 4200920 w 8392253"/>
              <a:gd name="connsiteY0" fmla="*/ 2611966 h 5226407"/>
              <a:gd name="connsiteX1" fmla="*/ 5124519 w 8392253"/>
              <a:gd name="connsiteY1" fmla="*/ 2611966 h 5226407"/>
              <a:gd name="connsiteX2" fmla="*/ 2562260 w 8392253"/>
              <a:gd name="connsiteY2" fmla="*/ 0 h 5226407"/>
              <a:gd name="connsiteX3" fmla="*/ 0 w 8392253"/>
              <a:gd name="connsiteY3" fmla="*/ 2611966 h 5226407"/>
              <a:gd name="connsiteX4" fmla="*/ 0 w 8392253"/>
              <a:gd name="connsiteY4" fmla="*/ 5206665 h 5226407"/>
              <a:gd name="connsiteX5" fmla="*/ 923599 w 8392253"/>
              <a:gd name="connsiteY5" fmla="*/ 5206665 h 5226407"/>
              <a:gd name="connsiteX6" fmla="*/ 923599 w 8392253"/>
              <a:gd name="connsiteY6" fmla="*/ 2611966 h 5226407"/>
              <a:gd name="connsiteX7" fmla="*/ 2562260 w 8392253"/>
              <a:gd name="connsiteY7" fmla="*/ 941565 h 5226407"/>
              <a:gd name="connsiteX8" fmla="*/ 4200920 w 8392253"/>
              <a:gd name="connsiteY8" fmla="*/ 2611966 h 5226407"/>
              <a:gd name="connsiteX9" fmla="*/ 8392253 w 8392253"/>
              <a:gd name="connsiteY9" fmla="*/ 2614506 h 5226407"/>
              <a:gd name="connsiteX10" fmla="*/ 5829994 w 8392253"/>
              <a:gd name="connsiteY10" fmla="*/ 2539 h 5226407"/>
              <a:gd name="connsiteX11" fmla="*/ 5829994 w 8392253"/>
              <a:gd name="connsiteY11" fmla="*/ 944041 h 5226407"/>
              <a:gd name="connsiteX12" fmla="*/ 7468655 w 8392253"/>
              <a:gd name="connsiteY12" fmla="*/ 2614442 h 5226407"/>
              <a:gd name="connsiteX13" fmla="*/ 5829994 w 8392253"/>
              <a:gd name="connsiteY13" fmla="*/ 4284843 h 5226407"/>
              <a:gd name="connsiteX14" fmla="*/ 4191397 w 8392253"/>
              <a:gd name="connsiteY14" fmla="*/ 2614442 h 5226407"/>
              <a:gd name="connsiteX15" fmla="*/ 3267798 w 8392253"/>
              <a:gd name="connsiteY15" fmla="*/ 2614442 h 5226407"/>
              <a:gd name="connsiteX16" fmla="*/ 5829994 w 8392253"/>
              <a:gd name="connsiteY16" fmla="*/ 5226408 h 5226407"/>
              <a:gd name="connsiteX17" fmla="*/ 8392253 w 8392253"/>
              <a:gd name="connsiteY17" fmla="*/ 2614442 h 522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392253" h="5226407">
                <a:moveTo>
                  <a:pt x="4200920" y="2611966"/>
                </a:moveTo>
                <a:lnTo>
                  <a:pt x="5124519" y="2611966"/>
                </a:lnTo>
                <a:cubicBezTo>
                  <a:pt x="5124519" y="1171750"/>
                  <a:pt x="3975051" y="0"/>
                  <a:pt x="2562260" y="0"/>
                </a:cubicBezTo>
                <a:cubicBezTo>
                  <a:pt x="1149468" y="0"/>
                  <a:pt x="0" y="1171750"/>
                  <a:pt x="0" y="2611966"/>
                </a:cubicBezTo>
                <a:lnTo>
                  <a:pt x="0" y="5206665"/>
                </a:lnTo>
                <a:lnTo>
                  <a:pt x="923599" y="5206665"/>
                </a:lnTo>
                <a:lnTo>
                  <a:pt x="923599" y="2611966"/>
                </a:lnTo>
                <a:cubicBezTo>
                  <a:pt x="923599" y="1690906"/>
                  <a:pt x="1658721" y="941565"/>
                  <a:pt x="2562260" y="941565"/>
                </a:cubicBezTo>
                <a:cubicBezTo>
                  <a:pt x="3465799" y="941565"/>
                  <a:pt x="4200920" y="1690906"/>
                  <a:pt x="4200920" y="2611966"/>
                </a:cubicBezTo>
                <a:moveTo>
                  <a:pt x="8392253" y="2614506"/>
                </a:moveTo>
                <a:cubicBezTo>
                  <a:pt x="8392253" y="1174226"/>
                  <a:pt x="7242849" y="2539"/>
                  <a:pt x="5829994" y="2539"/>
                </a:cubicBezTo>
                <a:lnTo>
                  <a:pt x="5829994" y="944041"/>
                </a:lnTo>
                <a:cubicBezTo>
                  <a:pt x="6733533" y="944041"/>
                  <a:pt x="7468655" y="1693318"/>
                  <a:pt x="7468655" y="2614442"/>
                </a:cubicBezTo>
                <a:cubicBezTo>
                  <a:pt x="7468655" y="3535566"/>
                  <a:pt x="6733533" y="4284843"/>
                  <a:pt x="5829994" y="4284843"/>
                </a:cubicBezTo>
                <a:cubicBezTo>
                  <a:pt x="4926455" y="4284843"/>
                  <a:pt x="4191397" y="3535502"/>
                  <a:pt x="4191397" y="2614442"/>
                </a:cubicBezTo>
                <a:lnTo>
                  <a:pt x="3267798" y="2614442"/>
                </a:lnTo>
                <a:cubicBezTo>
                  <a:pt x="3267798" y="4054658"/>
                  <a:pt x="4417203" y="5226408"/>
                  <a:pt x="5829994" y="5226408"/>
                </a:cubicBezTo>
                <a:cubicBezTo>
                  <a:pt x="7242786" y="5226408"/>
                  <a:pt x="8392253" y="4054658"/>
                  <a:pt x="8392253" y="2614442"/>
                </a:cubicBezTo>
              </a:path>
            </a:pathLst>
          </a:custGeom>
          <a:solidFill>
            <a:schemeClr val="tx2"/>
          </a:solidFill>
          <a:ln w="6348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7621588" cy="1846659"/>
          </a:xfrm>
        </p:spPr>
        <p:txBody>
          <a:bodyPr anchor="t" anchorCtr="0">
            <a:noAutofit/>
          </a:bodyPr>
          <a:lstStyle>
            <a:lvl1pPr algn="l">
              <a:defRPr sz="6000" spc="-100" baseline="0">
                <a:solidFill>
                  <a:schemeClr val="bg1"/>
                </a:solidFill>
                <a:latin typeface="Brockmann" pitchFamily="50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D074D20-5017-4B08-8BBF-AD5B2C4CEA05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7760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4507706" cy="2308324"/>
          </a:xfrm>
        </p:spPr>
        <p:txBody>
          <a:bodyPr anchor="t" anchorCtr="0">
            <a:noAutofit/>
          </a:bodyPr>
          <a:lstStyle>
            <a:lvl1pPr algn="l">
              <a:defRPr sz="5000" spc="-100" baseline="0">
                <a:solidFill>
                  <a:schemeClr val="accent1"/>
                </a:solidFill>
                <a:latin typeface="Brockmann" pitchFamily="50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31774FF-C529-422C-B5D5-C83A8ED6FE3D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C519EB5-08DC-B134-4A1A-B48928CE8C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07066" y="804190"/>
            <a:ext cx="5976934" cy="5240128"/>
          </a:xfrm>
          <a:custGeom>
            <a:avLst/>
            <a:gdLst>
              <a:gd name="connsiteX0" fmla="*/ 4770250 w 5976934"/>
              <a:gd name="connsiteY0" fmla="*/ 0 h 5240128"/>
              <a:gd name="connsiteX1" fmla="*/ 5976934 w 5976934"/>
              <a:gd name="connsiteY1" fmla="*/ 0 h 5240128"/>
              <a:gd name="connsiteX2" fmla="*/ 5976934 w 5976934"/>
              <a:gd name="connsiteY2" fmla="*/ 5240128 h 5240128"/>
              <a:gd name="connsiteX3" fmla="*/ 2617204 w 5976934"/>
              <a:gd name="connsiteY3" fmla="*/ 5240128 h 5240128"/>
              <a:gd name="connsiteX4" fmla="*/ 0 w 5976934"/>
              <a:gd name="connsiteY4" fmla="*/ 2622923 h 5240128"/>
              <a:gd name="connsiteX5" fmla="*/ 2617204 w 5976934"/>
              <a:gd name="connsiteY5" fmla="*/ 5719 h 5240128"/>
              <a:gd name="connsiteX6" fmla="*/ 4770250 w 5976934"/>
              <a:gd name="connsiteY6" fmla="*/ 5719 h 524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6934" h="5240128">
                <a:moveTo>
                  <a:pt x="4770250" y="0"/>
                </a:moveTo>
                <a:lnTo>
                  <a:pt x="5976934" y="0"/>
                </a:lnTo>
                <a:lnTo>
                  <a:pt x="5976934" y="5240128"/>
                </a:lnTo>
                <a:lnTo>
                  <a:pt x="2617204" y="5240128"/>
                </a:lnTo>
                <a:cubicBezTo>
                  <a:pt x="1171737" y="5240128"/>
                  <a:pt x="0" y="4068391"/>
                  <a:pt x="0" y="2622923"/>
                </a:cubicBezTo>
                <a:cubicBezTo>
                  <a:pt x="0" y="1177456"/>
                  <a:pt x="1171737" y="5719"/>
                  <a:pt x="2617204" y="5719"/>
                </a:cubicBezTo>
                <a:lnTo>
                  <a:pt x="4770250" y="5719"/>
                </a:lnTo>
                <a:close/>
              </a:path>
            </a:pathLst>
          </a:custGeom>
          <a:solidFill>
            <a:srgbClr val="EFD8B8"/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</p:spTree>
    <p:extLst>
      <p:ext uri="{BB962C8B-B14F-4D97-AF65-F5344CB8AC3E}">
        <p14:creationId xmlns:p14="http://schemas.microsoft.com/office/powerpoint/2010/main" val="34444388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stikktittel">
            <a:extLst>
              <a:ext uri="{FF2B5EF4-FFF2-40B4-BE49-F238E27FC236}">
                <a16:creationId xmlns:a16="http://schemas.microsoft.com/office/drawing/2014/main" id="{15A2F8A0-2293-031F-328A-6DDCD5CA02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0" name="Tittel 9">
            <a:extLst>
              <a:ext uri="{FF2B5EF4-FFF2-40B4-BE49-F238E27FC236}">
                <a16:creationId xmlns:a16="http://schemas.microsoft.com/office/drawing/2014/main" id="{05EFD675-3312-6318-3B9D-2E9A0C3F9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10154444" cy="384721"/>
          </a:xfrm>
        </p:spPr>
        <p:txBody>
          <a:bodyPr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CF19184-03D4-521C-7CAD-64C3E2B6F05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29494" y="2092061"/>
            <a:ext cx="4680744" cy="4061619"/>
          </a:xfrm>
        </p:spPr>
        <p:txBody>
          <a:bodyPr/>
          <a:lstStyle>
            <a:lvl1pPr>
              <a:defRPr/>
            </a:lvl1pPr>
          </a:lstStyle>
          <a:p>
            <a:pPr marL="158400" marR="0" lvl="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nb-NO"/>
              <a:t>Malen har flere oppsett. Velg blant dem på Hjem-fanen &gt; nedtrekksmenyen Nytt lysbilde. </a:t>
            </a:r>
            <a:br>
              <a:rPr lang="nb-NO"/>
            </a:br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Nivå 1-3 er punkter.</a:t>
            </a:r>
            <a:br>
              <a:rPr lang="nb-NO"/>
            </a:br>
            <a:r>
              <a:rPr lang="nb-NO"/>
              <a:t>Slå av/på punkter på Hjem-fanen. </a:t>
            </a:r>
            <a:br>
              <a:rPr lang="nb-NO"/>
            </a:br>
            <a:r>
              <a:rPr lang="nb-NO"/>
              <a:t>Lim inn med valget «Bruk måltema» eller «Bare tekst» for å ikke ta med formatering. Høyreklikk der du vil lime inn for å velge </a:t>
            </a:r>
            <a:r>
              <a:rPr lang="nb-NO" err="1"/>
              <a:t>innlimingsmåte</a:t>
            </a:r>
            <a:r>
              <a:rPr lang="nb-NO"/>
              <a:t>.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9474F42-5779-F460-8A59-59C2D39397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1717" y="2092061"/>
            <a:ext cx="5050790" cy="406161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F9189F2-90EA-8E91-C548-D83149ABB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22AB3-3BE9-498A-AA18-4E8BEF4D8768}" type="datetime1">
              <a:rPr lang="nb-NO" smtClean="0"/>
              <a:t>29.10.2025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60C1620-A883-B651-8150-B415FC34F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DC0A9E3-377C-16F0-9402-9273CFB90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27821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142D01C3-EABD-FCC9-A82F-27F2F089B3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57CC4-9AB8-435D-B741-AC599CA3F2EB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B3C50FE8-24F0-98E7-C5E8-AC7D10681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802617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stå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DC234315-2208-AE95-0EC8-045714E434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2" name="Tittel 11">
            <a:extLst>
              <a:ext uri="{FF2B5EF4-FFF2-40B4-BE49-F238E27FC236}">
                <a16:creationId xmlns:a16="http://schemas.microsoft.com/office/drawing/2014/main" id="{83D12C3A-2AF0-5C40-7DE6-D811E088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8538" y="812800"/>
            <a:ext cx="3835399" cy="5228431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87A5A-E316-46F2-8F80-073F79625812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68720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lig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CBCE14DC-B61D-8319-4AF9-488A703588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0F806849-66A4-92CF-4776-8D23A1EA0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74569" y="1467905"/>
            <a:ext cx="5087937" cy="3738298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623414-DC26-4411-872F-B01275FEDAB6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80959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4507706" cy="2308324"/>
          </a:xfrm>
        </p:spPr>
        <p:txBody>
          <a:bodyPr anchor="t" anchorCtr="0">
            <a:noAutofit/>
          </a:bodyPr>
          <a:lstStyle>
            <a:lvl1pPr algn="l">
              <a:defRPr sz="5000" spc="-100" baseline="0">
                <a:solidFill>
                  <a:schemeClr val="accent1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31774FF-C529-422C-B5D5-C83A8ED6FE3D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C519EB5-08DC-B134-4A1A-B48928CE8C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07066" y="804190"/>
            <a:ext cx="5976934" cy="5240128"/>
          </a:xfrm>
          <a:custGeom>
            <a:avLst/>
            <a:gdLst>
              <a:gd name="connsiteX0" fmla="*/ 4770250 w 5976934"/>
              <a:gd name="connsiteY0" fmla="*/ 0 h 5240128"/>
              <a:gd name="connsiteX1" fmla="*/ 5976934 w 5976934"/>
              <a:gd name="connsiteY1" fmla="*/ 0 h 5240128"/>
              <a:gd name="connsiteX2" fmla="*/ 5976934 w 5976934"/>
              <a:gd name="connsiteY2" fmla="*/ 5240128 h 5240128"/>
              <a:gd name="connsiteX3" fmla="*/ 2617204 w 5976934"/>
              <a:gd name="connsiteY3" fmla="*/ 5240128 h 5240128"/>
              <a:gd name="connsiteX4" fmla="*/ 0 w 5976934"/>
              <a:gd name="connsiteY4" fmla="*/ 2622923 h 5240128"/>
              <a:gd name="connsiteX5" fmla="*/ 2617204 w 5976934"/>
              <a:gd name="connsiteY5" fmla="*/ 5719 h 5240128"/>
              <a:gd name="connsiteX6" fmla="*/ 4770250 w 5976934"/>
              <a:gd name="connsiteY6" fmla="*/ 5719 h 524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6934" h="5240128">
                <a:moveTo>
                  <a:pt x="4770250" y="0"/>
                </a:moveTo>
                <a:lnTo>
                  <a:pt x="5976934" y="0"/>
                </a:lnTo>
                <a:lnTo>
                  <a:pt x="5976934" y="5240128"/>
                </a:lnTo>
                <a:lnTo>
                  <a:pt x="2617204" y="5240128"/>
                </a:lnTo>
                <a:cubicBezTo>
                  <a:pt x="1171737" y="5240128"/>
                  <a:pt x="0" y="4068391"/>
                  <a:pt x="0" y="2622923"/>
                </a:cubicBezTo>
                <a:cubicBezTo>
                  <a:pt x="0" y="1177456"/>
                  <a:pt x="1171737" y="5719"/>
                  <a:pt x="2617204" y="5719"/>
                </a:cubicBezTo>
                <a:lnTo>
                  <a:pt x="4770250" y="5719"/>
                </a:lnTo>
                <a:close/>
              </a:path>
            </a:pathLst>
          </a:custGeom>
          <a:solidFill>
            <a:srgbClr val="EFD8B8"/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</p:spTree>
    <p:extLst>
      <p:ext uri="{BB962C8B-B14F-4D97-AF65-F5344CB8AC3E}">
        <p14:creationId xmlns:p14="http://schemas.microsoft.com/office/powerpoint/2010/main" val="36061140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stikktittel">
            <a:extLst>
              <a:ext uri="{FF2B5EF4-FFF2-40B4-BE49-F238E27FC236}">
                <a16:creationId xmlns:a16="http://schemas.microsoft.com/office/drawing/2014/main" id="{CC61A77B-4AB2-F5E7-B45E-720959B789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A36B86C0-808C-9A75-6310-C1FAA6D2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Bakgrunn">
            <a:extLst>
              <a:ext uri="{FF2B5EF4-FFF2-40B4-BE49-F238E27FC236}">
                <a16:creationId xmlns:a16="http://schemas.microsoft.com/office/drawing/2014/main" id="{0C0D122D-EAB9-FBDA-DA5E-F3CB2CD84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93D23D4A-D64E-2C76-3608-F840BE3693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15752" y="2115344"/>
            <a:ext cx="4268186" cy="3303588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/>
              <a:t>Klikk ikonet for å legge til et diagram</a:t>
            </a:r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C7296503-CD82-6E88-47F8-97AFC6D99E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5752" y="5641975"/>
            <a:ext cx="4268186" cy="307456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legge til bildetekst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272568-1C7F-4C1A-85E1-3210D465D2A7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57422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 / 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stikktittel">
            <a:extLst>
              <a:ext uri="{FF2B5EF4-FFF2-40B4-BE49-F238E27FC236}">
                <a16:creationId xmlns:a16="http://schemas.microsoft.com/office/drawing/2014/main" id="{7D5DC927-95E0-4587-D841-89659D6139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0" name="Tittel 6">
            <a:extLst>
              <a:ext uri="{FF2B5EF4-FFF2-40B4-BE49-F238E27FC236}">
                <a16:creationId xmlns:a16="http://schemas.microsoft.com/office/drawing/2014/main" id="{CCB95129-D0BB-DEBD-6D87-FB2A96A1C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6FA2901E-EA97-0EA7-34C4-2971F61592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Bakgrunn">
            <a:extLst>
              <a:ext uri="{FF2B5EF4-FFF2-40B4-BE49-F238E27FC236}">
                <a16:creationId xmlns:a16="http://schemas.microsoft.com/office/drawing/2014/main" id="{0C0D122D-EAB9-FBDA-DA5E-F3CB2CD84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7545EDA6-1C04-1340-204F-A03868A769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81763" y="2115344"/>
            <a:ext cx="5201444" cy="2618346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en tabell eller en graf</a:t>
            </a:r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C7296503-CD82-6E88-47F8-97AFC6D99E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1762" y="4904908"/>
            <a:ext cx="4266599" cy="307456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tx2"/>
                </a:solidFill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legge til bildetekst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0AED5-109E-4623-AAED-745787A57DEC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526909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, fritt oppset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4BA77D5D-02BF-5ECF-E9CC-34542FBB2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7545EDA6-1C04-1340-204F-A03868A769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33729" y="1464469"/>
            <a:ext cx="4199942" cy="3920096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bilde/utklipp, tabell eller graf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AB3DF-8B8E-4FE0-BB9C-DAD5FB434DCE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17" name="Plassholder for innhold 11">
            <a:extLst>
              <a:ext uri="{FF2B5EF4-FFF2-40B4-BE49-F238E27FC236}">
                <a16:creationId xmlns:a16="http://schemas.microsoft.com/office/drawing/2014/main" id="{663F0987-3403-380B-A9F6-4CB2FDB953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10238" y="1464470"/>
            <a:ext cx="4974886" cy="336952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bilde/utklipp, tabell eller graf</a:t>
            </a:r>
          </a:p>
        </p:txBody>
      </p:sp>
    </p:spTree>
    <p:extLst>
      <p:ext uri="{BB962C8B-B14F-4D97-AF65-F5344CB8AC3E}">
        <p14:creationId xmlns:p14="http://schemas.microsoft.com/office/powerpoint/2010/main" val="8048768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, 3 bil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8" name="Plassholder for bilde 10">
            <a:extLst>
              <a:ext uri="{FF2B5EF4-FFF2-40B4-BE49-F238E27FC236}">
                <a16:creationId xmlns:a16="http://schemas.microsoft.com/office/drawing/2014/main" id="{89FFB911-7972-201F-0C32-D6741C6C5E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29494" y="1464469"/>
            <a:ext cx="6234906" cy="4576762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0" name="Plassholder for bilde 10">
            <a:extLst>
              <a:ext uri="{FF2B5EF4-FFF2-40B4-BE49-F238E27FC236}">
                <a16:creationId xmlns:a16="http://schemas.microsoft.com/office/drawing/2014/main" id="{BEB3354C-66D1-65E3-E360-A3BF3B88B30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27257" y="770467"/>
            <a:ext cx="1953929" cy="2658534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C88CBE2F-3953-8378-F52D-63DF193C92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527257" y="4079081"/>
            <a:ext cx="2656681" cy="196215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2" name="Plassholder for stikktittel">
            <a:extLst>
              <a:ext uri="{FF2B5EF4-FFF2-40B4-BE49-F238E27FC236}">
                <a16:creationId xmlns:a16="http://schemas.microsoft.com/office/drawing/2014/main" id="{E1A44C09-CDE3-65EC-4691-DE5C54FA0A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6" name="Plassholder for dato 15">
            <a:extLst>
              <a:ext uri="{FF2B5EF4-FFF2-40B4-BE49-F238E27FC236}">
                <a16:creationId xmlns:a16="http://schemas.microsoft.com/office/drawing/2014/main" id="{A60840C5-D8A9-FD32-BCAC-35C30BDD0B1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ABD587D-0514-4F19-AE69-F0EEDE96F83B}" type="datetime1">
              <a:rPr lang="nb-NO" smtClean="0"/>
              <a:t>29.10.2025</a:t>
            </a:fld>
            <a:endParaRPr lang="nb-NO"/>
          </a:p>
        </p:txBody>
      </p:sp>
      <p:sp>
        <p:nvSpPr>
          <p:cNvPr id="17" name="Plassholder for bunntekst 16">
            <a:extLst>
              <a:ext uri="{FF2B5EF4-FFF2-40B4-BE49-F238E27FC236}">
                <a16:creationId xmlns:a16="http://schemas.microsoft.com/office/drawing/2014/main" id="{AB8B9337-4405-D5F0-3545-FF26BB1DA2E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8" name="Plassholder for lysbildenummer 17">
            <a:extLst>
              <a:ext uri="{FF2B5EF4-FFF2-40B4-BE49-F238E27FC236}">
                <a16:creationId xmlns:a16="http://schemas.microsoft.com/office/drawing/2014/main" id="{9BF0DD86-B856-2497-3AED-E0C72D4D11B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241912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sita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1554163"/>
            <a:ext cx="10154444" cy="2734916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5170">
                <a:solidFill>
                  <a:schemeClr val="accent6"/>
                </a:solidFill>
                <a:latin typeface="Brockmann" pitchFamily="50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CACFFDEA-348A-AB0A-58D0-F729EB2D4F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D1E254-09D4-453D-8769-376E4556FDB4}" type="datetime1">
              <a:rPr lang="nb-NO" smtClean="0"/>
              <a:t>29.10.2025</a:t>
            </a:fld>
            <a:endParaRPr lang="nb-NO"/>
          </a:p>
        </p:txBody>
      </p:sp>
      <p:sp>
        <p:nvSpPr>
          <p:cNvPr id="10" name="Plassholder for bunntekst 9">
            <a:extLst>
              <a:ext uri="{FF2B5EF4-FFF2-40B4-BE49-F238E27FC236}">
                <a16:creationId xmlns:a16="http://schemas.microsoft.com/office/drawing/2014/main" id="{6FCF257E-4BB7-2A52-CD90-AB6A854EB4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B49A831B-D3B3-EDBD-D732-5184933F58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stikktittel">
            <a:extLst>
              <a:ext uri="{FF2B5EF4-FFF2-40B4-BE49-F238E27FC236}">
                <a16:creationId xmlns:a16="http://schemas.microsoft.com/office/drawing/2014/main" id="{D53E3115-935A-AE50-764A-F6B86AF8E4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1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D1B338A-3645-7A55-C0E3-BF7996BA94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9494" y="4730750"/>
            <a:ext cx="4680744" cy="461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6"/>
                </a:solidFill>
              </a:defRPr>
            </a:lvl1pPr>
            <a:lvl2pPr marL="158843" indent="0">
              <a:buNone/>
              <a:defRPr/>
            </a:lvl2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,</a:t>
            </a:r>
            <a:br>
              <a:rPr lang="nb-NO"/>
            </a:br>
            <a:r>
              <a:rPr lang="nb-NO"/>
              <a:t>Tittel/stilling</a:t>
            </a:r>
          </a:p>
        </p:txBody>
      </p:sp>
    </p:spTree>
    <p:extLst>
      <p:ext uri="{BB962C8B-B14F-4D97-AF65-F5344CB8AC3E}">
        <p14:creationId xmlns:p14="http://schemas.microsoft.com/office/powerpoint/2010/main" val="5179430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 A: Grafik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2E96E04-050C-8584-B76A-431002072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821532"/>
            <a:ext cx="4680744" cy="769441"/>
          </a:xfrm>
        </p:spPr>
        <p:txBody>
          <a:bodyPr anchor="t" anchorCtr="0">
            <a:noAutofit/>
          </a:bodyPr>
          <a:lstStyle>
            <a:lvl1pPr>
              <a:defRPr sz="2500">
                <a:solidFill>
                  <a:schemeClr val="accent3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880C8A2-7304-2314-8523-D1FFEFD636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233C0CD3-9BB7-4728-BF77-96303D4DA3D4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EE73FFE-145C-E4BF-9A55-964A9A110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09F080D-2D36-9CA5-0DFD-1ABD5E827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F069DEE9-D87A-22F8-C14F-EB6DD69DFA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2007" y="2233244"/>
            <a:ext cx="10141931" cy="380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012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 B: 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>
            <a:extLst>
              <a:ext uri="{FF2B5EF4-FFF2-40B4-BE49-F238E27FC236}">
                <a16:creationId xmlns:a16="http://schemas.microsoft.com/office/drawing/2014/main" id="{BF16AF4E-8543-71DB-6692-6AFAFAE4CA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200449-EFED-42EC-8EAE-92A089D61CE8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Logo i plassholder">
            <a:extLst>
              <a:ext uri="{FF2B5EF4-FFF2-40B4-BE49-F238E27FC236}">
                <a16:creationId xmlns:a16="http://schemas.microsoft.com/office/drawing/2014/main" id="{0EB9FEEB-2663-4694-C189-576D39BB81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32363" y="6364781"/>
            <a:ext cx="558200" cy="11380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898306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25C0215E-A02B-D3B9-A2F9-CF68B7D47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E5C6D-1B61-48D3-9475-6408C65972E5}" type="datetime1">
              <a:rPr lang="nb-NO" smtClean="0"/>
              <a:t>29.10.2025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D235650B-3819-1C73-C2D5-BF5C118A1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Plassholder for lysbildenummer 13">
            <a:extLst>
              <a:ext uri="{FF2B5EF4-FFF2-40B4-BE49-F238E27FC236}">
                <a16:creationId xmlns:a16="http://schemas.microsoft.com/office/drawing/2014/main" id="{583CAAC6-30E6-21DA-8816-872BC5905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Plassholder for innhold 15">
            <a:extLst>
              <a:ext uri="{FF2B5EF4-FFF2-40B4-BE49-F238E27FC236}">
                <a16:creationId xmlns:a16="http://schemas.microsoft.com/office/drawing/2014/main" id="{8265D594-44F1-30A0-D7E1-6515D9534F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9494" y="1805749"/>
            <a:ext cx="7621588" cy="4281012"/>
          </a:xfrm>
        </p:spPr>
        <p:txBody>
          <a:bodyPr/>
          <a:lstStyle>
            <a:lvl1pPr marL="457200" indent="-457200">
              <a:lnSpc>
                <a:spcPct val="103000"/>
              </a:lnSpc>
              <a:buSzPct val="100000"/>
              <a:buFont typeface="+mj-lt"/>
              <a:buAutoNum type="arabicPeriod"/>
              <a:defRPr sz="2500">
                <a:latin typeface="+mj-lt"/>
              </a:defRPr>
            </a:lvl1pPr>
            <a:lvl2pPr marL="625475" indent="-157957">
              <a:defRPr/>
            </a:lvl2pPr>
            <a:lvl3pPr marL="819150" indent="-157957"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15335322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D064978-874C-7D8A-AFE0-B180BBD13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98A18-6B7E-4432-8AE6-400F13F972DC}" type="datetime1">
              <a:rPr lang="nb-NO" smtClean="0"/>
              <a:t>29.10.2025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1478240-A459-CDB4-8DEB-93A2E8715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20AF32-9AE9-644B-1BE5-C69DEA28D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D88D3F1-77A2-CA5D-2073-0793AEF78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9494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6" name="Plassholder for tekst 6">
            <a:extLst>
              <a:ext uri="{FF2B5EF4-FFF2-40B4-BE49-F238E27FC236}">
                <a16:creationId xmlns:a16="http://schemas.microsoft.com/office/drawing/2014/main" id="{03E7C7B3-6BF1-5572-DC74-78C4227A8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9494" y="3397250"/>
            <a:ext cx="2532856" cy="262334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tekst 4">
            <a:extLst>
              <a:ext uri="{FF2B5EF4-FFF2-40B4-BE49-F238E27FC236}">
                <a16:creationId xmlns:a16="http://schemas.microsoft.com/office/drawing/2014/main" id="{9FB55E71-8F53-4CA1-0C8B-1B65385F8D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67843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98823DEE-A9B4-7308-7A91-98382B5FF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67844" y="3397250"/>
            <a:ext cx="2532856" cy="262334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tekst 4">
            <a:extLst>
              <a:ext uri="{FF2B5EF4-FFF2-40B4-BE49-F238E27FC236}">
                <a16:creationId xmlns:a16="http://schemas.microsoft.com/office/drawing/2014/main" id="{84DCCD78-0027-A9CA-7F17-3F5B3F5408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6193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11" name="Plassholder for tekst 6">
            <a:extLst>
              <a:ext uri="{FF2B5EF4-FFF2-40B4-BE49-F238E27FC236}">
                <a16:creationId xmlns:a16="http://schemas.microsoft.com/office/drawing/2014/main" id="{A859C48B-3FBA-A575-1DFB-CCBB46EF2BF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06193" y="3397250"/>
            <a:ext cx="2532856" cy="262334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96D92403-C516-4500-0ABB-D6E11583B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</p:spTree>
    <p:extLst>
      <p:ext uri="{BB962C8B-B14F-4D97-AF65-F5344CB8AC3E}">
        <p14:creationId xmlns:p14="http://schemas.microsoft.com/office/powerpoint/2010/main" val="15709857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6">
            <a:extLst>
              <a:ext uri="{FF2B5EF4-FFF2-40B4-BE49-F238E27FC236}">
                <a16:creationId xmlns:a16="http://schemas.microsoft.com/office/drawing/2014/main" id="{03E7C7B3-6BF1-5572-DC74-78C4227A8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9494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D064978-874C-7D8A-AFE0-B180BBD13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9236E0-6D9B-4E45-BD4A-FEC3F5B2ECD6}" type="datetime1">
              <a:rPr lang="nb-NO" smtClean="0"/>
              <a:t>29.10.2025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1478240-A459-CDB4-8DEB-93A2E8715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20AF32-9AE9-644B-1BE5-C69DEA28D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14" name="Plassholder for tekst 6">
            <a:extLst>
              <a:ext uri="{FF2B5EF4-FFF2-40B4-BE49-F238E27FC236}">
                <a16:creationId xmlns:a16="http://schemas.microsoft.com/office/drawing/2014/main" id="{AAF80E57-F4CB-0BDF-3064-73B5673B8A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11729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tekst 6">
            <a:extLst>
              <a:ext uri="{FF2B5EF4-FFF2-40B4-BE49-F238E27FC236}">
                <a16:creationId xmlns:a16="http://schemas.microsoft.com/office/drawing/2014/main" id="{6C0C7590-7D5E-041F-04C5-A044B39468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3964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6">
            <a:extLst>
              <a:ext uri="{FF2B5EF4-FFF2-40B4-BE49-F238E27FC236}">
                <a16:creationId xmlns:a16="http://schemas.microsoft.com/office/drawing/2014/main" id="{1EB9DF66-E096-7397-DA70-4B6ED25AE7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76199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6">
            <a:extLst>
              <a:ext uri="{FF2B5EF4-FFF2-40B4-BE49-F238E27FC236}">
                <a16:creationId xmlns:a16="http://schemas.microsoft.com/office/drawing/2014/main" id="{3830DDCB-3757-5A04-CB6D-11DC955627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29494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tekst 6">
            <a:extLst>
              <a:ext uri="{FF2B5EF4-FFF2-40B4-BE49-F238E27FC236}">
                <a16:creationId xmlns:a16="http://schemas.microsoft.com/office/drawing/2014/main" id="{C3ED00AD-B029-061F-AED3-14E59D6EFD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11729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Plassholder for tekst 6">
            <a:extLst>
              <a:ext uri="{FF2B5EF4-FFF2-40B4-BE49-F238E27FC236}">
                <a16:creationId xmlns:a16="http://schemas.microsoft.com/office/drawing/2014/main" id="{2B524F33-33DF-5484-2BA7-615D0063AFE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93964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6">
            <a:extLst>
              <a:ext uri="{FF2B5EF4-FFF2-40B4-BE49-F238E27FC236}">
                <a16:creationId xmlns:a16="http://schemas.microsoft.com/office/drawing/2014/main" id="{37E43FD5-269B-C583-1DDC-92BD69819DF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776199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E7F7F1F5-3327-6B92-FE73-2EF9900BB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</p:spTree>
    <p:extLst>
      <p:ext uri="{BB962C8B-B14F-4D97-AF65-F5344CB8AC3E}">
        <p14:creationId xmlns:p14="http://schemas.microsoft.com/office/powerpoint/2010/main" val="2028104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stikktittel">
            <a:extLst>
              <a:ext uri="{FF2B5EF4-FFF2-40B4-BE49-F238E27FC236}">
                <a16:creationId xmlns:a16="http://schemas.microsoft.com/office/drawing/2014/main" id="{15A2F8A0-2293-031F-328A-6DDCD5CA02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0" name="Tittel 9">
            <a:extLst>
              <a:ext uri="{FF2B5EF4-FFF2-40B4-BE49-F238E27FC236}">
                <a16:creationId xmlns:a16="http://schemas.microsoft.com/office/drawing/2014/main" id="{05EFD675-3312-6318-3B9D-2E9A0C3F9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10154444" cy="38472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CF19184-03D4-521C-7CAD-64C3E2B6F05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29494" y="2092061"/>
            <a:ext cx="4680744" cy="4061619"/>
          </a:xfrm>
        </p:spPr>
        <p:txBody>
          <a:bodyPr/>
          <a:lstStyle>
            <a:lvl1pPr>
              <a:defRPr/>
            </a:lvl1pPr>
          </a:lstStyle>
          <a:p>
            <a:pPr marL="158400" marR="0" lvl="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nb-NO"/>
              <a:t>Malen har flere oppsett. Velg blant dem på Hjem-fanen &gt; nedtrekksmenyen Nytt lysbilde. </a:t>
            </a:r>
            <a:br>
              <a:rPr lang="nb-NO"/>
            </a:br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Nivå 1-3 er punkter.</a:t>
            </a:r>
            <a:br>
              <a:rPr lang="nb-NO"/>
            </a:br>
            <a:r>
              <a:rPr lang="nb-NO"/>
              <a:t>Slå av/på punkter på Hjem-fanen. </a:t>
            </a:r>
            <a:br>
              <a:rPr lang="nb-NO"/>
            </a:br>
            <a:r>
              <a:rPr lang="nb-NO"/>
              <a:t>Lim inn med valget «Bruk måltema» eller «Bare tekst» for å ikke ta med formatering. Høyreklikk der du vil lime inn for å velge </a:t>
            </a:r>
            <a:r>
              <a:rPr lang="nb-NO" err="1"/>
              <a:t>innlimingsmåte</a:t>
            </a:r>
            <a:r>
              <a:rPr lang="nb-NO"/>
              <a:t>.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9474F42-5779-F460-8A59-59C2D39397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1717" y="2092061"/>
            <a:ext cx="5050790" cy="40616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F9189F2-90EA-8E91-C548-D83149ABB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22AB3-3BE9-498A-AA18-4E8BEF4D8768}" type="datetime1">
              <a:rPr lang="nb-NO" smtClean="0"/>
              <a:t>29.10.2025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60C1620-A883-B651-8150-B415FC34F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DC0A9E3-377C-16F0-9402-9273CFB90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65623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971EE36-3C57-4E3F-8D97-F9C77C0153A6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bg2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0352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3EA0F6-6A5D-4E35-ABF5-67FED8BA971E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accent1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2364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3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CB04576-09F0-4EF3-93DC-189F94A212E3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accent1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  <p:sp>
        <p:nvSpPr>
          <p:cNvPr id="7" name="Plassholder for bilde 15">
            <a:extLst>
              <a:ext uri="{FF2B5EF4-FFF2-40B4-BE49-F238E27FC236}">
                <a16:creationId xmlns:a16="http://schemas.microsoft.com/office/drawing/2014/main" id="{1837FF05-A2F0-F287-DEE3-CB00A8F6ED9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07066" y="804190"/>
            <a:ext cx="5976934" cy="5240128"/>
          </a:xfrm>
          <a:custGeom>
            <a:avLst/>
            <a:gdLst>
              <a:gd name="connsiteX0" fmla="*/ 4770250 w 5976934"/>
              <a:gd name="connsiteY0" fmla="*/ 0 h 5240128"/>
              <a:gd name="connsiteX1" fmla="*/ 5976934 w 5976934"/>
              <a:gd name="connsiteY1" fmla="*/ 0 h 5240128"/>
              <a:gd name="connsiteX2" fmla="*/ 5976934 w 5976934"/>
              <a:gd name="connsiteY2" fmla="*/ 5240128 h 5240128"/>
              <a:gd name="connsiteX3" fmla="*/ 2617204 w 5976934"/>
              <a:gd name="connsiteY3" fmla="*/ 5240128 h 5240128"/>
              <a:gd name="connsiteX4" fmla="*/ 0 w 5976934"/>
              <a:gd name="connsiteY4" fmla="*/ 2622923 h 5240128"/>
              <a:gd name="connsiteX5" fmla="*/ 2617204 w 5976934"/>
              <a:gd name="connsiteY5" fmla="*/ 5719 h 5240128"/>
              <a:gd name="connsiteX6" fmla="*/ 4770250 w 5976934"/>
              <a:gd name="connsiteY6" fmla="*/ 5719 h 524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6934" h="5240128">
                <a:moveTo>
                  <a:pt x="4770250" y="0"/>
                </a:moveTo>
                <a:lnTo>
                  <a:pt x="5976934" y="0"/>
                </a:lnTo>
                <a:lnTo>
                  <a:pt x="5976934" y="5240128"/>
                </a:lnTo>
                <a:lnTo>
                  <a:pt x="2617204" y="5240128"/>
                </a:lnTo>
                <a:cubicBezTo>
                  <a:pt x="1171737" y="5240128"/>
                  <a:pt x="0" y="4068391"/>
                  <a:pt x="0" y="2622923"/>
                </a:cubicBezTo>
                <a:cubicBezTo>
                  <a:pt x="0" y="1177456"/>
                  <a:pt x="1171737" y="5719"/>
                  <a:pt x="2617204" y="5719"/>
                </a:cubicBezTo>
                <a:lnTo>
                  <a:pt x="4770250" y="5719"/>
                </a:lnTo>
                <a:close/>
              </a:path>
            </a:pathLst>
          </a:custGeom>
          <a:solidFill>
            <a:srgbClr val="EFD8B8"/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</p:spTree>
    <p:extLst>
      <p:ext uri="{BB962C8B-B14F-4D97-AF65-F5344CB8AC3E}">
        <p14:creationId xmlns:p14="http://schemas.microsoft.com/office/powerpoint/2010/main" val="4278780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34919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5161459-AD77-74E2-93B6-2A7A3FED2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311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161459-AD77-74E2-93B6-2A7A3FED2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97C71717-7F48-8699-4DDA-D81AF1882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8038EAD-5B61-8DC9-B9DD-8ACE7EF2D5B5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45DEC02-2F87-BB5F-67D3-0A9037F7219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0E6897B8-CF31-EE14-EBDD-E361225AD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91E5AD3-D855-B647-B3B9-729514A88F65}" type="datetimeFigureOut">
              <a:rPr lang="nb-NO" smtClean="0"/>
              <a:pPr/>
              <a:t>29.10.2025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B31C25A-DD0A-2EC4-DA30-D6ED45D6B6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758A3E54-E7DC-2BA7-EA0A-A82DCF78C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619FA8B-D8F3-4445-B7F4-1D4782F394BB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529039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">
            <a:extLst>
              <a:ext uri="{FF2B5EF4-FFF2-40B4-BE49-F238E27FC236}">
                <a16:creationId xmlns:a16="http://schemas.microsoft.com/office/drawing/2014/main" id="{468A1974-2205-8109-9C6D-43A808783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88505" y="817511"/>
            <a:ext cx="8392253" cy="5226407"/>
          </a:xfrm>
          <a:custGeom>
            <a:avLst/>
            <a:gdLst>
              <a:gd name="connsiteX0" fmla="*/ 4200920 w 8392253"/>
              <a:gd name="connsiteY0" fmla="*/ 2611966 h 5226407"/>
              <a:gd name="connsiteX1" fmla="*/ 5124519 w 8392253"/>
              <a:gd name="connsiteY1" fmla="*/ 2611966 h 5226407"/>
              <a:gd name="connsiteX2" fmla="*/ 2562260 w 8392253"/>
              <a:gd name="connsiteY2" fmla="*/ 0 h 5226407"/>
              <a:gd name="connsiteX3" fmla="*/ 0 w 8392253"/>
              <a:gd name="connsiteY3" fmla="*/ 2611966 h 5226407"/>
              <a:gd name="connsiteX4" fmla="*/ 0 w 8392253"/>
              <a:gd name="connsiteY4" fmla="*/ 5206665 h 5226407"/>
              <a:gd name="connsiteX5" fmla="*/ 923599 w 8392253"/>
              <a:gd name="connsiteY5" fmla="*/ 5206665 h 5226407"/>
              <a:gd name="connsiteX6" fmla="*/ 923599 w 8392253"/>
              <a:gd name="connsiteY6" fmla="*/ 2611966 h 5226407"/>
              <a:gd name="connsiteX7" fmla="*/ 2562260 w 8392253"/>
              <a:gd name="connsiteY7" fmla="*/ 941565 h 5226407"/>
              <a:gd name="connsiteX8" fmla="*/ 4200920 w 8392253"/>
              <a:gd name="connsiteY8" fmla="*/ 2611966 h 5226407"/>
              <a:gd name="connsiteX9" fmla="*/ 8392253 w 8392253"/>
              <a:gd name="connsiteY9" fmla="*/ 2614506 h 5226407"/>
              <a:gd name="connsiteX10" fmla="*/ 5829994 w 8392253"/>
              <a:gd name="connsiteY10" fmla="*/ 2539 h 5226407"/>
              <a:gd name="connsiteX11" fmla="*/ 5829994 w 8392253"/>
              <a:gd name="connsiteY11" fmla="*/ 944041 h 5226407"/>
              <a:gd name="connsiteX12" fmla="*/ 7468655 w 8392253"/>
              <a:gd name="connsiteY12" fmla="*/ 2614442 h 5226407"/>
              <a:gd name="connsiteX13" fmla="*/ 5829994 w 8392253"/>
              <a:gd name="connsiteY13" fmla="*/ 4284843 h 5226407"/>
              <a:gd name="connsiteX14" fmla="*/ 4191397 w 8392253"/>
              <a:gd name="connsiteY14" fmla="*/ 2614442 h 5226407"/>
              <a:gd name="connsiteX15" fmla="*/ 3267798 w 8392253"/>
              <a:gd name="connsiteY15" fmla="*/ 2614442 h 5226407"/>
              <a:gd name="connsiteX16" fmla="*/ 5829994 w 8392253"/>
              <a:gd name="connsiteY16" fmla="*/ 5226408 h 5226407"/>
              <a:gd name="connsiteX17" fmla="*/ 8392253 w 8392253"/>
              <a:gd name="connsiteY17" fmla="*/ 2614442 h 522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392253" h="5226407">
                <a:moveTo>
                  <a:pt x="4200920" y="2611966"/>
                </a:moveTo>
                <a:lnTo>
                  <a:pt x="5124519" y="2611966"/>
                </a:lnTo>
                <a:cubicBezTo>
                  <a:pt x="5124519" y="1171750"/>
                  <a:pt x="3975051" y="0"/>
                  <a:pt x="2562260" y="0"/>
                </a:cubicBezTo>
                <a:cubicBezTo>
                  <a:pt x="1149468" y="0"/>
                  <a:pt x="0" y="1171750"/>
                  <a:pt x="0" y="2611966"/>
                </a:cubicBezTo>
                <a:lnTo>
                  <a:pt x="0" y="5206665"/>
                </a:lnTo>
                <a:lnTo>
                  <a:pt x="923599" y="5206665"/>
                </a:lnTo>
                <a:lnTo>
                  <a:pt x="923599" y="2611966"/>
                </a:lnTo>
                <a:cubicBezTo>
                  <a:pt x="923599" y="1690906"/>
                  <a:pt x="1658721" y="941565"/>
                  <a:pt x="2562260" y="941565"/>
                </a:cubicBezTo>
                <a:cubicBezTo>
                  <a:pt x="3465799" y="941565"/>
                  <a:pt x="4200920" y="1690906"/>
                  <a:pt x="4200920" y="2611966"/>
                </a:cubicBezTo>
                <a:moveTo>
                  <a:pt x="8392253" y="2614506"/>
                </a:moveTo>
                <a:cubicBezTo>
                  <a:pt x="8392253" y="1174226"/>
                  <a:pt x="7242849" y="2539"/>
                  <a:pt x="5829994" y="2539"/>
                </a:cubicBezTo>
                <a:lnTo>
                  <a:pt x="5829994" y="944041"/>
                </a:lnTo>
                <a:cubicBezTo>
                  <a:pt x="6733533" y="944041"/>
                  <a:pt x="7468655" y="1693318"/>
                  <a:pt x="7468655" y="2614442"/>
                </a:cubicBezTo>
                <a:cubicBezTo>
                  <a:pt x="7468655" y="3535566"/>
                  <a:pt x="6733533" y="4284843"/>
                  <a:pt x="5829994" y="4284843"/>
                </a:cubicBezTo>
                <a:cubicBezTo>
                  <a:pt x="4926455" y="4284843"/>
                  <a:pt x="4191397" y="3535502"/>
                  <a:pt x="4191397" y="2614442"/>
                </a:cubicBezTo>
                <a:lnTo>
                  <a:pt x="3267798" y="2614442"/>
                </a:lnTo>
                <a:cubicBezTo>
                  <a:pt x="3267798" y="4054658"/>
                  <a:pt x="4417203" y="5226408"/>
                  <a:pt x="5829994" y="5226408"/>
                </a:cubicBezTo>
                <a:cubicBezTo>
                  <a:pt x="7242786" y="5226408"/>
                  <a:pt x="8392253" y="4054658"/>
                  <a:pt x="8392253" y="2614442"/>
                </a:cubicBezTo>
              </a:path>
            </a:pathLst>
          </a:custGeom>
          <a:solidFill>
            <a:srgbClr val="EFD8B8"/>
          </a:solidFill>
          <a:ln w="6348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7621588" cy="1846659"/>
          </a:xfrm>
        </p:spPr>
        <p:txBody>
          <a:bodyPr anchor="t" anchorCtr="0">
            <a:noAutofit/>
          </a:bodyPr>
          <a:lstStyle>
            <a:lvl1pPr algn="l">
              <a:defRPr sz="6000" spc="-100" baseline="0">
                <a:solidFill>
                  <a:schemeClr val="accent1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B0A549C-84E1-413E-ABC9-553840A9BD1D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1854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">
            <a:extLst>
              <a:ext uri="{FF2B5EF4-FFF2-40B4-BE49-F238E27FC236}">
                <a16:creationId xmlns:a16="http://schemas.microsoft.com/office/drawing/2014/main" id="{468A1974-2205-8109-9C6D-43A808783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88505" y="817511"/>
            <a:ext cx="8392253" cy="5226407"/>
          </a:xfrm>
          <a:custGeom>
            <a:avLst/>
            <a:gdLst>
              <a:gd name="connsiteX0" fmla="*/ 4200920 w 8392253"/>
              <a:gd name="connsiteY0" fmla="*/ 2611966 h 5226407"/>
              <a:gd name="connsiteX1" fmla="*/ 5124519 w 8392253"/>
              <a:gd name="connsiteY1" fmla="*/ 2611966 h 5226407"/>
              <a:gd name="connsiteX2" fmla="*/ 2562260 w 8392253"/>
              <a:gd name="connsiteY2" fmla="*/ 0 h 5226407"/>
              <a:gd name="connsiteX3" fmla="*/ 0 w 8392253"/>
              <a:gd name="connsiteY3" fmla="*/ 2611966 h 5226407"/>
              <a:gd name="connsiteX4" fmla="*/ 0 w 8392253"/>
              <a:gd name="connsiteY4" fmla="*/ 5206665 h 5226407"/>
              <a:gd name="connsiteX5" fmla="*/ 923599 w 8392253"/>
              <a:gd name="connsiteY5" fmla="*/ 5206665 h 5226407"/>
              <a:gd name="connsiteX6" fmla="*/ 923599 w 8392253"/>
              <a:gd name="connsiteY6" fmla="*/ 2611966 h 5226407"/>
              <a:gd name="connsiteX7" fmla="*/ 2562260 w 8392253"/>
              <a:gd name="connsiteY7" fmla="*/ 941565 h 5226407"/>
              <a:gd name="connsiteX8" fmla="*/ 4200920 w 8392253"/>
              <a:gd name="connsiteY8" fmla="*/ 2611966 h 5226407"/>
              <a:gd name="connsiteX9" fmla="*/ 8392253 w 8392253"/>
              <a:gd name="connsiteY9" fmla="*/ 2614506 h 5226407"/>
              <a:gd name="connsiteX10" fmla="*/ 5829994 w 8392253"/>
              <a:gd name="connsiteY10" fmla="*/ 2539 h 5226407"/>
              <a:gd name="connsiteX11" fmla="*/ 5829994 w 8392253"/>
              <a:gd name="connsiteY11" fmla="*/ 944041 h 5226407"/>
              <a:gd name="connsiteX12" fmla="*/ 7468655 w 8392253"/>
              <a:gd name="connsiteY12" fmla="*/ 2614442 h 5226407"/>
              <a:gd name="connsiteX13" fmla="*/ 5829994 w 8392253"/>
              <a:gd name="connsiteY13" fmla="*/ 4284843 h 5226407"/>
              <a:gd name="connsiteX14" fmla="*/ 4191397 w 8392253"/>
              <a:gd name="connsiteY14" fmla="*/ 2614442 h 5226407"/>
              <a:gd name="connsiteX15" fmla="*/ 3267798 w 8392253"/>
              <a:gd name="connsiteY15" fmla="*/ 2614442 h 5226407"/>
              <a:gd name="connsiteX16" fmla="*/ 5829994 w 8392253"/>
              <a:gd name="connsiteY16" fmla="*/ 5226408 h 5226407"/>
              <a:gd name="connsiteX17" fmla="*/ 8392253 w 8392253"/>
              <a:gd name="connsiteY17" fmla="*/ 2614442 h 522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392253" h="5226407">
                <a:moveTo>
                  <a:pt x="4200920" y="2611966"/>
                </a:moveTo>
                <a:lnTo>
                  <a:pt x="5124519" y="2611966"/>
                </a:lnTo>
                <a:cubicBezTo>
                  <a:pt x="5124519" y="1171750"/>
                  <a:pt x="3975051" y="0"/>
                  <a:pt x="2562260" y="0"/>
                </a:cubicBezTo>
                <a:cubicBezTo>
                  <a:pt x="1149468" y="0"/>
                  <a:pt x="0" y="1171750"/>
                  <a:pt x="0" y="2611966"/>
                </a:cubicBezTo>
                <a:lnTo>
                  <a:pt x="0" y="5206665"/>
                </a:lnTo>
                <a:lnTo>
                  <a:pt x="923599" y="5206665"/>
                </a:lnTo>
                <a:lnTo>
                  <a:pt x="923599" y="2611966"/>
                </a:lnTo>
                <a:cubicBezTo>
                  <a:pt x="923599" y="1690906"/>
                  <a:pt x="1658721" y="941565"/>
                  <a:pt x="2562260" y="941565"/>
                </a:cubicBezTo>
                <a:cubicBezTo>
                  <a:pt x="3465799" y="941565"/>
                  <a:pt x="4200920" y="1690906"/>
                  <a:pt x="4200920" y="2611966"/>
                </a:cubicBezTo>
                <a:moveTo>
                  <a:pt x="8392253" y="2614506"/>
                </a:moveTo>
                <a:cubicBezTo>
                  <a:pt x="8392253" y="1174226"/>
                  <a:pt x="7242849" y="2539"/>
                  <a:pt x="5829994" y="2539"/>
                </a:cubicBezTo>
                <a:lnTo>
                  <a:pt x="5829994" y="944041"/>
                </a:lnTo>
                <a:cubicBezTo>
                  <a:pt x="6733533" y="944041"/>
                  <a:pt x="7468655" y="1693318"/>
                  <a:pt x="7468655" y="2614442"/>
                </a:cubicBezTo>
                <a:cubicBezTo>
                  <a:pt x="7468655" y="3535566"/>
                  <a:pt x="6733533" y="4284843"/>
                  <a:pt x="5829994" y="4284843"/>
                </a:cubicBezTo>
                <a:cubicBezTo>
                  <a:pt x="4926455" y="4284843"/>
                  <a:pt x="4191397" y="3535502"/>
                  <a:pt x="4191397" y="2614442"/>
                </a:cubicBezTo>
                <a:lnTo>
                  <a:pt x="3267798" y="2614442"/>
                </a:lnTo>
                <a:cubicBezTo>
                  <a:pt x="3267798" y="4054658"/>
                  <a:pt x="4417203" y="5226408"/>
                  <a:pt x="5829994" y="5226408"/>
                </a:cubicBezTo>
                <a:cubicBezTo>
                  <a:pt x="7242786" y="5226408"/>
                  <a:pt x="8392253" y="4054658"/>
                  <a:pt x="8392253" y="2614442"/>
                </a:cubicBezTo>
              </a:path>
            </a:pathLst>
          </a:custGeom>
          <a:solidFill>
            <a:schemeClr val="tx2"/>
          </a:solidFill>
          <a:ln w="6348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7621588" cy="1846659"/>
          </a:xfrm>
        </p:spPr>
        <p:txBody>
          <a:bodyPr anchor="t" anchorCtr="0">
            <a:noAutofit/>
          </a:bodyPr>
          <a:lstStyle>
            <a:lvl1pPr algn="l">
              <a:defRPr sz="6000" spc="-100" baseline="0">
                <a:solidFill>
                  <a:schemeClr val="bg1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D074D20-5017-4B08-8BBF-AD5B2C4CEA05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9069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4507706" cy="2308324"/>
          </a:xfrm>
        </p:spPr>
        <p:txBody>
          <a:bodyPr anchor="t" anchorCtr="0">
            <a:noAutofit/>
          </a:bodyPr>
          <a:lstStyle>
            <a:lvl1pPr algn="l">
              <a:defRPr sz="5000" spc="-100" baseline="0">
                <a:solidFill>
                  <a:schemeClr val="accent1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31774FF-C529-422C-B5D5-C83A8ED6FE3D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C519EB5-08DC-B134-4A1A-B48928CE8C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07066" y="804190"/>
            <a:ext cx="5976934" cy="5240128"/>
          </a:xfrm>
          <a:custGeom>
            <a:avLst/>
            <a:gdLst>
              <a:gd name="connsiteX0" fmla="*/ 4770250 w 5976934"/>
              <a:gd name="connsiteY0" fmla="*/ 0 h 5240128"/>
              <a:gd name="connsiteX1" fmla="*/ 5976934 w 5976934"/>
              <a:gd name="connsiteY1" fmla="*/ 0 h 5240128"/>
              <a:gd name="connsiteX2" fmla="*/ 5976934 w 5976934"/>
              <a:gd name="connsiteY2" fmla="*/ 5240128 h 5240128"/>
              <a:gd name="connsiteX3" fmla="*/ 2617204 w 5976934"/>
              <a:gd name="connsiteY3" fmla="*/ 5240128 h 5240128"/>
              <a:gd name="connsiteX4" fmla="*/ 0 w 5976934"/>
              <a:gd name="connsiteY4" fmla="*/ 2622923 h 5240128"/>
              <a:gd name="connsiteX5" fmla="*/ 2617204 w 5976934"/>
              <a:gd name="connsiteY5" fmla="*/ 5719 h 5240128"/>
              <a:gd name="connsiteX6" fmla="*/ 4770250 w 5976934"/>
              <a:gd name="connsiteY6" fmla="*/ 5719 h 524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6934" h="5240128">
                <a:moveTo>
                  <a:pt x="4770250" y="0"/>
                </a:moveTo>
                <a:lnTo>
                  <a:pt x="5976934" y="0"/>
                </a:lnTo>
                <a:lnTo>
                  <a:pt x="5976934" y="5240128"/>
                </a:lnTo>
                <a:lnTo>
                  <a:pt x="2617204" y="5240128"/>
                </a:lnTo>
                <a:cubicBezTo>
                  <a:pt x="1171737" y="5240128"/>
                  <a:pt x="0" y="4068391"/>
                  <a:pt x="0" y="2622923"/>
                </a:cubicBezTo>
                <a:cubicBezTo>
                  <a:pt x="0" y="1177456"/>
                  <a:pt x="1171737" y="5719"/>
                  <a:pt x="2617204" y="5719"/>
                </a:cubicBezTo>
                <a:lnTo>
                  <a:pt x="4770250" y="5719"/>
                </a:lnTo>
                <a:close/>
              </a:path>
            </a:pathLst>
          </a:custGeom>
          <a:solidFill>
            <a:srgbClr val="EFD8B8"/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</p:spTree>
    <p:extLst>
      <p:ext uri="{BB962C8B-B14F-4D97-AF65-F5344CB8AC3E}">
        <p14:creationId xmlns:p14="http://schemas.microsoft.com/office/powerpoint/2010/main" val="3058835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stikktittel">
            <a:extLst>
              <a:ext uri="{FF2B5EF4-FFF2-40B4-BE49-F238E27FC236}">
                <a16:creationId xmlns:a16="http://schemas.microsoft.com/office/drawing/2014/main" id="{15A2F8A0-2293-031F-328A-6DDCD5CA02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0" name="Tittel 9">
            <a:extLst>
              <a:ext uri="{FF2B5EF4-FFF2-40B4-BE49-F238E27FC236}">
                <a16:creationId xmlns:a16="http://schemas.microsoft.com/office/drawing/2014/main" id="{05EFD675-3312-6318-3B9D-2E9A0C3F9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10154444" cy="38472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CF19184-03D4-521C-7CAD-64C3E2B6F05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29494" y="2092061"/>
            <a:ext cx="4680744" cy="4061619"/>
          </a:xfrm>
        </p:spPr>
        <p:txBody>
          <a:bodyPr/>
          <a:lstStyle>
            <a:lvl1pPr>
              <a:defRPr/>
            </a:lvl1pPr>
          </a:lstStyle>
          <a:p>
            <a:pPr marL="158400" marR="0" lvl="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nb-NO"/>
              <a:t>Malen har flere oppsett. Velg blant dem på Hjem-fanen &gt; nedtrekksmenyen Nytt lysbilde. </a:t>
            </a:r>
            <a:br>
              <a:rPr lang="nb-NO"/>
            </a:br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Nivå 1-3 er punkter.</a:t>
            </a:r>
            <a:br>
              <a:rPr lang="nb-NO"/>
            </a:br>
            <a:r>
              <a:rPr lang="nb-NO"/>
              <a:t>Slå av/på punkter på Hjem-fanen. </a:t>
            </a:r>
            <a:br>
              <a:rPr lang="nb-NO"/>
            </a:br>
            <a:r>
              <a:rPr lang="nb-NO"/>
              <a:t>Lim inn med valget «Bruk måltema» eller «Bare tekst» for å ikke ta med formatering. Høyreklikk der du vil lime inn for å velge </a:t>
            </a:r>
            <a:r>
              <a:rPr lang="nb-NO" err="1"/>
              <a:t>innlimingsmåte</a:t>
            </a:r>
            <a:r>
              <a:rPr lang="nb-NO"/>
              <a:t>.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9474F42-5779-F460-8A59-59C2D39397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1717" y="2092061"/>
            <a:ext cx="5050790" cy="40616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F9189F2-90EA-8E91-C548-D83149ABB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22AB3-3BE9-498A-AA18-4E8BEF4D8768}" type="datetime1">
              <a:rPr lang="nb-NO" smtClean="0"/>
              <a:t>29.10.2025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60C1620-A883-B651-8150-B415FC34F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DC0A9E3-377C-16F0-9402-9273CFB90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176238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142D01C3-EABD-FCC9-A82F-27F2F089B3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57CC4-9AB8-435D-B741-AC599CA3F2EB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B3C50FE8-24F0-98E7-C5E8-AC7D10681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3765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142D01C3-EABD-FCC9-A82F-27F2F089B3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57CC4-9AB8-435D-B741-AC599CA3F2EB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B3C50FE8-24F0-98E7-C5E8-AC7D10681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91568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stå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DC234315-2208-AE95-0EC8-045714E434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2" name="Tittel 11">
            <a:extLst>
              <a:ext uri="{FF2B5EF4-FFF2-40B4-BE49-F238E27FC236}">
                <a16:creationId xmlns:a16="http://schemas.microsoft.com/office/drawing/2014/main" id="{83D12C3A-2AF0-5C40-7DE6-D811E088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8538" y="812800"/>
            <a:ext cx="3835399" cy="5228431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87A5A-E316-46F2-8F80-073F79625812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828891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lig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CBCE14DC-B61D-8319-4AF9-488A703588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0F806849-66A4-92CF-4776-8D23A1EA0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74569" y="1467905"/>
            <a:ext cx="5087937" cy="3738298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623414-DC26-4411-872F-B01275FEDAB6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32806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stikktittel">
            <a:extLst>
              <a:ext uri="{FF2B5EF4-FFF2-40B4-BE49-F238E27FC236}">
                <a16:creationId xmlns:a16="http://schemas.microsoft.com/office/drawing/2014/main" id="{CC61A77B-4AB2-F5E7-B45E-720959B789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A36B86C0-808C-9A75-6310-C1FAA6D2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Bakgrunn">
            <a:extLst>
              <a:ext uri="{FF2B5EF4-FFF2-40B4-BE49-F238E27FC236}">
                <a16:creationId xmlns:a16="http://schemas.microsoft.com/office/drawing/2014/main" id="{0C0D122D-EAB9-FBDA-DA5E-F3CB2CD84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93D23D4A-D64E-2C76-3608-F840BE3693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15752" y="2115344"/>
            <a:ext cx="4268186" cy="3303588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C7296503-CD82-6E88-47F8-97AFC6D99E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5752" y="5641975"/>
            <a:ext cx="4268186" cy="307456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legge til bildetekst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272568-1C7F-4C1A-85E1-3210D465D2A7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27008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 / 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stikktittel">
            <a:extLst>
              <a:ext uri="{FF2B5EF4-FFF2-40B4-BE49-F238E27FC236}">
                <a16:creationId xmlns:a16="http://schemas.microsoft.com/office/drawing/2014/main" id="{7D5DC927-95E0-4587-D841-89659D6139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0" name="Tittel 6">
            <a:extLst>
              <a:ext uri="{FF2B5EF4-FFF2-40B4-BE49-F238E27FC236}">
                <a16:creationId xmlns:a16="http://schemas.microsoft.com/office/drawing/2014/main" id="{CCB95129-D0BB-DEBD-6D87-FB2A96A1C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6FA2901E-EA97-0EA7-34C4-2971F61592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Bakgrunn">
            <a:extLst>
              <a:ext uri="{FF2B5EF4-FFF2-40B4-BE49-F238E27FC236}">
                <a16:creationId xmlns:a16="http://schemas.microsoft.com/office/drawing/2014/main" id="{0C0D122D-EAB9-FBDA-DA5E-F3CB2CD84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7545EDA6-1C04-1340-204F-A03868A769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81763" y="2115344"/>
            <a:ext cx="5201444" cy="2618346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en tabell eller en graf</a:t>
            </a:r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C7296503-CD82-6E88-47F8-97AFC6D99E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1762" y="4904908"/>
            <a:ext cx="4266599" cy="307456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tx2"/>
                </a:solidFill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legge til bildetekst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0AED5-109E-4623-AAED-745787A57DEC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20866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, fritt oppset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4BA77D5D-02BF-5ECF-E9CC-34542FBB2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7545EDA6-1C04-1340-204F-A03868A769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33729" y="1464469"/>
            <a:ext cx="4199942" cy="3920096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bilde/utklipp, tabell eller graf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AB3DF-8B8E-4FE0-BB9C-DAD5FB434DCE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17" name="Plassholder for innhold 11">
            <a:extLst>
              <a:ext uri="{FF2B5EF4-FFF2-40B4-BE49-F238E27FC236}">
                <a16:creationId xmlns:a16="http://schemas.microsoft.com/office/drawing/2014/main" id="{663F0987-3403-380B-A9F6-4CB2FDB953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10238" y="1464470"/>
            <a:ext cx="4974886" cy="336952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bilde/utklipp, tabell eller graf</a:t>
            </a:r>
          </a:p>
        </p:txBody>
      </p:sp>
    </p:spTree>
    <p:extLst>
      <p:ext uri="{BB962C8B-B14F-4D97-AF65-F5344CB8AC3E}">
        <p14:creationId xmlns:p14="http://schemas.microsoft.com/office/powerpoint/2010/main" val="31091297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, 3 bil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8" name="Plassholder for bilde 10">
            <a:extLst>
              <a:ext uri="{FF2B5EF4-FFF2-40B4-BE49-F238E27FC236}">
                <a16:creationId xmlns:a16="http://schemas.microsoft.com/office/drawing/2014/main" id="{89FFB911-7972-201F-0C32-D6741C6C5E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29494" y="1464469"/>
            <a:ext cx="6234906" cy="4576762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0" name="Plassholder for bilde 10">
            <a:extLst>
              <a:ext uri="{FF2B5EF4-FFF2-40B4-BE49-F238E27FC236}">
                <a16:creationId xmlns:a16="http://schemas.microsoft.com/office/drawing/2014/main" id="{BEB3354C-66D1-65E3-E360-A3BF3B88B30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27257" y="770467"/>
            <a:ext cx="1953929" cy="2658534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C88CBE2F-3953-8378-F52D-63DF193C92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527257" y="4079081"/>
            <a:ext cx="2656681" cy="196215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2" name="Plassholder for stikktittel">
            <a:extLst>
              <a:ext uri="{FF2B5EF4-FFF2-40B4-BE49-F238E27FC236}">
                <a16:creationId xmlns:a16="http://schemas.microsoft.com/office/drawing/2014/main" id="{E1A44C09-CDE3-65EC-4691-DE5C54FA0A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6" name="Plassholder for dato 15">
            <a:extLst>
              <a:ext uri="{FF2B5EF4-FFF2-40B4-BE49-F238E27FC236}">
                <a16:creationId xmlns:a16="http://schemas.microsoft.com/office/drawing/2014/main" id="{A60840C5-D8A9-FD32-BCAC-35C30BDD0B1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ABD587D-0514-4F19-AE69-F0EEDE96F83B}" type="datetime1">
              <a:rPr lang="nb-NO" smtClean="0"/>
              <a:t>29.10.2025</a:t>
            </a:fld>
            <a:endParaRPr lang="nb-NO"/>
          </a:p>
        </p:txBody>
      </p:sp>
      <p:sp>
        <p:nvSpPr>
          <p:cNvPr id="17" name="Plassholder for bunntekst 16">
            <a:extLst>
              <a:ext uri="{FF2B5EF4-FFF2-40B4-BE49-F238E27FC236}">
                <a16:creationId xmlns:a16="http://schemas.microsoft.com/office/drawing/2014/main" id="{AB8B9337-4405-D5F0-3545-FF26BB1DA2E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8" name="Plassholder for lysbildenummer 17">
            <a:extLst>
              <a:ext uri="{FF2B5EF4-FFF2-40B4-BE49-F238E27FC236}">
                <a16:creationId xmlns:a16="http://schemas.microsoft.com/office/drawing/2014/main" id="{9BF0DD86-B856-2497-3AED-E0C72D4D11B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92701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sita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1554163"/>
            <a:ext cx="10154444" cy="2734916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5170">
                <a:solidFill>
                  <a:schemeClr val="accent6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CACFFDEA-348A-AB0A-58D0-F729EB2D4F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D1E254-09D4-453D-8769-376E4556FDB4}" type="datetime1">
              <a:rPr lang="nb-NO" smtClean="0"/>
              <a:t>29.10.2025</a:t>
            </a:fld>
            <a:endParaRPr lang="nb-NO"/>
          </a:p>
        </p:txBody>
      </p:sp>
      <p:sp>
        <p:nvSpPr>
          <p:cNvPr id="10" name="Plassholder for bunntekst 9">
            <a:extLst>
              <a:ext uri="{FF2B5EF4-FFF2-40B4-BE49-F238E27FC236}">
                <a16:creationId xmlns:a16="http://schemas.microsoft.com/office/drawing/2014/main" id="{6FCF257E-4BB7-2A52-CD90-AB6A854EB4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B49A831B-D3B3-EDBD-D732-5184933F58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stikktittel">
            <a:extLst>
              <a:ext uri="{FF2B5EF4-FFF2-40B4-BE49-F238E27FC236}">
                <a16:creationId xmlns:a16="http://schemas.microsoft.com/office/drawing/2014/main" id="{D53E3115-935A-AE50-764A-F6B86AF8E4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1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D1B338A-3645-7A55-C0E3-BF7996BA94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9494" y="4730750"/>
            <a:ext cx="4680744" cy="461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6"/>
                </a:solidFill>
              </a:defRPr>
            </a:lvl1pPr>
            <a:lvl2pPr marL="158843" indent="0">
              <a:buNone/>
              <a:defRPr/>
            </a:lvl2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,</a:t>
            </a:r>
            <a:br>
              <a:rPr lang="nb-NO"/>
            </a:br>
            <a:r>
              <a:rPr lang="nb-NO"/>
              <a:t>Tittel/stilling</a:t>
            </a:r>
          </a:p>
        </p:txBody>
      </p:sp>
    </p:spTree>
    <p:extLst>
      <p:ext uri="{BB962C8B-B14F-4D97-AF65-F5344CB8AC3E}">
        <p14:creationId xmlns:p14="http://schemas.microsoft.com/office/powerpoint/2010/main" val="37812258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 A: Grafik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2E96E04-050C-8584-B76A-431002072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821532"/>
            <a:ext cx="4680744" cy="769441"/>
          </a:xfrm>
        </p:spPr>
        <p:txBody>
          <a:bodyPr anchor="t" anchorCtr="0">
            <a:noAutofit/>
          </a:bodyPr>
          <a:lstStyle>
            <a:lvl1pPr>
              <a:defRPr sz="25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880C8A2-7304-2314-8523-D1FFEFD636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233C0CD3-9BB7-4728-BF77-96303D4DA3D4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EE73FFE-145C-E4BF-9A55-964A9A110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09F080D-2D36-9CA5-0DFD-1ABD5E827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F069DEE9-D87A-22F8-C14F-EB6DD69DFA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2007" y="2233244"/>
            <a:ext cx="10141931" cy="380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5352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 B: 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>
            <a:extLst>
              <a:ext uri="{FF2B5EF4-FFF2-40B4-BE49-F238E27FC236}">
                <a16:creationId xmlns:a16="http://schemas.microsoft.com/office/drawing/2014/main" id="{BF16AF4E-8543-71DB-6692-6AFAFAE4CA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200449-EFED-42EC-8EAE-92A089D61CE8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Logo i plassholder">
            <a:extLst>
              <a:ext uri="{FF2B5EF4-FFF2-40B4-BE49-F238E27FC236}">
                <a16:creationId xmlns:a16="http://schemas.microsoft.com/office/drawing/2014/main" id="{0EB9FEEB-2663-4694-C189-576D39BB81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32363" y="6364781"/>
            <a:ext cx="558200" cy="11380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0821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25C0215E-A02B-D3B9-A2F9-CF68B7D47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E5C6D-1B61-48D3-9475-6408C65972E5}" type="datetime1">
              <a:rPr lang="nb-NO" smtClean="0"/>
              <a:t>29.10.2025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D235650B-3819-1C73-C2D5-BF5C118A1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Plassholder for lysbildenummer 13">
            <a:extLst>
              <a:ext uri="{FF2B5EF4-FFF2-40B4-BE49-F238E27FC236}">
                <a16:creationId xmlns:a16="http://schemas.microsoft.com/office/drawing/2014/main" id="{583CAAC6-30E6-21DA-8816-872BC5905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Plassholder for innhold 15">
            <a:extLst>
              <a:ext uri="{FF2B5EF4-FFF2-40B4-BE49-F238E27FC236}">
                <a16:creationId xmlns:a16="http://schemas.microsoft.com/office/drawing/2014/main" id="{8265D594-44F1-30A0-D7E1-6515D9534F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9494" y="1805749"/>
            <a:ext cx="7621588" cy="4281012"/>
          </a:xfrm>
        </p:spPr>
        <p:txBody>
          <a:bodyPr/>
          <a:lstStyle>
            <a:lvl1pPr marL="457200" indent="-457200">
              <a:lnSpc>
                <a:spcPct val="103000"/>
              </a:lnSpc>
              <a:buSzPct val="100000"/>
              <a:buFont typeface="+mj-lt"/>
              <a:buAutoNum type="arabicPeriod"/>
              <a:defRPr sz="2500">
                <a:latin typeface="+mj-lt"/>
              </a:defRPr>
            </a:lvl1pPr>
            <a:lvl2pPr marL="625475" indent="-157957">
              <a:defRPr/>
            </a:lvl2pPr>
            <a:lvl3pPr marL="819150" indent="-157957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741392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stå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DC234315-2208-AE95-0EC8-045714E434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2" name="Tittel 11">
            <a:extLst>
              <a:ext uri="{FF2B5EF4-FFF2-40B4-BE49-F238E27FC236}">
                <a16:creationId xmlns:a16="http://schemas.microsoft.com/office/drawing/2014/main" id="{83D12C3A-2AF0-5C40-7DE6-D811E088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8538" y="812800"/>
            <a:ext cx="3835399" cy="5228431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87A5A-E316-46F2-8F80-073F79625812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39004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D064978-874C-7D8A-AFE0-B180BBD13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98A18-6B7E-4432-8AE6-400F13F972DC}" type="datetime1">
              <a:rPr lang="nb-NO" smtClean="0"/>
              <a:t>29.10.2025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1478240-A459-CDB4-8DEB-93A2E8715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20AF32-9AE9-644B-1BE5-C69DEA28D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D88D3F1-77A2-CA5D-2073-0793AEF78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9494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6" name="Plassholder for tekst 6">
            <a:extLst>
              <a:ext uri="{FF2B5EF4-FFF2-40B4-BE49-F238E27FC236}">
                <a16:creationId xmlns:a16="http://schemas.microsoft.com/office/drawing/2014/main" id="{03E7C7B3-6BF1-5572-DC74-78C4227A8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9494" y="3397250"/>
            <a:ext cx="2532856" cy="2623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8" name="Plassholder for tekst 4">
            <a:extLst>
              <a:ext uri="{FF2B5EF4-FFF2-40B4-BE49-F238E27FC236}">
                <a16:creationId xmlns:a16="http://schemas.microsoft.com/office/drawing/2014/main" id="{9FB55E71-8F53-4CA1-0C8B-1B65385F8D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67843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98823DEE-A9B4-7308-7A91-98382B5FF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67844" y="3397250"/>
            <a:ext cx="2532856" cy="2623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lassholder for tekst 4">
            <a:extLst>
              <a:ext uri="{FF2B5EF4-FFF2-40B4-BE49-F238E27FC236}">
                <a16:creationId xmlns:a16="http://schemas.microsoft.com/office/drawing/2014/main" id="{84DCCD78-0027-A9CA-7F17-3F5B3F5408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6193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11" name="Plassholder for tekst 6">
            <a:extLst>
              <a:ext uri="{FF2B5EF4-FFF2-40B4-BE49-F238E27FC236}">
                <a16:creationId xmlns:a16="http://schemas.microsoft.com/office/drawing/2014/main" id="{A859C48B-3FBA-A575-1DFB-CCBB46EF2BF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06193" y="3397250"/>
            <a:ext cx="2532856" cy="2623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96D92403-C516-4500-0ABB-D6E11583B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</p:spTree>
    <p:extLst>
      <p:ext uri="{BB962C8B-B14F-4D97-AF65-F5344CB8AC3E}">
        <p14:creationId xmlns:p14="http://schemas.microsoft.com/office/powerpoint/2010/main" val="26067630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6">
            <a:extLst>
              <a:ext uri="{FF2B5EF4-FFF2-40B4-BE49-F238E27FC236}">
                <a16:creationId xmlns:a16="http://schemas.microsoft.com/office/drawing/2014/main" id="{03E7C7B3-6BF1-5572-DC74-78C4227A8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9494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D064978-874C-7D8A-AFE0-B180BBD13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9236E0-6D9B-4E45-BD4A-FEC3F5B2ECD6}" type="datetime1">
              <a:rPr lang="nb-NO" smtClean="0"/>
              <a:t>29.10.2025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1478240-A459-CDB4-8DEB-93A2E8715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20AF32-9AE9-644B-1BE5-C69DEA28D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14" name="Plassholder for tekst 6">
            <a:extLst>
              <a:ext uri="{FF2B5EF4-FFF2-40B4-BE49-F238E27FC236}">
                <a16:creationId xmlns:a16="http://schemas.microsoft.com/office/drawing/2014/main" id="{AAF80E57-F4CB-0BDF-3064-73B5673B8A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11729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lassholder for tekst 6">
            <a:extLst>
              <a:ext uri="{FF2B5EF4-FFF2-40B4-BE49-F238E27FC236}">
                <a16:creationId xmlns:a16="http://schemas.microsoft.com/office/drawing/2014/main" id="{6C0C7590-7D5E-041F-04C5-A044B39468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3964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lassholder for tekst 6">
            <a:extLst>
              <a:ext uri="{FF2B5EF4-FFF2-40B4-BE49-F238E27FC236}">
                <a16:creationId xmlns:a16="http://schemas.microsoft.com/office/drawing/2014/main" id="{1EB9DF66-E096-7397-DA70-4B6ED25AE7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76199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lassholder for tekst 6">
            <a:extLst>
              <a:ext uri="{FF2B5EF4-FFF2-40B4-BE49-F238E27FC236}">
                <a16:creationId xmlns:a16="http://schemas.microsoft.com/office/drawing/2014/main" id="{3830DDCB-3757-5A04-CB6D-11DC955627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29494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lassholder for tekst 6">
            <a:extLst>
              <a:ext uri="{FF2B5EF4-FFF2-40B4-BE49-F238E27FC236}">
                <a16:creationId xmlns:a16="http://schemas.microsoft.com/office/drawing/2014/main" id="{C3ED00AD-B029-061F-AED3-14E59D6EFD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11729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lassholder for tekst 6">
            <a:extLst>
              <a:ext uri="{FF2B5EF4-FFF2-40B4-BE49-F238E27FC236}">
                <a16:creationId xmlns:a16="http://schemas.microsoft.com/office/drawing/2014/main" id="{2B524F33-33DF-5484-2BA7-615D0063AFE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93964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6">
            <a:extLst>
              <a:ext uri="{FF2B5EF4-FFF2-40B4-BE49-F238E27FC236}">
                <a16:creationId xmlns:a16="http://schemas.microsoft.com/office/drawing/2014/main" id="{37E43FD5-269B-C583-1DDC-92BD69819DF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776199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E7F7F1F5-3327-6B92-FE73-2EF9900BB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</p:spTree>
    <p:extLst>
      <p:ext uri="{BB962C8B-B14F-4D97-AF65-F5344CB8AC3E}">
        <p14:creationId xmlns:p14="http://schemas.microsoft.com/office/powerpoint/2010/main" val="13905639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971EE36-3C57-4E3F-8D97-F9C77C0153A6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bg2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5168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3EA0F6-6A5D-4E35-ABF5-67FED8BA971E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accent1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9143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3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CB04576-09F0-4EF3-93DC-189F94A212E3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accent1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  <p:sp>
        <p:nvSpPr>
          <p:cNvPr id="7" name="Plassholder for bilde 15">
            <a:extLst>
              <a:ext uri="{FF2B5EF4-FFF2-40B4-BE49-F238E27FC236}">
                <a16:creationId xmlns:a16="http://schemas.microsoft.com/office/drawing/2014/main" id="{1837FF05-A2F0-F287-DEE3-CB00A8F6ED9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07066" y="804190"/>
            <a:ext cx="5976934" cy="5240128"/>
          </a:xfrm>
          <a:custGeom>
            <a:avLst/>
            <a:gdLst>
              <a:gd name="connsiteX0" fmla="*/ 4770250 w 5976934"/>
              <a:gd name="connsiteY0" fmla="*/ 0 h 5240128"/>
              <a:gd name="connsiteX1" fmla="*/ 5976934 w 5976934"/>
              <a:gd name="connsiteY1" fmla="*/ 0 h 5240128"/>
              <a:gd name="connsiteX2" fmla="*/ 5976934 w 5976934"/>
              <a:gd name="connsiteY2" fmla="*/ 5240128 h 5240128"/>
              <a:gd name="connsiteX3" fmla="*/ 2617204 w 5976934"/>
              <a:gd name="connsiteY3" fmla="*/ 5240128 h 5240128"/>
              <a:gd name="connsiteX4" fmla="*/ 0 w 5976934"/>
              <a:gd name="connsiteY4" fmla="*/ 2622923 h 5240128"/>
              <a:gd name="connsiteX5" fmla="*/ 2617204 w 5976934"/>
              <a:gd name="connsiteY5" fmla="*/ 5719 h 5240128"/>
              <a:gd name="connsiteX6" fmla="*/ 4770250 w 5976934"/>
              <a:gd name="connsiteY6" fmla="*/ 5719 h 524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6934" h="5240128">
                <a:moveTo>
                  <a:pt x="4770250" y="0"/>
                </a:moveTo>
                <a:lnTo>
                  <a:pt x="5976934" y="0"/>
                </a:lnTo>
                <a:lnTo>
                  <a:pt x="5976934" y="5240128"/>
                </a:lnTo>
                <a:lnTo>
                  <a:pt x="2617204" y="5240128"/>
                </a:lnTo>
                <a:cubicBezTo>
                  <a:pt x="1171737" y="5240128"/>
                  <a:pt x="0" y="4068391"/>
                  <a:pt x="0" y="2622923"/>
                </a:cubicBezTo>
                <a:cubicBezTo>
                  <a:pt x="0" y="1177456"/>
                  <a:pt x="1171737" y="5719"/>
                  <a:pt x="2617204" y="5719"/>
                </a:cubicBezTo>
                <a:lnTo>
                  <a:pt x="4770250" y="5719"/>
                </a:lnTo>
                <a:close/>
              </a:path>
            </a:pathLst>
          </a:custGeom>
          <a:solidFill>
            <a:srgbClr val="EFD8B8"/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</p:spTree>
    <p:extLst>
      <p:ext uri="{BB962C8B-B14F-4D97-AF65-F5344CB8AC3E}">
        <p14:creationId xmlns:p14="http://schemas.microsoft.com/office/powerpoint/2010/main" val="5058247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">
            <a:extLst>
              <a:ext uri="{FF2B5EF4-FFF2-40B4-BE49-F238E27FC236}">
                <a16:creationId xmlns:a16="http://schemas.microsoft.com/office/drawing/2014/main" id="{468A1974-2205-8109-9C6D-43A808783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88505" y="817511"/>
            <a:ext cx="8392253" cy="5226407"/>
          </a:xfrm>
          <a:custGeom>
            <a:avLst/>
            <a:gdLst>
              <a:gd name="connsiteX0" fmla="*/ 4200920 w 8392253"/>
              <a:gd name="connsiteY0" fmla="*/ 2611966 h 5226407"/>
              <a:gd name="connsiteX1" fmla="*/ 5124519 w 8392253"/>
              <a:gd name="connsiteY1" fmla="*/ 2611966 h 5226407"/>
              <a:gd name="connsiteX2" fmla="*/ 2562260 w 8392253"/>
              <a:gd name="connsiteY2" fmla="*/ 0 h 5226407"/>
              <a:gd name="connsiteX3" fmla="*/ 0 w 8392253"/>
              <a:gd name="connsiteY3" fmla="*/ 2611966 h 5226407"/>
              <a:gd name="connsiteX4" fmla="*/ 0 w 8392253"/>
              <a:gd name="connsiteY4" fmla="*/ 5206665 h 5226407"/>
              <a:gd name="connsiteX5" fmla="*/ 923599 w 8392253"/>
              <a:gd name="connsiteY5" fmla="*/ 5206665 h 5226407"/>
              <a:gd name="connsiteX6" fmla="*/ 923599 w 8392253"/>
              <a:gd name="connsiteY6" fmla="*/ 2611966 h 5226407"/>
              <a:gd name="connsiteX7" fmla="*/ 2562260 w 8392253"/>
              <a:gd name="connsiteY7" fmla="*/ 941565 h 5226407"/>
              <a:gd name="connsiteX8" fmla="*/ 4200920 w 8392253"/>
              <a:gd name="connsiteY8" fmla="*/ 2611966 h 5226407"/>
              <a:gd name="connsiteX9" fmla="*/ 8392253 w 8392253"/>
              <a:gd name="connsiteY9" fmla="*/ 2614506 h 5226407"/>
              <a:gd name="connsiteX10" fmla="*/ 5829994 w 8392253"/>
              <a:gd name="connsiteY10" fmla="*/ 2539 h 5226407"/>
              <a:gd name="connsiteX11" fmla="*/ 5829994 w 8392253"/>
              <a:gd name="connsiteY11" fmla="*/ 944041 h 5226407"/>
              <a:gd name="connsiteX12" fmla="*/ 7468655 w 8392253"/>
              <a:gd name="connsiteY12" fmla="*/ 2614442 h 5226407"/>
              <a:gd name="connsiteX13" fmla="*/ 5829994 w 8392253"/>
              <a:gd name="connsiteY13" fmla="*/ 4284843 h 5226407"/>
              <a:gd name="connsiteX14" fmla="*/ 4191397 w 8392253"/>
              <a:gd name="connsiteY14" fmla="*/ 2614442 h 5226407"/>
              <a:gd name="connsiteX15" fmla="*/ 3267798 w 8392253"/>
              <a:gd name="connsiteY15" fmla="*/ 2614442 h 5226407"/>
              <a:gd name="connsiteX16" fmla="*/ 5829994 w 8392253"/>
              <a:gd name="connsiteY16" fmla="*/ 5226408 h 5226407"/>
              <a:gd name="connsiteX17" fmla="*/ 8392253 w 8392253"/>
              <a:gd name="connsiteY17" fmla="*/ 2614442 h 522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392253" h="5226407">
                <a:moveTo>
                  <a:pt x="4200920" y="2611966"/>
                </a:moveTo>
                <a:lnTo>
                  <a:pt x="5124519" y="2611966"/>
                </a:lnTo>
                <a:cubicBezTo>
                  <a:pt x="5124519" y="1171750"/>
                  <a:pt x="3975051" y="0"/>
                  <a:pt x="2562260" y="0"/>
                </a:cubicBezTo>
                <a:cubicBezTo>
                  <a:pt x="1149468" y="0"/>
                  <a:pt x="0" y="1171750"/>
                  <a:pt x="0" y="2611966"/>
                </a:cubicBezTo>
                <a:lnTo>
                  <a:pt x="0" y="5206665"/>
                </a:lnTo>
                <a:lnTo>
                  <a:pt x="923599" y="5206665"/>
                </a:lnTo>
                <a:lnTo>
                  <a:pt x="923599" y="2611966"/>
                </a:lnTo>
                <a:cubicBezTo>
                  <a:pt x="923599" y="1690906"/>
                  <a:pt x="1658721" y="941565"/>
                  <a:pt x="2562260" y="941565"/>
                </a:cubicBezTo>
                <a:cubicBezTo>
                  <a:pt x="3465799" y="941565"/>
                  <a:pt x="4200920" y="1690906"/>
                  <a:pt x="4200920" y="2611966"/>
                </a:cubicBezTo>
                <a:moveTo>
                  <a:pt x="8392253" y="2614506"/>
                </a:moveTo>
                <a:cubicBezTo>
                  <a:pt x="8392253" y="1174226"/>
                  <a:pt x="7242849" y="2539"/>
                  <a:pt x="5829994" y="2539"/>
                </a:cubicBezTo>
                <a:lnTo>
                  <a:pt x="5829994" y="944041"/>
                </a:lnTo>
                <a:cubicBezTo>
                  <a:pt x="6733533" y="944041"/>
                  <a:pt x="7468655" y="1693318"/>
                  <a:pt x="7468655" y="2614442"/>
                </a:cubicBezTo>
                <a:cubicBezTo>
                  <a:pt x="7468655" y="3535566"/>
                  <a:pt x="6733533" y="4284843"/>
                  <a:pt x="5829994" y="4284843"/>
                </a:cubicBezTo>
                <a:cubicBezTo>
                  <a:pt x="4926455" y="4284843"/>
                  <a:pt x="4191397" y="3535502"/>
                  <a:pt x="4191397" y="2614442"/>
                </a:cubicBezTo>
                <a:lnTo>
                  <a:pt x="3267798" y="2614442"/>
                </a:lnTo>
                <a:cubicBezTo>
                  <a:pt x="3267798" y="4054658"/>
                  <a:pt x="4417203" y="5226408"/>
                  <a:pt x="5829994" y="5226408"/>
                </a:cubicBezTo>
                <a:cubicBezTo>
                  <a:pt x="7242786" y="5226408"/>
                  <a:pt x="8392253" y="4054658"/>
                  <a:pt x="8392253" y="2614442"/>
                </a:cubicBezTo>
              </a:path>
            </a:pathLst>
          </a:custGeom>
          <a:solidFill>
            <a:srgbClr val="EFD8B8"/>
          </a:solidFill>
          <a:ln w="6348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7621588" cy="1846659"/>
          </a:xfrm>
        </p:spPr>
        <p:txBody>
          <a:bodyPr anchor="t" anchorCtr="0">
            <a:noAutofit/>
          </a:bodyPr>
          <a:lstStyle>
            <a:lvl1pPr algn="l">
              <a:defRPr sz="6000" spc="-100" baseline="0">
                <a:solidFill>
                  <a:schemeClr val="accent1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B0A549C-84E1-413E-ABC9-553840A9BD1D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0877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">
            <a:extLst>
              <a:ext uri="{FF2B5EF4-FFF2-40B4-BE49-F238E27FC236}">
                <a16:creationId xmlns:a16="http://schemas.microsoft.com/office/drawing/2014/main" id="{468A1974-2205-8109-9C6D-43A808783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88505" y="817511"/>
            <a:ext cx="8392253" cy="5226407"/>
          </a:xfrm>
          <a:custGeom>
            <a:avLst/>
            <a:gdLst>
              <a:gd name="connsiteX0" fmla="*/ 4200920 w 8392253"/>
              <a:gd name="connsiteY0" fmla="*/ 2611966 h 5226407"/>
              <a:gd name="connsiteX1" fmla="*/ 5124519 w 8392253"/>
              <a:gd name="connsiteY1" fmla="*/ 2611966 h 5226407"/>
              <a:gd name="connsiteX2" fmla="*/ 2562260 w 8392253"/>
              <a:gd name="connsiteY2" fmla="*/ 0 h 5226407"/>
              <a:gd name="connsiteX3" fmla="*/ 0 w 8392253"/>
              <a:gd name="connsiteY3" fmla="*/ 2611966 h 5226407"/>
              <a:gd name="connsiteX4" fmla="*/ 0 w 8392253"/>
              <a:gd name="connsiteY4" fmla="*/ 5206665 h 5226407"/>
              <a:gd name="connsiteX5" fmla="*/ 923599 w 8392253"/>
              <a:gd name="connsiteY5" fmla="*/ 5206665 h 5226407"/>
              <a:gd name="connsiteX6" fmla="*/ 923599 w 8392253"/>
              <a:gd name="connsiteY6" fmla="*/ 2611966 h 5226407"/>
              <a:gd name="connsiteX7" fmla="*/ 2562260 w 8392253"/>
              <a:gd name="connsiteY7" fmla="*/ 941565 h 5226407"/>
              <a:gd name="connsiteX8" fmla="*/ 4200920 w 8392253"/>
              <a:gd name="connsiteY8" fmla="*/ 2611966 h 5226407"/>
              <a:gd name="connsiteX9" fmla="*/ 8392253 w 8392253"/>
              <a:gd name="connsiteY9" fmla="*/ 2614506 h 5226407"/>
              <a:gd name="connsiteX10" fmla="*/ 5829994 w 8392253"/>
              <a:gd name="connsiteY10" fmla="*/ 2539 h 5226407"/>
              <a:gd name="connsiteX11" fmla="*/ 5829994 w 8392253"/>
              <a:gd name="connsiteY11" fmla="*/ 944041 h 5226407"/>
              <a:gd name="connsiteX12" fmla="*/ 7468655 w 8392253"/>
              <a:gd name="connsiteY12" fmla="*/ 2614442 h 5226407"/>
              <a:gd name="connsiteX13" fmla="*/ 5829994 w 8392253"/>
              <a:gd name="connsiteY13" fmla="*/ 4284843 h 5226407"/>
              <a:gd name="connsiteX14" fmla="*/ 4191397 w 8392253"/>
              <a:gd name="connsiteY14" fmla="*/ 2614442 h 5226407"/>
              <a:gd name="connsiteX15" fmla="*/ 3267798 w 8392253"/>
              <a:gd name="connsiteY15" fmla="*/ 2614442 h 5226407"/>
              <a:gd name="connsiteX16" fmla="*/ 5829994 w 8392253"/>
              <a:gd name="connsiteY16" fmla="*/ 5226408 h 5226407"/>
              <a:gd name="connsiteX17" fmla="*/ 8392253 w 8392253"/>
              <a:gd name="connsiteY17" fmla="*/ 2614442 h 522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392253" h="5226407">
                <a:moveTo>
                  <a:pt x="4200920" y="2611966"/>
                </a:moveTo>
                <a:lnTo>
                  <a:pt x="5124519" y="2611966"/>
                </a:lnTo>
                <a:cubicBezTo>
                  <a:pt x="5124519" y="1171750"/>
                  <a:pt x="3975051" y="0"/>
                  <a:pt x="2562260" y="0"/>
                </a:cubicBezTo>
                <a:cubicBezTo>
                  <a:pt x="1149468" y="0"/>
                  <a:pt x="0" y="1171750"/>
                  <a:pt x="0" y="2611966"/>
                </a:cubicBezTo>
                <a:lnTo>
                  <a:pt x="0" y="5206665"/>
                </a:lnTo>
                <a:lnTo>
                  <a:pt x="923599" y="5206665"/>
                </a:lnTo>
                <a:lnTo>
                  <a:pt x="923599" y="2611966"/>
                </a:lnTo>
                <a:cubicBezTo>
                  <a:pt x="923599" y="1690906"/>
                  <a:pt x="1658721" y="941565"/>
                  <a:pt x="2562260" y="941565"/>
                </a:cubicBezTo>
                <a:cubicBezTo>
                  <a:pt x="3465799" y="941565"/>
                  <a:pt x="4200920" y="1690906"/>
                  <a:pt x="4200920" y="2611966"/>
                </a:cubicBezTo>
                <a:moveTo>
                  <a:pt x="8392253" y="2614506"/>
                </a:moveTo>
                <a:cubicBezTo>
                  <a:pt x="8392253" y="1174226"/>
                  <a:pt x="7242849" y="2539"/>
                  <a:pt x="5829994" y="2539"/>
                </a:cubicBezTo>
                <a:lnTo>
                  <a:pt x="5829994" y="944041"/>
                </a:lnTo>
                <a:cubicBezTo>
                  <a:pt x="6733533" y="944041"/>
                  <a:pt x="7468655" y="1693318"/>
                  <a:pt x="7468655" y="2614442"/>
                </a:cubicBezTo>
                <a:cubicBezTo>
                  <a:pt x="7468655" y="3535566"/>
                  <a:pt x="6733533" y="4284843"/>
                  <a:pt x="5829994" y="4284843"/>
                </a:cubicBezTo>
                <a:cubicBezTo>
                  <a:pt x="4926455" y="4284843"/>
                  <a:pt x="4191397" y="3535502"/>
                  <a:pt x="4191397" y="2614442"/>
                </a:cubicBezTo>
                <a:lnTo>
                  <a:pt x="3267798" y="2614442"/>
                </a:lnTo>
                <a:cubicBezTo>
                  <a:pt x="3267798" y="4054658"/>
                  <a:pt x="4417203" y="5226408"/>
                  <a:pt x="5829994" y="5226408"/>
                </a:cubicBezTo>
                <a:cubicBezTo>
                  <a:pt x="7242786" y="5226408"/>
                  <a:pt x="8392253" y="4054658"/>
                  <a:pt x="8392253" y="2614442"/>
                </a:cubicBezTo>
              </a:path>
            </a:pathLst>
          </a:custGeom>
          <a:solidFill>
            <a:schemeClr val="tx2"/>
          </a:solidFill>
          <a:ln w="6348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7621588" cy="1846659"/>
          </a:xfrm>
        </p:spPr>
        <p:txBody>
          <a:bodyPr anchor="t" anchorCtr="0">
            <a:noAutofit/>
          </a:bodyPr>
          <a:lstStyle>
            <a:lvl1pPr algn="l">
              <a:defRPr sz="6000" spc="-100" baseline="0">
                <a:solidFill>
                  <a:schemeClr val="bg1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D074D20-5017-4B08-8BBF-AD5B2C4CEA05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9308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2120633"/>
            <a:ext cx="4507706" cy="2308324"/>
          </a:xfrm>
        </p:spPr>
        <p:txBody>
          <a:bodyPr anchor="t" anchorCtr="0">
            <a:noAutofit/>
          </a:bodyPr>
          <a:lstStyle>
            <a:lvl1pPr algn="l">
              <a:defRPr sz="5000" spc="-100" baseline="0">
                <a:solidFill>
                  <a:schemeClr val="accent1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68C8948-693B-A6F5-EEB6-029474DC21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29494" y="824705"/>
            <a:ext cx="4684714" cy="384721"/>
          </a:xfrm>
        </p:spPr>
        <p:txBody>
          <a:bodyPr lIns="10800">
            <a:noAutofit/>
          </a:bodyPr>
          <a:lstStyle>
            <a:lvl1pPr marL="0" indent="0" algn="l">
              <a:lnSpc>
                <a:spcPct val="100000"/>
              </a:lnSpc>
              <a:buNone/>
              <a:defRPr sz="125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Dato / sted / Nav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31774FF-C529-422C-B5D5-C83A8ED6FE3D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 descr="Novari logo">
            <a:extLst>
              <a:ext uri="{FF2B5EF4-FFF2-40B4-BE49-F238E27FC236}">
                <a16:creationId xmlns:a16="http://schemas.microsoft.com/office/drawing/2014/main" id="{96853129-5723-AD08-EE93-D2216DB70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393028" cy="28401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C519EB5-08DC-B134-4A1A-B48928CE8C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07066" y="804190"/>
            <a:ext cx="5976934" cy="5240128"/>
          </a:xfrm>
          <a:custGeom>
            <a:avLst/>
            <a:gdLst>
              <a:gd name="connsiteX0" fmla="*/ 4770250 w 5976934"/>
              <a:gd name="connsiteY0" fmla="*/ 0 h 5240128"/>
              <a:gd name="connsiteX1" fmla="*/ 5976934 w 5976934"/>
              <a:gd name="connsiteY1" fmla="*/ 0 h 5240128"/>
              <a:gd name="connsiteX2" fmla="*/ 5976934 w 5976934"/>
              <a:gd name="connsiteY2" fmla="*/ 5240128 h 5240128"/>
              <a:gd name="connsiteX3" fmla="*/ 2617204 w 5976934"/>
              <a:gd name="connsiteY3" fmla="*/ 5240128 h 5240128"/>
              <a:gd name="connsiteX4" fmla="*/ 0 w 5976934"/>
              <a:gd name="connsiteY4" fmla="*/ 2622923 h 5240128"/>
              <a:gd name="connsiteX5" fmla="*/ 2617204 w 5976934"/>
              <a:gd name="connsiteY5" fmla="*/ 5719 h 5240128"/>
              <a:gd name="connsiteX6" fmla="*/ 4770250 w 5976934"/>
              <a:gd name="connsiteY6" fmla="*/ 5719 h 524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6934" h="5240128">
                <a:moveTo>
                  <a:pt x="4770250" y="0"/>
                </a:moveTo>
                <a:lnTo>
                  <a:pt x="5976934" y="0"/>
                </a:lnTo>
                <a:lnTo>
                  <a:pt x="5976934" y="5240128"/>
                </a:lnTo>
                <a:lnTo>
                  <a:pt x="2617204" y="5240128"/>
                </a:lnTo>
                <a:cubicBezTo>
                  <a:pt x="1171737" y="5240128"/>
                  <a:pt x="0" y="4068391"/>
                  <a:pt x="0" y="2622923"/>
                </a:cubicBezTo>
                <a:cubicBezTo>
                  <a:pt x="0" y="1177456"/>
                  <a:pt x="1171737" y="5719"/>
                  <a:pt x="2617204" y="5719"/>
                </a:cubicBezTo>
                <a:lnTo>
                  <a:pt x="4770250" y="5719"/>
                </a:lnTo>
                <a:close/>
              </a:path>
            </a:pathLst>
          </a:custGeom>
          <a:solidFill>
            <a:srgbClr val="EFD8B8"/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</p:spTree>
    <p:extLst>
      <p:ext uri="{BB962C8B-B14F-4D97-AF65-F5344CB8AC3E}">
        <p14:creationId xmlns:p14="http://schemas.microsoft.com/office/powerpoint/2010/main" val="913728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stikktittel">
            <a:extLst>
              <a:ext uri="{FF2B5EF4-FFF2-40B4-BE49-F238E27FC236}">
                <a16:creationId xmlns:a16="http://schemas.microsoft.com/office/drawing/2014/main" id="{15A2F8A0-2293-031F-328A-6DDCD5CA02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0" name="Tittel 9">
            <a:extLst>
              <a:ext uri="{FF2B5EF4-FFF2-40B4-BE49-F238E27FC236}">
                <a16:creationId xmlns:a16="http://schemas.microsoft.com/office/drawing/2014/main" id="{05EFD675-3312-6318-3B9D-2E9A0C3F9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10154444" cy="38472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CF19184-03D4-521C-7CAD-64C3E2B6F05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29494" y="2092061"/>
            <a:ext cx="4680744" cy="4061619"/>
          </a:xfrm>
        </p:spPr>
        <p:txBody>
          <a:bodyPr/>
          <a:lstStyle>
            <a:lvl1pPr>
              <a:defRPr/>
            </a:lvl1pPr>
          </a:lstStyle>
          <a:p>
            <a:pPr marL="158400" marR="0" lvl="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nb-NO"/>
              <a:t>Malen har flere oppsett. Velg blant dem på Hjem-fanen &gt; nedtrekksmenyen Nytt lysbilde. </a:t>
            </a:r>
            <a:br>
              <a:rPr lang="nb-NO"/>
            </a:br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Nivå 1-3 er punkter.</a:t>
            </a:r>
            <a:br>
              <a:rPr lang="nb-NO"/>
            </a:br>
            <a:r>
              <a:rPr lang="nb-NO"/>
              <a:t>Slå av/på punkter på Hjem-fanen. </a:t>
            </a:r>
            <a:br>
              <a:rPr lang="nb-NO"/>
            </a:br>
            <a:r>
              <a:rPr lang="nb-NO"/>
              <a:t>Lim inn med valget «Bruk måltema» eller «Bare tekst» for å ikke ta med formatering. Høyreklikk der du vil lime inn for å velge </a:t>
            </a:r>
            <a:r>
              <a:rPr lang="nb-NO" err="1"/>
              <a:t>innlimingsmåte</a:t>
            </a:r>
            <a:r>
              <a:rPr lang="nb-NO"/>
              <a:t>.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9474F42-5779-F460-8A59-59C2D39397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1717" y="2092061"/>
            <a:ext cx="5050790" cy="40616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F9189F2-90EA-8E91-C548-D83149ABB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22AB3-3BE9-498A-AA18-4E8BEF4D8768}" type="datetime1">
              <a:rPr lang="nb-NO" smtClean="0"/>
              <a:t>29.10.2025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60C1620-A883-B651-8150-B415FC34F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DC0A9E3-377C-16F0-9402-9273CFB90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23456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142D01C3-EABD-FCC9-A82F-27F2F089B3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57CC4-9AB8-435D-B741-AC599CA3F2EB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B3C50FE8-24F0-98E7-C5E8-AC7D10681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9064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lig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CBCE14DC-B61D-8319-4AF9-488A703588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0F806849-66A4-92CF-4776-8D23A1EA0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74569" y="1467905"/>
            <a:ext cx="5087937" cy="3738298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623414-DC26-4411-872F-B01275FEDAB6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72084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stå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DC234315-2208-AE95-0EC8-045714E434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728" y="628603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2" name="Tittel 11">
            <a:extLst>
              <a:ext uri="{FF2B5EF4-FFF2-40B4-BE49-F238E27FC236}">
                <a16:creationId xmlns:a16="http://schemas.microsoft.com/office/drawing/2014/main" id="{83D12C3A-2AF0-5C40-7DE6-D811E088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8538" y="812800"/>
            <a:ext cx="3835399" cy="5228431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87A5A-E316-46F2-8F80-073F79625812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196755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lig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CBCE14DC-B61D-8319-4AF9-488A703588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0F806849-66A4-92CF-4776-8D23A1EA0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74569" y="1467905"/>
            <a:ext cx="5087937" cy="3738298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623414-DC26-4411-872F-B01275FEDAB6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158732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stikktittel">
            <a:extLst>
              <a:ext uri="{FF2B5EF4-FFF2-40B4-BE49-F238E27FC236}">
                <a16:creationId xmlns:a16="http://schemas.microsoft.com/office/drawing/2014/main" id="{CC61A77B-4AB2-F5E7-B45E-720959B789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A36B86C0-808C-9A75-6310-C1FAA6D2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Bakgrunn">
            <a:extLst>
              <a:ext uri="{FF2B5EF4-FFF2-40B4-BE49-F238E27FC236}">
                <a16:creationId xmlns:a16="http://schemas.microsoft.com/office/drawing/2014/main" id="{0C0D122D-EAB9-FBDA-DA5E-F3CB2CD84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93D23D4A-D64E-2C76-3608-F840BE3693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15752" y="2115344"/>
            <a:ext cx="4268186" cy="3303588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C7296503-CD82-6E88-47F8-97AFC6D99E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5752" y="5641975"/>
            <a:ext cx="4268186" cy="307456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legge til bildetekst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272568-1C7F-4C1A-85E1-3210D465D2A7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6098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 / 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stikktittel">
            <a:extLst>
              <a:ext uri="{FF2B5EF4-FFF2-40B4-BE49-F238E27FC236}">
                <a16:creationId xmlns:a16="http://schemas.microsoft.com/office/drawing/2014/main" id="{7D5DC927-95E0-4587-D841-89659D6139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0" name="Tittel 6">
            <a:extLst>
              <a:ext uri="{FF2B5EF4-FFF2-40B4-BE49-F238E27FC236}">
                <a16:creationId xmlns:a16="http://schemas.microsoft.com/office/drawing/2014/main" id="{CCB95129-D0BB-DEBD-6D87-FB2A96A1C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6FA2901E-EA97-0EA7-34C4-2971F61592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Bakgrunn">
            <a:extLst>
              <a:ext uri="{FF2B5EF4-FFF2-40B4-BE49-F238E27FC236}">
                <a16:creationId xmlns:a16="http://schemas.microsoft.com/office/drawing/2014/main" id="{0C0D122D-EAB9-FBDA-DA5E-F3CB2CD84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7545EDA6-1C04-1340-204F-A03868A769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81763" y="2115344"/>
            <a:ext cx="5201444" cy="2618346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en tabell eller en graf</a:t>
            </a:r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C7296503-CD82-6E88-47F8-97AFC6D99E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1762" y="4904908"/>
            <a:ext cx="4266599" cy="307456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tx2"/>
                </a:solidFill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legge til bildetekst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0AED5-109E-4623-AAED-745787A57DEC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439146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, fritt oppset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8" name="Plassholder for stikktittel">
            <a:extLst>
              <a:ext uri="{FF2B5EF4-FFF2-40B4-BE49-F238E27FC236}">
                <a16:creationId xmlns:a16="http://schemas.microsoft.com/office/drawing/2014/main" id="{4BA77D5D-02BF-5ECF-E9CC-34542FBB2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7545EDA6-1C04-1340-204F-A03868A769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33729" y="1464469"/>
            <a:ext cx="4199942" cy="3920096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bilde/utklipp, tabell eller graf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AB3DF-8B8E-4FE0-BB9C-DAD5FB434DCE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17" name="Plassholder for innhold 11">
            <a:extLst>
              <a:ext uri="{FF2B5EF4-FFF2-40B4-BE49-F238E27FC236}">
                <a16:creationId xmlns:a16="http://schemas.microsoft.com/office/drawing/2014/main" id="{663F0987-3403-380B-A9F6-4CB2FDB953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10238" y="1464470"/>
            <a:ext cx="4974886" cy="336952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bilde/utklipp, tabell eller graf</a:t>
            </a:r>
          </a:p>
        </p:txBody>
      </p:sp>
    </p:spTree>
    <p:extLst>
      <p:ext uri="{BB962C8B-B14F-4D97-AF65-F5344CB8AC3E}">
        <p14:creationId xmlns:p14="http://schemas.microsoft.com/office/powerpoint/2010/main" val="2513238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, 3 bil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8" name="Plassholder for bilde 10">
            <a:extLst>
              <a:ext uri="{FF2B5EF4-FFF2-40B4-BE49-F238E27FC236}">
                <a16:creationId xmlns:a16="http://schemas.microsoft.com/office/drawing/2014/main" id="{89FFB911-7972-201F-0C32-D6741C6C5E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29494" y="1464469"/>
            <a:ext cx="6234906" cy="4576762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0" name="Plassholder for bilde 10">
            <a:extLst>
              <a:ext uri="{FF2B5EF4-FFF2-40B4-BE49-F238E27FC236}">
                <a16:creationId xmlns:a16="http://schemas.microsoft.com/office/drawing/2014/main" id="{BEB3354C-66D1-65E3-E360-A3BF3B88B30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27257" y="770467"/>
            <a:ext cx="1953929" cy="2658534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C88CBE2F-3953-8378-F52D-63DF193C92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527257" y="4079081"/>
            <a:ext cx="2656681" cy="196215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12" name="Plassholder for stikktittel">
            <a:extLst>
              <a:ext uri="{FF2B5EF4-FFF2-40B4-BE49-F238E27FC236}">
                <a16:creationId xmlns:a16="http://schemas.microsoft.com/office/drawing/2014/main" id="{E1A44C09-CDE3-65EC-4691-DE5C54FA0A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6" name="Plassholder for dato 15">
            <a:extLst>
              <a:ext uri="{FF2B5EF4-FFF2-40B4-BE49-F238E27FC236}">
                <a16:creationId xmlns:a16="http://schemas.microsoft.com/office/drawing/2014/main" id="{A60840C5-D8A9-FD32-BCAC-35C30BDD0B1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ABD587D-0514-4F19-AE69-F0EEDE96F83B}" type="datetime1">
              <a:rPr lang="nb-NO" smtClean="0"/>
              <a:t>29.10.2025</a:t>
            </a:fld>
            <a:endParaRPr lang="nb-NO"/>
          </a:p>
        </p:txBody>
      </p:sp>
      <p:sp>
        <p:nvSpPr>
          <p:cNvPr id="17" name="Plassholder for bunntekst 16">
            <a:extLst>
              <a:ext uri="{FF2B5EF4-FFF2-40B4-BE49-F238E27FC236}">
                <a16:creationId xmlns:a16="http://schemas.microsoft.com/office/drawing/2014/main" id="{AB8B9337-4405-D5F0-3545-FF26BB1DA2E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8" name="Plassholder for lysbildenummer 17">
            <a:extLst>
              <a:ext uri="{FF2B5EF4-FFF2-40B4-BE49-F238E27FC236}">
                <a16:creationId xmlns:a16="http://schemas.microsoft.com/office/drawing/2014/main" id="{9BF0DD86-B856-2497-3AED-E0C72D4D11B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55500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sita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BE51780-9C84-630C-BFBF-90C891922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1554163"/>
            <a:ext cx="10154444" cy="2734916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5170">
                <a:solidFill>
                  <a:schemeClr val="accent6"/>
                </a:solidFill>
                <a:latin typeface="Brockmann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CACFFDEA-348A-AB0A-58D0-F729EB2D4F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D1E254-09D4-453D-8769-376E4556FDB4}" type="datetime1">
              <a:rPr lang="nb-NO" smtClean="0"/>
              <a:t>29.10.2025</a:t>
            </a:fld>
            <a:endParaRPr lang="nb-NO"/>
          </a:p>
        </p:txBody>
      </p:sp>
      <p:sp>
        <p:nvSpPr>
          <p:cNvPr id="10" name="Plassholder for bunntekst 9">
            <a:extLst>
              <a:ext uri="{FF2B5EF4-FFF2-40B4-BE49-F238E27FC236}">
                <a16:creationId xmlns:a16="http://schemas.microsoft.com/office/drawing/2014/main" id="{6FCF257E-4BB7-2A52-CD90-AB6A854EB4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B49A831B-D3B3-EDBD-D732-5184933F58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stikktittel">
            <a:extLst>
              <a:ext uri="{FF2B5EF4-FFF2-40B4-BE49-F238E27FC236}">
                <a16:creationId xmlns:a16="http://schemas.microsoft.com/office/drawing/2014/main" id="{D53E3115-935A-AE50-764A-F6B86AF8E4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1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D1B338A-3645-7A55-C0E3-BF7996BA94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9494" y="4730750"/>
            <a:ext cx="4680744" cy="461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6"/>
                </a:solidFill>
              </a:defRPr>
            </a:lvl1pPr>
            <a:lvl2pPr marL="158843" indent="0">
              <a:buNone/>
              <a:defRPr/>
            </a:lvl2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,</a:t>
            </a:r>
            <a:br>
              <a:rPr lang="nb-NO"/>
            </a:br>
            <a:r>
              <a:rPr lang="nb-NO"/>
              <a:t>Tittel/stilling</a:t>
            </a:r>
          </a:p>
        </p:txBody>
      </p:sp>
    </p:spTree>
    <p:extLst>
      <p:ext uri="{BB962C8B-B14F-4D97-AF65-F5344CB8AC3E}">
        <p14:creationId xmlns:p14="http://schemas.microsoft.com/office/powerpoint/2010/main" val="312050022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 A: Grafik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2E96E04-050C-8584-B76A-431002072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821532"/>
            <a:ext cx="4680744" cy="769441"/>
          </a:xfrm>
        </p:spPr>
        <p:txBody>
          <a:bodyPr anchor="t" anchorCtr="0">
            <a:noAutofit/>
          </a:bodyPr>
          <a:lstStyle>
            <a:lvl1pPr>
              <a:defRPr sz="25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880C8A2-7304-2314-8523-D1FFEFD636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233C0CD3-9BB7-4728-BF77-96303D4DA3D4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EE73FFE-145C-E4BF-9A55-964A9A110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09F080D-2D36-9CA5-0DFD-1ABD5E827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F069DEE9-D87A-22F8-C14F-EB6DD69DFA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2007" y="2233244"/>
            <a:ext cx="10141931" cy="380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8870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 B: 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>
            <a:extLst>
              <a:ext uri="{FF2B5EF4-FFF2-40B4-BE49-F238E27FC236}">
                <a16:creationId xmlns:a16="http://schemas.microsoft.com/office/drawing/2014/main" id="{BF16AF4E-8543-71DB-6692-6AFAFAE4CA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1F3F19F3-EB1A-4AE6-CB5D-3438269CB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200449-EFED-42EC-8EAE-92A089D61CE8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Logo i plassholder">
            <a:extLst>
              <a:ext uri="{FF2B5EF4-FFF2-40B4-BE49-F238E27FC236}">
                <a16:creationId xmlns:a16="http://schemas.microsoft.com/office/drawing/2014/main" id="{0EB9FEEB-2663-4694-C189-576D39BB81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32363" y="6364781"/>
            <a:ext cx="558200" cy="11380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38976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>
            <a:extLst>
              <a:ext uri="{FF2B5EF4-FFF2-40B4-BE49-F238E27FC236}">
                <a16:creationId xmlns:a16="http://schemas.microsoft.com/office/drawing/2014/main" id="{EF4F0400-7217-7379-BA1E-AC3E5AD48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25C0215E-A02B-D3B9-A2F9-CF68B7D47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E5C6D-1B61-48D3-9475-6408C65972E5}" type="datetime1">
              <a:rPr lang="nb-NO" smtClean="0"/>
              <a:t>29.10.2025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D235650B-3819-1C73-C2D5-BF5C118A1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Plassholder for lysbildenummer 13">
            <a:extLst>
              <a:ext uri="{FF2B5EF4-FFF2-40B4-BE49-F238E27FC236}">
                <a16:creationId xmlns:a16="http://schemas.microsoft.com/office/drawing/2014/main" id="{583CAAC6-30E6-21DA-8816-872BC5905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Plassholder for innhold 15">
            <a:extLst>
              <a:ext uri="{FF2B5EF4-FFF2-40B4-BE49-F238E27FC236}">
                <a16:creationId xmlns:a16="http://schemas.microsoft.com/office/drawing/2014/main" id="{8265D594-44F1-30A0-D7E1-6515D9534F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9494" y="1805749"/>
            <a:ext cx="7621588" cy="4281012"/>
          </a:xfrm>
        </p:spPr>
        <p:txBody>
          <a:bodyPr/>
          <a:lstStyle>
            <a:lvl1pPr marL="457200" indent="-457200">
              <a:lnSpc>
                <a:spcPct val="103000"/>
              </a:lnSpc>
              <a:buSzPct val="100000"/>
              <a:buFont typeface="+mj-lt"/>
              <a:buAutoNum type="arabicPeriod"/>
              <a:defRPr sz="2500">
                <a:latin typeface="+mj-lt"/>
              </a:defRPr>
            </a:lvl1pPr>
            <a:lvl2pPr marL="625475" indent="-157957">
              <a:defRPr/>
            </a:lvl2pPr>
            <a:lvl3pPr marL="819150" indent="-157957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9477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stikktittel">
            <a:extLst>
              <a:ext uri="{FF2B5EF4-FFF2-40B4-BE49-F238E27FC236}">
                <a16:creationId xmlns:a16="http://schemas.microsoft.com/office/drawing/2014/main" id="{CC61A77B-4AB2-F5E7-B45E-720959B789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A36B86C0-808C-9A75-6310-C1FAA6D2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804B83-AC2C-BB25-84B7-5419364A43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Bakgrunn">
            <a:extLst>
              <a:ext uri="{FF2B5EF4-FFF2-40B4-BE49-F238E27FC236}">
                <a16:creationId xmlns:a16="http://schemas.microsoft.com/office/drawing/2014/main" id="{0C0D122D-EAB9-FBDA-DA5E-F3CB2CD84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93D23D4A-D64E-2C76-3608-F840BE3693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15752" y="2115344"/>
            <a:ext cx="4268186" cy="3303588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C7296503-CD82-6E88-47F8-97AFC6D99E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5752" y="5641975"/>
            <a:ext cx="4268186" cy="307456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legge til bildetekst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272568-1C7F-4C1A-85E1-3210D465D2A7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422536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D064978-874C-7D8A-AFE0-B180BBD13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98A18-6B7E-4432-8AE6-400F13F972DC}" type="datetime1">
              <a:rPr lang="nb-NO" smtClean="0"/>
              <a:t>29.10.2025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1478240-A459-CDB4-8DEB-93A2E8715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20AF32-9AE9-644B-1BE5-C69DEA28D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D88D3F1-77A2-CA5D-2073-0793AEF78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9494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6" name="Plassholder for tekst 6">
            <a:extLst>
              <a:ext uri="{FF2B5EF4-FFF2-40B4-BE49-F238E27FC236}">
                <a16:creationId xmlns:a16="http://schemas.microsoft.com/office/drawing/2014/main" id="{03E7C7B3-6BF1-5572-DC74-78C4227A8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9494" y="3397250"/>
            <a:ext cx="2532856" cy="2623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8" name="Plassholder for tekst 4">
            <a:extLst>
              <a:ext uri="{FF2B5EF4-FFF2-40B4-BE49-F238E27FC236}">
                <a16:creationId xmlns:a16="http://schemas.microsoft.com/office/drawing/2014/main" id="{9FB55E71-8F53-4CA1-0C8B-1B65385F8D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67843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98823DEE-A9B4-7308-7A91-98382B5FF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67844" y="3397250"/>
            <a:ext cx="2532856" cy="2623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lassholder for tekst 4">
            <a:extLst>
              <a:ext uri="{FF2B5EF4-FFF2-40B4-BE49-F238E27FC236}">
                <a16:creationId xmlns:a16="http://schemas.microsoft.com/office/drawing/2014/main" id="{84DCCD78-0027-A9CA-7F17-3F5B3F5408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6193" y="1868488"/>
            <a:ext cx="3055673" cy="1063556"/>
          </a:xfrm>
          <a:prstGeom prst="rightArrow">
            <a:avLst>
              <a:gd name="adj1" fmla="val 70300"/>
              <a:gd name="adj2" fmla="val 50000"/>
            </a:avLst>
          </a:prstGeom>
          <a:solidFill>
            <a:schemeClr val="accent6"/>
          </a:solidFill>
        </p:spPr>
        <p:txBody>
          <a:bodyPr rIns="288000" bIns="36000" anchor="ctr" anchorCtr="0"/>
          <a:lstStyle>
            <a:lvl1pPr marL="0" indent="0" algn="ctr">
              <a:lnSpc>
                <a:spcPct val="100000"/>
              </a:lnSpc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11" name="Plassholder for tekst 6">
            <a:extLst>
              <a:ext uri="{FF2B5EF4-FFF2-40B4-BE49-F238E27FC236}">
                <a16:creationId xmlns:a16="http://schemas.microsoft.com/office/drawing/2014/main" id="{A859C48B-3FBA-A575-1DFB-CCBB46EF2BF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06193" y="3397250"/>
            <a:ext cx="2532856" cy="2623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96D92403-C516-4500-0ABB-D6E11583B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</p:spTree>
    <p:extLst>
      <p:ext uri="{BB962C8B-B14F-4D97-AF65-F5344CB8AC3E}">
        <p14:creationId xmlns:p14="http://schemas.microsoft.com/office/powerpoint/2010/main" val="325702852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6">
            <a:extLst>
              <a:ext uri="{FF2B5EF4-FFF2-40B4-BE49-F238E27FC236}">
                <a16:creationId xmlns:a16="http://schemas.microsoft.com/office/drawing/2014/main" id="{03E7C7B3-6BF1-5572-DC74-78C4227A8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9494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D064978-874C-7D8A-AFE0-B180BBD13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9236E0-6D9B-4E45-BD4A-FEC3F5B2ECD6}" type="datetime1">
              <a:rPr lang="nb-NO" smtClean="0"/>
              <a:t>29.10.2025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1478240-A459-CDB4-8DEB-93A2E8715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20AF32-9AE9-644B-1BE5-C69DEA28D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  <p:sp>
        <p:nvSpPr>
          <p:cNvPr id="14" name="Plassholder for tekst 6">
            <a:extLst>
              <a:ext uri="{FF2B5EF4-FFF2-40B4-BE49-F238E27FC236}">
                <a16:creationId xmlns:a16="http://schemas.microsoft.com/office/drawing/2014/main" id="{AAF80E57-F4CB-0BDF-3064-73B5673B8A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11729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lassholder for tekst 6">
            <a:extLst>
              <a:ext uri="{FF2B5EF4-FFF2-40B4-BE49-F238E27FC236}">
                <a16:creationId xmlns:a16="http://schemas.microsoft.com/office/drawing/2014/main" id="{6C0C7590-7D5E-041F-04C5-A044B39468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3964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lassholder for tekst 6">
            <a:extLst>
              <a:ext uri="{FF2B5EF4-FFF2-40B4-BE49-F238E27FC236}">
                <a16:creationId xmlns:a16="http://schemas.microsoft.com/office/drawing/2014/main" id="{1EB9DF66-E096-7397-DA70-4B6ED25AE7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76199" y="2118519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lassholder for tekst 6">
            <a:extLst>
              <a:ext uri="{FF2B5EF4-FFF2-40B4-BE49-F238E27FC236}">
                <a16:creationId xmlns:a16="http://schemas.microsoft.com/office/drawing/2014/main" id="{3830DDCB-3757-5A04-CB6D-11DC955627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29494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lassholder for tekst 6">
            <a:extLst>
              <a:ext uri="{FF2B5EF4-FFF2-40B4-BE49-F238E27FC236}">
                <a16:creationId xmlns:a16="http://schemas.microsoft.com/office/drawing/2014/main" id="{C3ED00AD-B029-061F-AED3-14E59D6EFD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11729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lassholder for tekst 6">
            <a:extLst>
              <a:ext uri="{FF2B5EF4-FFF2-40B4-BE49-F238E27FC236}">
                <a16:creationId xmlns:a16="http://schemas.microsoft.com/office/drawing/2014/main" id="{2B524F33-33DF-5484-2BA7-615D0063AFE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93964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6">
            <a:extLst>
              <a:ext uri="{FF2B5EF4-FFF2-40B4-BE49-F238E27FC236}">
                <a16:creationId xmlns:a16="http://schemas.microsoft.com/office/drawing/2014/main" id="{37E43FD5-269B-C583-1DDC-92BD69819DF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776199" y="3748342"/>
            <a:ext cx="2416350" cy="1470819"/>
          </a:xfrm>
          <a:solidFill>
            <a:schemeClr val="accent6"/>
          </a:solidFill>
        </p:spPr>
        <p:txBody>
          <a:bodyPr lIns="180000" rIns="180000" anchor="ctr" anchorCtr="0"/>
          <a:lstStyle>
            <a:lvl1pPr marL="0" indent="0" algn="ctr">
              <a:lnSpc>
                <a:spcPct val="104000"/>
              </a:lnSpc>
              <a:buNone/>
              <a:defRPr sz="16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E7F7F1F5-3327-6B92-FE73-2EF9900BB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728" y="630000"/>
            <a:ext cx="2409314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vert="horz" wrap="none" lIns="0" tIns="0" rIns="0" bIns="14400" rtlCol="0" anchor="t" anchorCtr="0">
            <a:spAutoFit/>
          </a:bodyPr>
          <a:lstStyle>
            <a:lvl1pPr>
              <a:defRPr lang="nb-NO" sz="1500" u="none" dirty="0">
                <a:solidFill>
                  <a:schemeClr val="accent6"/>
                </a:solidFill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SzPct val="120000"/>
              <a:buFont typeface="Arial" panose="020B0604020202020204" pitchFamily="34" charset="0"/>
            </a:pPr>
            <a:r>
              <a:rPr lang="nb-NO" noProof="0"/>
              <a:t>Klikk for å legge til en tittel</a:t>
            </a:r>
          </a:p>
        </p:txBody>
      </p:sp>
    </p:spTree>
    <p:extLst>
      <p:ext uri="{BB962C8B-B14F-4D97-AF65-F5344CB8AC3E}">
        <p14:creationId xmlns:p14="http://schemas.microsoft.com/office/powerpoint/2010/main" val="3665325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971EE36-3C57-4E3F-8D97-F9C77C0153A6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bg2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bg2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011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3EA0F6-6A5D-4E35-ABF5-67FED8BA971E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accent1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4396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3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B34663-0A6E-97EA-4D81-3C1F5FB5F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CB04576-09F0-4EF3-93DC-189F94A212E3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5ED4C0-BFF2-F2FA-A1B9-3F66CF41A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7BC977A-99F0-CB54-A5A3-F8AADB73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3380194-61E0-45B7-1337-C8485E293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675159"/>
            <a:ext cx="10515600" cy="462434"/>
          </a:xfrm>
        </p:spPr>
        <p:txBody>
          <a:bodyPr anchor="b" anchorCtr="0">
            <a:normAutofit/>
          </a:bodyPr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nb-NO"/>
              <a:t>Tittel for universell utform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07369BB-60D8-A2E8-DEF9-A15E633BAF0D}"/>
              </a:ext>
            </a:extLst>
          </p:cNvPr>
          <p:cNvSpPr txBox="1"/>
          <p:nvPr userDrawn="1"/>
        </p:nvSpPr>
        <p:spPr>
          <a:xfrm>
            <a:off x="1033305" y="821690"/>
            <a:ext cx="2529046" cy="9618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Deltabygget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Kjølnes Ring 30,</a:t>
            </a: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3918 Porsgrunn</a:t>
            </a:r>
          </a:p>
          <a:p>
            <a:pPr algn="l"/>
            <a:endParaRPr lang="nb-NO" sz="1250">
              <a:solidFill>
                <a:schemeClr val="accent1"/>
              </a:solidFill>
              <a:latin typeface="+mj-lt"/>
            </a:endParaRPr>
          </a:p>
          <a:p>
            <a:pPr algn="l"/>
            <a:r>
              <a:rPr lang="nb-NO" sz="1250">
                <a:solidFill>
                  <a:schemeClr val="accent1"/>
                </a:solidFill>
                <a:latin typeface="+mj-lt"/>
              </a:rPr>
              <a:t>novari.no</a:t>
            </a:r>
          </a:p>
        </p:txBody>
      </p:sp>
      <p:pic>
        <p:nvPicPr>
          <p:cNvPr id="8" name="Logo IKS">
            <a:extLst>
              <a:ext uri="{FF2B5EF4-FFF2-40B4-BE49-F238E27FC236}">
                <a16:creationId xmlns:a16="http://schemas.microsoft.com/office/drawing/2014/main" id="{53497244-27C7-16A2-EA52-001C53D8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28" y="5755162"/>
            <a:ext cx="1788612" cy="284014"/>
          </a:xfrm>
          <a:prstGeom prst="rect">
            <a:avLst/>
          </a:prstGeom>
        </p:spPr>
      </p:pic>
      <p:sp>
        <p:nvSpPr>
          <p:cNvPr id="7" name="Plassholder for bilde 15">
            <a:extLst>
              <a:ext uri="{FF2B5EF4-FFF2-40B4-BE49-F238E27FC236}">
                <a16:creationId xmlns:a16="http://schemas.microsoft.com/office/drawing/2014/main" id="{1837FF05-A2F0-F287-DEE3-CB00A8F6ED9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07066" y="804190"/>
            <a:ext cx="5976934" cy="5240128"/>
          </a:xfrm>
          <a:custGeom>
            <a:avLst/>
            <a:gdLst>
              <a:gd name="connsiteX0" fmla="*/ 4770250 w 5976934"/>
              <a:gd name="connsiteY0" fmla="*/ 0 h 5240128"/>
              <a:gd name="connsiteX1" fmla="*/ 5976934 w 5976934"/>
              <a:gd name="connsiteY1" fmla="*/ 0 h 5240128"/>
              <a:gd name="connsiteX2" fmla="*/ 5976934 w 5976934"/>
              <a:gd name="connsiteY2" fmla="*/ 5240128 h 5240128"/>
              <a:gd name="connsiteX3" fmla="*/ 2617204 w 5976934"/>
              <a:gd name="connsiteY3" fmla="*/ 5240128 h 5240128"/>
              <a:gd name="connsiteX4" fmla="*/ 0 w 5976934"/>
              <a:gd name="connsiteY4" fmla="*/ 2622923 h 5240128"/>
              <a:gd name="connsiteX5" fmla="*/ 2617204 w 5976934"/>
              <a:gd name="connsiteY5" fmla="*/ 5719 h 5240128"/>
              <a:gd name="connsiteX6" fmla="*/ 4770250 w 5976934"/>
              <a:gd name="connsiteY6" fmla="*/ 5719 h 524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6934" h="5240128">
                <a:moveTo>
                  <a:pt x="4770250" y="0"/>
                </a:moveTo>
                <a:lnTo>
                  <a:pt x="5976934" y="0"/>
                </a:lnTo>
                <a:lnTo>
                  <a:pt x="5976934" y="5240128"/>
                </a:lnTo>
                <a:lnTo>
                  <a:pt x="2617204" y="5240128"/>
                </a:lnTo>
                <a:cubicBezTo>
                  <a:pt x="1171737" y="5240128"/>
                  <a:pt x="0" y="4068391"/>
                  <a:pt x="0" y="2622923"/>
                </a:cubicBezTo>
                <a:cubicBezTo>
                  <a:pt x="0" y="1177456"/>
                  <a:pt x="1171737" y="5719"/>
                  <a:pt x="2617204" y="5719"/>
                </a:cubicBezTo>
                <a:lnTo>
                  <a:pt x="4770250" y="5719"/>
                </a:lnTo>
                <a:close/>
              </a:path>
            </a:pathLst>
          </a:custGeom>
          <a:solidFill>
            <a:srgbClr val="EFD8B8"/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 noProof="0"/>
              <a:t>Klikk på ikonet eller dra inn en bildefil for å legge til et bilde. </a:t>
            </a:r>
            <a:br>
              <a:rPr lang="nb-NO" noProof="0"/>
            </a:br>
            <a:r>
              <a:rPr lang="nb-NO" noProof="0"/>
              <a:t>Juster utsnittet på Bildeformat-fanen &gt; Beskjær.</a:t>
            </a:r>
          </a:p>
        </p:txBody>
      </p:sp>
    </p:spTree>
    <p:extLst>
      <p:ext uri="{BB962C8B-B14F-4D97-AF65-F5344CB8AC3E}">
        <p14:creationId xmlns:p14="http://schemas.microsoft.com/office/powerpoint/2010/main" val="23974237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 / 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stikktittel">
            <a:extLst>
              <a:ext uri="{FF2B5EF4-FFF2-40B4-BE49-F238E27FC236}">
                <a16:creationId xmlns:a16="http://schemas.microsoft.com/office/drawing/2014/main" id="{7D5DC927-95E0-4587-D841-89659D6139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3200" y="630000"/>
            <a:ext cx="2657779" cy="2453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none" bIns="14400">
            <a:spAutoFit/>
          </a:bodyPr>
          <a:lstStyle>
            <a:lvl1pPr marL="0" indent="0">
              <a:lnSpc>
                <a:spcPct val="100000"/>
              </a:lnSpc>
              <a:buNone/>
              <a:defRPr u="none">
                <a:solidFill>
                  <a:schemeClr val="accent6"/>
                </a:solidFill>
                <a:latin typeface="+mj-lt"/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skrive en stikktittel</a:t>
            </a:r>
          </a:p>
        </p:txBody>
      </p:sp>
      <p:sp>
        <p:nvSpPr>
          <p:cNvPr id="10" name="Tittel 6">
            <a:extLst>
              <a:ext uri="{FF2B5EF4-FFF2-40B4-BE49-F238E27FC236}">
                <a16:creationId xmlns:a16="http://schemas.microsoft.com/office/drawing/2014/main" id="{CCB95129-D0BB-DEBD-6D87-FB2A96A1C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4680744" cy="7694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6FA2901E-EA97-0EA7-34C4-2971F61592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9494" y="2743200"/>
            <a:ext cx="4680744" cy="32948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Bruk innrykksnivå 4 for mellomoverskrift. Endre nivå på Hjem-fanen &gt; Øk/reduser innrykk. Husk å endre neste avsnitt tilbake til nivå 1. </a:t>
            </a:r>
            <a:br>
              <a:rPr lang="nb-NO"/>
            </a:br>
            <a:r>
              <a:rPr lang="nb-NO"/>
              <a:t>Slå av/på punkter på Hjem-fanen. </a:t>
            </a:r>
          </a:p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Bakgrunn">
            <a:extLst>
              <a:ext uri="{FF2B5EF4-FFF2-40B4-BE49-F238E27FC236}">
                <a16:creationId xmlns:a16="http://schemas.microsoft.com/office/drawing/2014/main" id="{0C0D122D-EAB9-FBDA-DA5E-F3CB2CD84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7545EDA6-1C04-1340-204F-A03868A769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81763" y="2115344"/>
            <a:ext cx="5201444" cy="2618346"/>
          </a:xfrm>
        </p:spPr>
        <p:txBody>
          <a:bodyPr anchor="t" anchorCtr="1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nb-NO"/>
              <a:t>Klikk på et ikon for å legge til en tabell eller en graf</a:t>
            </a:r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C7296503-CD82-6E88-47F8-97AFC6D99E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1762" y="4904908"/>
            <a:ext cx="4266599" cy="307456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tx2"/>
                </a:solidFill>
              </a:defRPr>
            </a:lvl1pPr>
            <a:lvl2pPr marL="158844" indent="0">
              <a:buNone/>
              <a:defRPr/>
            </a:lvl2pPr>
          </a:lstStyle>
          <a:p>
            <a:pPr lvl="0"/>
            <a:r>
              <a:rPr lang="nb-NO"/>
              <a:t>Klikk for å legge til bildetekst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66560E9-3A9B-BC1E-9244-FE6677DD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0AED5-109E-4623-AAED-745787A57DEC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1B96096-A613-EAB0-7653-B2915ABD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FCDB43-C29E-6453-C979-4D8851F9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3223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image" Target="../media/image14.emf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15.sv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47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oleObject" Target="../embeddings/oleObject4.bin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67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oleObject" Target="../embeddings/oleObject4.bin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61C5104-48C3-75C8-EDD3-5A86E3BD0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490694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84" imgH="486" progId="TCLayout.ActiveDocument.1">
                  <p:embed/>
                </p:oleObj>
              </mc:Choice>
              <mc:Fallback>
                <p:oleObj name="think-cell Slide" r:id="rId25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1C5104-48C3-75C8-EDD3-5A86E3BD0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oolsToo_Slide" descr="ToolsToo_Slide">
            <a:extLst>
              <a:ext uri="{FF2B5EF4-FFF2-40B4-BE49-F238E27FC236}">
                <a16:creationId xmlns:a16="http://schemas.microsoft.com/office/drawing/2014/main" id="{E5F952EC-FDB5-F7A6-F33B-4D1A463910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B7D64C1-85CD-7C67-0948-3FF0CDB34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10154444" cy="7694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0C49E59-D3F7-2BEB-91C8-C723726A9C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9494" y="2744788"/>
            <a:ext cx="10154444" cy="32948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BB5651-E3BC-2F1B-F6E9-850B8CEE92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17566" y="6348715"/>
            <a:ext cx="1220688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fontAlgn="ctr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fld id="{05D76435-751D-42DF-A8C1-42355B8279CF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F26BCF2-BF13-78A8-38A6-6FE7B032C3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62350" y="6348715"/>
            <a:ext cx="5067300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77FA799-8EE6-52E9-3D45-86CA6A6A2A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2460" y="6348715"/>
            <a:ext cx="391477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accent1"/>
                </a:solidFill>
                <a:latin typeface="Inter Medium" panose="02000603000000020004" pitchFamily="2" charset="0"/>
                <a:ea typeface="Inter Medium" panose="02000603000000020004" pitchFamily="2" charset="0"/>
                <a:cs typeface="Inter Medium" panose="02000603000000020004" pitchFamily="2" charset="0"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82BD807B-F445-55C1-53A2-E0144038F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32363" y="6364781"/>
            <a:ext cx="558200" cy="113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361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49" r:id="rId2"/>
    <p:sldLayoutId id="2147483677" r:id="rId3"/>
    <p:sldLayoutId id="2147483652" r:id="rId4"/>
    <p:sldLayoutId id="2147483650" r:id="rId5"/>
    <p:sldLayoutId id="2147483657" r:id="rId6"/>
    <p:sldLayoutId id="2147483658" r:id="rId7"/>
    <p:sldLayoutId id="2147483660" r:id="rId8"/>
    <p:sldLayoutId id="2147483661" r:id="rId9"/>
    <p:sldLayoutId id="2147483662" r:id="rId10"/>
    <p:sldLayoutId id="2147483663" r:id="rId11"/>
    <p:sldLayoutId id="2147483666" r:id="rId12"/>
    <p:sldLayoutId id="2147483651" r:id="rId13"/>
    <p:sldLayoutId id="2147483659" r:id="rId14"/>
    <p:sldLayoutId id="2147483668" r:id="rId15"/>
    <p:sldLayoutId id="2147483671" r:id="rId16"/>
    <p:sldLayoutId id="2147483672" r:id="rId17"/>
    <p:sldLayoutId id="2147483678" r:id="rId18"/>
    <p:sldLayoutId id="2147483675" r:id="rId19"/>
    <p:sldLayoutId id="2147483679" r:id="rId20"/>
    <p:sldLayoutId id="2147483682" r:id="rId21"/>
    <p:sldLayoutId id="2147483683" r:id="rId22"/>
  </p:sldLayoutIdLst>
  <p:hf hdr="0" ftr="0" dt="0"/>
  <p:txStyles>
    <p:titleStyle>
      <a:lvl1pPr algn="l" defTabSz="914400" rtl="0" eaLnBrk="1" fontAlgn="ctr" latinLnBrk="0" hangingPunct="1">
        <a:lnSpc>
          <a:spcPct val="100000"/>
        </a:lnSpc>
        <a:spcBef>
          <a:spcPct val="0"/>
        </a:spcBef>
        <a:buNone/>
        <a:defRPr sz="2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58400" indent="-158400" algn="l" defTabSz="914400" rtl="0" eaLnBrk="1" fontAlgn="ctr" latinLnBrk="0" hangingPunct="1">
        <a:lnSpc>
          <a:spcPct val="111000"/>
        </a:lnSpc>
        <a:spcBef>
          <a:spcPts val="0"/>
        </a:spcBef>
        <a:buSzPct val="12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16800" indent="-157957" algn="l" defTabSz="914400" rtl="0" eaLnBrk="1" fontAlgn="ctr" latinLnBrk="0" hangingPunct="1">
        <a:lnSpc>
          <a:spcPct val="111000"/>
        </a:lnSpc>
        <a:spcBef>
          <a:spcPts val="0"/>
        </a:spcBef>
        <a:buFont typeface="Inter" panose="02000503000000020004" pitchFamily="2" charset="0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475200" indent="-158400" algn="l" defTabSz="914400" rtl="0" eaLnBrk="1" fontAlgn="ctr" latinLnBrk="0" hangingPunct="1">
        <a:lnSpc>
          <a:spcPct val="111000"/>
        </a:lnSpc>
        <a:spcBef>
          <a:spcPts val="0"/>
        </a:spcBef>
        <a:buSzPct val="8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fontAlgn="ctr" latinLnBrk="0" hangingPunct="1">
        <a:lnSpc>
          <a:spcPct val="111000"/>
        </a:lnSpc>
        <a:spcBef>
          <a:spcPts val="1000"/>
        </a:spcBef>
        <a:spcAft>
          <a:spcPts val="900"/>
        </a:spcAft>
        <a:buFont typeface="Arial" panose="020B0604020202020204" pitchFamily="34" charset="0"/>
        <a:buNone/>
        <a:defRPr sz="1750" kern="1200">
          <a:solidFill>
            <a:schemeClr val="accent1"/>
          </a:solidFill>
          <a:latin typeface="Inter Medium" panose="02000503000000020004" pitchFamily="2" charset="0"/>
          <a:ea typeface="Inter Medium" panose="02000503000000020004" pitchFamily="2" charset="0"/>
          <a:cs typeface="+mn-cs"/>
        </a:defRPr>
      </a:lvl4pPr>
      <a:lvl5pPr marL="0" indent="0" algn="l" defTabSz="914400" rtl="0" eaLnBrk="1" fontAlgn="ctr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2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20" userDrawn="1">
          <p15:clr>
            <a:srgbClr val="9FCC3B"/>
          </p15:clr>
        </p15:guide>
        <p15:guide id="4" pos="649" userDrawn="1">
          <p15:clr>
            <a:srgbClr val="F26B43"/>
          </p15:clr>
        </p15:guide>
        <p15:guide id="5" pos="2244" userDrawn="1">
          <p15:clr>
            <a:srgbClr val="F26B43"/>
          </p15:clr>
        </p15:guide>
        <p15:guide id="6" pos="3597" userDrawn="1">
          <p15:clr>
            <a:srgbClr val="F26B43"/>
          </p15:clr>
        </p15:guide>
        <p15:guide id="7" pos="4083" userDrawn="1">
          <p15:clr>
            <a:srgbClr val="F26B43"/>
          </p15:clr>
        </p15:guide>
        <p15:guide id="8" pos="7045" userDrawn="1">
          <p15:clr>
            <a:srgbClr val="F26B43"/>
          </p15:clr>
        </p15:guide>
        <p15:guide id="9" orient="horz" pos="2153" userDrawn="1">
          <p15:clr>
            <a:srgbClr val="F26B43"/>
          </p15:clr>
        </p15:guide>
        <p15:guide id="10" orient="horz" pos="923" userDrawn="1">
          <p15:clr>
            <a:srgbClr val="F26B43"/>
          </p15:clr>
        </p15:guide>
        <p15:guide id="11" orient="horz" pos="1333" userDrawn="1">
          <p15:clr>
            <a:srgbClr val="F26B43"/>
          </p15:clr>
        </p15:guide>
        <p15:guide id="12" orient="horz" pos="1743" userDrawn="1">
          <p15:clr>
            <a:srgbClr val="F26B43"/>
          </p15:clr>
        </p15:guide>
        <p15:guide id="13" orient="horz" pos="2570" userDrawn="1">
          <p15:clr>
            <a:srgbClr val="F26B43"/>
          </p15:clr>
        </p15:guide>
        <p15:guide id="14" orient="horz" pos="2980" userDrawn="1">
          <p15:clr>
            <a:srgbClr val="F26B43"/>
          </p15:clr>
        </p15:guide>
        <p15:guide id="15" orient="horz" pos="3390" userDrawn="1">
          <p15:clr>
            <a:srgbClr val="F26B43"/>
          </p15:clr>
        </p15:guide>
        <p15:guide id="16" orient="horz" pos="3806" userDrawn="1">
          <p15:clr>
            <a:srgbClr val="F26B43"/>
          </p15:clr>
        </p15:guide>
        <p15:guide id="17" orient="horz" pos="4080" userDrawn="1">
          <p15:clr>
            <a:srgbClr val="9FCC3B"/>
          </p15:clr>
        </p15:guide>
        <p15:guide id="18" orient="horz" pos="240" userDrawn="1">
          <p15:clr>
            <a:srgbClr val="9FCC3B"/>
          </p15:clr>
        </p15:guide>
        <p15:guide id="19" pos="7360" userDrawn="1">
          <p15:clr>
            <a:srgbClr val="9FCC3B"/>
          </p15:clr>
        </p15:guide>
        <p15:guide id="20" pos="545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0E0097-9113-9EAE-86FA-D4C26A0C7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2429780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7772400" imgH="10058400" progId="TCLayout.ActiveDocument.1">
                  <p:embed/>
                </p:oleObj>
              </mc:Choice>
              <mc:Fallback>
                <p:oleObj name="think-cell Slide" r:id="rId2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0E0097-9113-9EAE-86FA-D4C26A0C7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oolsToo_Slide" descr="ToolsToo_Slide">
            <a:extLst>
              <a:ext uri="{FF2B5EF4-FFF2-40B4-BE49-F238E27FC236}">
                <a16:creationId xmlns:a16="http://schemas.microsoft.com/office/drawing/2014/main" id="{E5F952EC-FDB5-F7A6-F33B-4D1A463910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B7D64C1-85CD-7C67-0948-3FF0CDB34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10154444" cy="7694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0C49E59-D3F7-2BEB-91C8-C723726A9C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9494" y="2744788"/>
            <a:ext cx="10154444" cy="32948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BB5651-E3BC-2F1B-F6E9-850B8CEE92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17566" y="6348715"/>
            <a:ext cx="1220688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fontAlgn="ctr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fld id="{05D76435-751D-42DF-A8C1-42355B8279CF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F26BCF2-BF13-78A8-38A6-6FE7B032C3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62350" y="6348715"/>
            <a:ext cx="5067300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77FA799-8EE6-52E9-3D45-86CA6A6A2A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2460" y="6348715"/>
            <a:ext cx="391477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accent1"/>
                </a:solidFill>
                <a:latin typeface="Inter Medium" panose="02000603000000020004" pitchFamily="2" charset="0"/>
                <a:ea typeface="Inter Medium" panose="02000603000000020004" pitchFamily="2" charset="0"/>
                <a:cs typeface="Inter Medium" panose="02000603000000020004" pitchFamily="2" charset="0"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82BD807B-F445-55C1-53A2-E0144038F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32363" y="6364781"/>
            <a:ext cx="558200" cy="113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786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</p:sldLayoutIdLst>
  <p:hf hdr="0" ftr="0" dt="0"/>
  <p:txStyles>
    <p:titleStyle>
      <a:lvl1pPr algn="l" defTabSz="914400" rtl="0" eaLnBrk="1" fontAlgn="ctr" latinLnBrk="0" hangingPunct="1">
        <a:lnSpc>
          <a:spcPct val="100000"/>
        </a:lnSpc>
        <a:spcBef>
          <a:spcPct val="0"/>
        </a:spcBef>
        <a:buNone/>
        <a:defRPr sz="2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58400" indent="-158400" algn="l" defTabSz="914400" rtl="0" eaLnBrk="1" fontAlgn="ctr" latinLnBrk="0" hangingPunct="1">
        <a:lnSpc>
          <a:spcPct val="111000"/>
        </a:lnSpc>
        <a:spcBef>
          <a:spcPts val="0"/>
        </a:spcBef>
        <a:buSzPct val="12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16800" indent="-157957" algn="l" defTabSz="914400" rtl="0" eaLnBrk="1" fontAlgn="ctr" latinLnBrk="0" hangingPunct="1">
        <a:lnSpc>
          <a:spcPct val="111000"/>
        </a:lnSpc>
        <a:spcBef>
          <a:spcPts val="0"/>
        </a:spcBef>
        <a:buFont typeface="Inter" panose="02000503000000020004" pitchFamily="2" charset="0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475200" indent="-158400" algn="l" defTabSz="914400" rtl="0" eaLnBrk="1" fontAlgn="ctr" latinLnBrk="0" hangingPunct="1">
        <a:lnSpc>
          <a:spcPct val="111000"/>
        </a:lnSpc>
        <a:spcBef>
          <a:spcPts val="0"/>
        </a:spcBef>
        <a:buSzPct val="8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fontAlgn="ctr" latinLnBrk="0" hangingPunct="1">
        <a:lnSpc>
          <a:spcPct val="111000"/>
        </a:lnSpc>
        <a:spcBef>
          <a:spcPts val="1000"/>
        </a:spcBef>
        <a:spcAft>
          <a:spcPts val="900"/>
        </a:spcAft>
        <a:buFont typeface="Arial" panose="020B0604020202020204" pitchFamily="34" charset="0"/>
        <a:buNone/>
        <a:defRPr sz="1750" kern="1200">
          <a:solidFill>
            <a:schemeClr val="accent1"/>
          </a:solidFill>
          <a:latin typeface="Inter Medium" panose="02000503000000020004" pitchFamily="2" charset="0"/>
          <a:ea typeface="Inter Medium" panose="02000503000000020004" pitchFamily="2" charset="0"/>
          <a:cs typeface="+mn-cs"/>
        </a:defRPr>
      </a:lvl4pPr>
      <a:lvl5pPr marL="0" indent="0" algn="l" defTabSz="914400" rtl="0" eaLnBrk="1" fontAlgn="ctr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2">
          <p15:clr>
            <a:srgbClr val="F26B43"/>
          </p15:clr>
        </p15:guide>
        <p15:guide id="2" pos="3840">
          <p15:clr>
            <a:srgbClr val="F26B43"/>
          </p15:clr>
        </p15:guide>
        <p15:guide id="3" pos="320">
          <p15:clr>
            <a:srgbClr val="9FCC3B"/>
          </p15:clr>
        </p15:guide>
        <p15:guide id="4" pos="649">
          <p15:clr>
            <a:srgbClr val="F26B43"/>
          </p15:clr>
        </p15:guide>
        <p15:guide id="5" pos="2244">
          <p15:clr>
            <a:srgbClr val="F26B43"/>
          </p15:clr>
        </p15:guide>
        <p15:guide id="6" pos="3597">
          <p15:clr>
            <a:srgbClr val="F26B43"/>
          </p15:clr>
        </p15:guide>
        <p15:guide id="7" pos="4083">
          <p15:clr>
            <a:srgbClr val="F26B43"/>
          </p15:clr>
        </p15:guide>
        <p15:guide id="8" pos="7045">
          <p15:clr>
            <a:srgbClr val="F26B43"/>
          </p15:clr>
        </p15:guide>
        <p15:guide id="9" orient="horz" pos="2153">
          <p15:clr>
            <a:srgbClr val="F26B43"/>
          </p15:clr>
        </p15:guide>
        <p15:guide id="10" orient="horz" pos="923">
          <p15:clr>
            <a:srgbClr val="F26B43"/>
          </p15:clr>
        </p15:guide>
        <p15:guide id="11" orient="horz" pos="1333">
          <p15:clr>
            <a:srgbClr val="F26B43"/>
          </p15:clr>
        </p15:guide>
        <p15:guide id="12" orient="horz" pos="1743">
          <p15:clr>
            <a:srgbClr val="F26B43"/>
          </p15:clr>
        </p15:guide>
        <p15:guide id="13" orient="horz" pos="2570">
          <p15:clr>
            <a:srgbClr val="F26B43"/>
          </p15:clr>
        </p15:guide>
        <p15:guide id="14" orient="horz" pos="2980">
          <p15:clr>
            <a:srgbClr val="F26B43"/>
          </p15:clr>
        </p15:guide>
        <p15:guide id="15" orient="horz" pos="3390">
          <p15:clr>
            <a:srgbClr val="F26B43"/>
          </p15:clr>
        </p15:guide>
        <p15:guide id="16" orient="horz" pos="3806">
          <p15:clr>
            <a:srgbClr val="F26B43"/>
          </p15:clr>
        </p15:guide>
        <p15:guide id="17" orient="horz" pos="4080">
          <p15:clr>
            <a:srgbClr val="9FCC3B"/>
          </p15:clr>
        </p15:guide>
        <p15:guide id="18" orient="horz" pos="240">
          <p15:clr>
            <a:srgbClr val="9FCC3B"/>
          </p15:clr>
        </p15:guide>
        <p15:guide id="19" pos="7360">
          <p15:clr>
            <a:srgbClr val="9FCC3B"/>
          </p15:clr>
        </p15:guide>
        <p15:guide id="20" pos="545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D1B8B9A-E387-4D6A-A4F2-99113C9EF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5408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84" imgH="486" progId="TCLayout.ActiveDocument.1">
                  <p:embed/>
                </p:oleObj>
              </mc:Choice>
              <mc:Fallback>
                <p:oleObj name="think-cell Slide" r:id="rId2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1B8B9A-E387-4D6A-A4F2-99113C9EF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oolsToo_Slide" descr="ToolsToo_Slide">
            <a:extLst>
              <a:ext uri="{FF2B5EF4-FFF2-40B4-BE49-F238E27FC236}">
                <a16:creationId xmlns:a16="http://schemas.microsoft.com/office/drawing/2014/main" id="{E5F952EC-FDB5-F7A6-F33B-4D1A463910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B7D64C1-85CD-7C67-0948-3FF0CDB34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10154444" cy="7694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0C49E59-D3F7-2BEB-91C8-C723726A9C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9494" y="2744788"/>
            <a:ext cx="10154444" cy="32948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BB5651-E3BC-2F1B-F6E9-850B8CEE92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17566" y="6348715"/>
            <a:ext cx="1220688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fontAlgn="ctr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fld id="{05D76435-751D-42DF-A8C1-42355B8279CF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F26BCF2-BF13-78A8-38A6-6FE7B032C3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62350" y="6348715"/>
            <a:ext cx="5067300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77FA799-8EE6-52E9-3D45-86CA6A6A2A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2460" y="6348715"/>
            <a:ext cx="391477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accent1"/>
                </a:solidFill>
                <a:latin typeface="Inter Medium" panose="02000603000000020004" pitchFamily="2" charset="0"/>
                <a:ea typeface="Inter Medium" panose="02000603000000020004" pitchFamily="2" charset="0"/>
                <a:cs typeface="Inter Medium" panose="02000603000000020004" pitchFamily="2" charset="0"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82BD807B-F445-55C1-53A2-E0144038F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32363" y="6364781"/>
            <a:ext cx="558200" cy="113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8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</p:sldLayoutIdLst>
  <p:hf hdr="0" ftr="0" dt="0"/>
  <p:txStyles>
    <p:titleStyle>
      <a:lvl1pPr algn="l" defTabSz="914400" rtl="0" eaLnBrk="1" fontAlgn="ctr" latinLnBrk="0" hangingPunct="1">
        <a:lnSpc>
          <a:spcPct val="100000"/>
        </a:lnSpc>
        <a:spcBef>
          <a:spcPct val="0"/>
        </a:spcBef>
        <a:buNone/>
        <a:defRPr sz="2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58400" indent="-158400" algn="l" defTabSz="914400" rtl="0" eaLnBrk="1" fontAlgn="ctr" latinLnBrk="0" hangingPunct="1">
        <a:lnSpc>
          <a:spcPct val="111000"/>
        </a:lnSpc>
        <a:spcBef>
          <a:spcPts val="0"/>
        </a:spcBef>
        <a:buSzPct val="12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16800" indent="-157957" algn="l" defTabSz="914400" rtl="0" eaLnBrk="1" fontAlgn="ctr" latinLnBrk="0" hangingPunct="1">
        <a:lnSpc>
          <a:spcPct val="111000"/>
        </a:lnSpc>
        <a:spcBef>
          <a:spcPts val="0"/>
        </a:spcBef>
        <a:buFont typeface="Inter" panose="02000503000000020004" pitchFamily="2" charset="0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475200" indent="-158400" algn="l" defTabSz="914400" rtl="0" eaLnBrk="1" fontAlgn="ctr" latinLnBrk="0" hangingPunct="1">
        <a:lnSpc>
          <a:spcPct val="111000"/>
        </a:lnSpc>
        <a:spcBef>
          <a:spcPts val="0"/>
        </a:spcBef>
        <a:buSzPct val="8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fontAlgn="ctr" latinLnBrk="0" hangingPunct="1">
        <a:lnSpc>
          <a:spcPct val="111000"/>
        </a:lnSpc>
        <a:spcBef>
          <a:spcPts val="1000"/>
        </a:spcBef>
        <a:spcAft>
          <a:spcPts val="900"/>
        </a:spcAft>
        <a:buFont typeface="Arial" panose="020B0604020202020204" pitchFamily="34" charset="0"/>
        <a:buNone/>
        <a:defRPr sz="1750" kern="1200">
          <a:solidFill>
            <a:schemeClr val="accent1"/>
          </a:solidFill>
          <a:latin typeface="Inter Medium" panose="02000503000000020004" pitchFamily="2" charset="0"/>
          <a:ea typeface="Inter Medium" panose="02000503000000020004" pitchFamily="2" charset="0"/>
          <a:cs typeface="+mn-cs"/>
        </a:defRPr>
      </a:lvl4pPr>
      <a:lvl5pPr marL="0" indent="0" algn="l" defTabSz="914400" rtl="0" eaLnBrk="1" fontAlgn="ctr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2">
          <p15:clr>
            <a:srgbClr val="F26B43"/>
          </p15:clr>
        </p15:guide>
        <p15:guide id="2" pos="3840">
          <p15:clr>
            <a:srgbClr val="F26B43"/>
          </p15:clr>
        </p15:guide>
        <p15:guide id="3" pos="320">
          <p15:clr>
            <a:srgbClr val="9FCC3B"/>
          </p15:clr>
        </p15:guide>
        <p15:guide id="4" pos="649">
          <p15:clr>
            <a:srgbClr val="F26B43"/>
          </p15:clr>
        </p15:guide>
        <p15:guide id="5" pos="2244">
          <p15:clr>
            <a:srgbClr val="F26B43"/>
          </p15:clr>
        </p15:guide>
        <p15:guide id="6" pos="3597">
          <p15:clr>
            <a:srgbClr val="F26B43"/>
          </p15:clr>
        </p15:guide>
        <p15:guide id="7" pos="4083">
          <p15:clr>
            <a:srgbClr val="F26B43"/>
          </p15:clr>
        </p15:guide>
        <p15:guide id="8" pos="7045">
          <p15:clr>
            <a:srgbClr val="F26B43"/>
          </p15:clr>
        </p15:guide>
        <p15:guide id="9" orient="horz" pos="2153">
          <p15:clr>
            <a:srgbClr val="F26B43"/>
          </p15:clr>
        </p15:guide>
        <p15:guide id="10" orient="horz" pos="923">
          <p15:clr>
            <a:srgbClr val="F26B43"/>
          </p15:clr>
        </p15:guide>
        <p15:guide id="11" orient="horz" pos="1333">
          <p15:clr>
            <a:srgbClr val="F26B43"/>
          </p15:clr>
        </p15:guide>
        <p15:guide id="12" orient="horz" pos="1743">
          <p15:clr>
            <a:srgbClr val="F26B43"/>
          </p15:clr>
        </p15:guide>
        <p15:guide id="13" orient="horz" pos="2570">
          <p15:clr>
            <a:srgbClr val="F26B43"/>
          </p15:clr>
        </p15:guide>
        <p15:guide id="14" orient="horz" pos="2980">
          <p15:clr>
            <a:srgbClr val="F26B43"/>
          </p15:clr>
        </p15:guide>
        <p15:guide id="15" orient="horz" pos="3390">
          <p15:clr>
            <a:srgbClr val="F26B43"/>
          </p15:clr>
        </p15:guide>
        <p15:guide id="16" orient="horz" pos="3806">
          <p15:clr>
            <a:srgbClr val="F26B43"/>
          </p15:clr>
        </p15:guide>
        <p15:guide id="17" orient="horz" pos="4080">
          <p15:clr>
            <a:srgbClr val="9FCC3B"/>
          </p15:clr>
        </p15:guide>
        <p15:guide id="18" orient="horz" pos="240">
          <p15:clr>
            <a:srgbClr val="9FCC3B"/>
          </p15:clr>
        </p15:guide>
        <p15:guide id="19" pos="7360">
          <p15:clr>
            <a:srgbClr val="9FCC3B"/>
          </p15:clr>
        </p15:guide>
        <p15:guide id="20" pos="545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D1B8B9A-E387-4D6A-A4F2-99113C9EF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5408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84" imgH="486" progId="TCLayout.ActiveDocument.1">
                  <p:embed/>
                </p:oleObj>
              </mc:Choice>
              <mc:Fallback>
                <p:oleObj name="think-cell Slide" r:id="rId2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1B8B9A-E387-4D6A-A4F2-99113C9EF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oolsToo_Slide" descr="ToolsToo_Slide">
            <a:extLst>
              <a:ext uri="{FF2B5EF4-FFF2-40B4-BE49-F238E27FC236}">
                <a16:creationId xmlns:a16="http://schemas.microsoft.com/office/drawing/2014/main" id="{E5F952EC-FDB5-F7A6-F33B-4D1A463910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B7D64C1-85CD-7C67-0948-3FF0CDB34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4" y="1467905"/>
            <a:ext cx="10154444" cy="7694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0C49E59-D3F7-2BEB-91C8-C723726A9C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9494" y="2744788"/>
            <a:ext cx="10154444" cy="32948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BB5651-E3BC-2F1B-F6E9-850B8CEE92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17566" y="6348715"/>
            <a:ext cx="1220688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fontAlgn="ctr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fld id="{05D76435-751D-42DF-A8C1-42355B8279CF}" type="datetime1">
              <a:rPr lang="nb-NO" smtClean="0"/>
              <a:t>29.10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F26BCF2-BF13-78A8-38A6-6FE7B032C3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62350" y="6348715"/>
            <a:ext cx="5067300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77FA799-8EE6-52E9-3D45-86CA6A6A2A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2460" y="6348715"/>
            <a:ext cx="391477" cy="1538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accent1"/>
                </a:solidFill>
                <a:latin typeface="Inter Medium" panose="02000603000000020004" pitchFamily="2" charset="0"/>
                <a:ea typeface="Inter Medium" panose="02000603000000020004" pitchFamily="2" charset="0"/>
                <a:cs typeface="Inter Medium" panose="02000603000000020004" pitchFamily="2" charset="0"/>
              </a:defRPr>
            </a:lvl1pPr>
          </a:lstStyle>
          <a:p>
            <a:fld id="{BE2ACD00-28B2-4D17-A930-2C9F8441C7CA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82BD807B-F445-55C1-53A2-E0144038F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32363" y="6364781"/>
            <a:ext cx="558200" cy="113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311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</p:sldLayoutIdLst>
  <p:hf hdr="0" ftr="0" dt="0"/>
  <p:txStyles>
    <p:titleStyle>
      <a:lvl1pPr algn="l" defTabSz="914400" rtl="0" eaLnBrk="1" fontAlgn="ctr" latinLnBrk="0" hangingPunct="1">
        <a:lnSpc>
          <a:spcPct val="100000"/>
        </a:lnSpc>
        <a:spcBef>
          <a:spcPct val="0"/>
        </a:spcBef>
        <a:buNone/>
        <a:defRPr sz="2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58400" indent="-158400" algn="l" defTabSz="914400" rtl="0" eaLnBrk="1" fontAlgn="ctr" latinLnBrk="0" hangingPunct="1">
        <a:lnSpc>
          <a:spcPct val="111000"/>
        </a:lnSpc>
        <a:spcBef>
          <a:spcPts val="0"/>
        </a:spcBef>
        <a:buSzPct val="12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16800" indent="-157957" algn="l" defTabSz="914400" rtl="0" eaLnBrk="1" fontAlgn="ctr" latinLnBrk="0" hangingPunct="1">
        <a:lnSpc>
          <a:spcPct val="111000"/>
        </a:lnSpc>
        <a:spcBef>
          <a:spcPts val="0"/>
        </a:spcBef>
        <a:buFont typeface="Inter" panose="02000503000000020004" pitchFamily="2" charset="0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475200" indent="-158400" algn="l" defTabSz="914400" rtl="0" eaLnBrk="1" fontAlgn="ctr" latinLnBrk="0" hangingPunct="1">
        <a:lnSpc>
          <a:spcPct val="111000"/>
        </a:lnSpc>
        <a:spcBef>
          <a:spcPts val="0"/>
        </a:spcBef>
        <a:buSzPct val="8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fontAlgn="ctr" latinLnBrk="0" hangingPunct="1">
        <a:lnSpc>
          <a:spcPct val="111000"/>
        </a:lnSpc>
        <a:spcBef>
          <a:spcPts val="1000"/>
        </a:spcBef>
        <a:spcAft>
          <a:spcPts val="900"/>
        </a:spcAft>
        <a:buFont typeface="Arial" panose="020B0604020202020204" pitchFamily="34" charset="0"/>
        <a:buNone/>
        <a:defRPr sz="1750" kern="1200">
          <a:solidFill>
            <a:schemeClr val="accent1"/>
          </a:solidFill>
          <a:latin typeface="Inter Medium" panose="02000503000000020004" pitchFamily="2" charset="0"/>
          <a:ea typeface="Inter Medium" panose="02000503000000020004" pitchFamily="2" charset="0"/>
          <a:cs typeface="+mn-cs"/>
        </a:defRPr>
      </a:lvl4pPr>
      <a:lvl5pPr marL="0" indent="0" algn="l" defTabSz="914400" rtl="0" eaLnBrk="1" fontAlgn="ctr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fontAlgn="ctr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2">
          <p15:clr>
            <a:srgbClr val="F26B43"/>
          </p15:clr>
        </p15:guide>
        <p15:guide id="2" pos="3840">
          <p15:clr>
            <a:srgbClr val="F26B43"/>
          </p15:clr>
        </p15:guide>
        <p15:guide id="3" pos="320">
          <p15:clr>
            <a:srgbClr val="9FCC3B"/>
          </p15:clr>
        </p15:guide>
        <p15:guide id="4" pos="649">
          <p15:clr>
            <a:srgbClr val="F26B43"/>
          </p15:clr>
        </p15:guide>
        <p15:guide id="5" pos="2244">
          <p15:clr>
            <a:srgbClr val="F26B43"/>
          </p15:clr>
        </p15:guide>
        <p15:guide id="6" pos="3597">
          <p15:clr>
            <a:srgbClr val="F26B43"/>
          </p15:clr>
        </p15:guide>
        <p15:guide id="7" pos="4083">
          <p15:clr>
            <a:srgbClr val="F26B43"/>
          </p15:clr>
        </p15:guide>
        <p15:guide id="8" pos="7045">
          <p15:clr>
            <a:srgbClr val="F26B43"/>
          </p15:clr>
        </p15:guide>
        <p15:guide id="9" orient="horz" pos="2153">
          <p15:clr>
            <a:srgbClr val="F26B43"/>
          </p15:clr>
        </p15:guide>
        <p15:guide id="10" orient="horz" pos="923">
          <p15:clr>
            <a:srgbClr val="F26B43"/>
          </p15:clr>
        </p15:guide>
        <p15:guide id="11" orient="horz" pos="1333">
          <p15:clr>
            <a:srgbClr val="F26B43"/>
          </p15:clr>
        </p15:guide>
        <p15:guide id="12" orient="horz" pos="1743">
          <p15:clr>
            <a:srgbClr val="F26B43"/>
          </p15:clr>
        </p15:guide>
        <p15:guide id="13" orient="horz" pos="2570">
          <p15:clr>
            <a:srgbClr val="F26B43"/>
          </p15:clr>
        </p15:guide>
        <p15:guide id="14" orient="horz" pos="2980">
          <p15:clr>
            <a:srgbClr val="F26B43"/>
          </p15:clr>
        </p15:guide>
        <p15:guide id="15" orient="horz" pos="3390">
          <p15:clr>
            <a:srgbClr val="F26B43"/>
          </p15:clr>
        </p15:guide>
        <p15:guide id="16" orient="horz" pos="3806">
          <p15:clr>
            <a:srgbClr val="F26B43"/>
          </p15:clr>
        </p15:guide>
        <p15:guide id="17" orient="horz" pos="4080">
          <p15:clr>
            <a:srgbClr val="9FCC3B"/>
          </p15:clr>
        </p15:guide>
        <p15:guide id="18" orient="horz" pos="240">
          <p15:clr>
            <a:srgbClr val="9FCC3B"/>
          </p15:clr>
        </p15:guide>
        <p15:guide id="19" pos="7360">
          <p15:clr>
            <a:srgbClr val="9FCC3B"/>
          </p15:clr>
        </p15:guide>
        <p15:guide id="20" pos="545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.xml"/><Relationship Id="rId5" Type="http://schemas.openxmlformats.org/officeDocument/2006/relationships/image" Target="../media/image48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10" Type="http://schemas.openxmlformats.org/officeDocument/2006/relationships/image" Target="../media/image54.svg"/><Relationship Id="rId4" Type="http://schemas.openxmlformats.org/officeDocument/2006/relationships/image" Target="../media/image1.emf"/><Relationship Id="rId9" Type="http://schemas.openxmlformats.org/officeDocument/2006/relationships/image" Target="../media/image5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4" Type="http://schemas.openxmlformats.org/officeDocument/2006/relationships/image" Target="../media/image5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7" Type="http://schemas.openxmlformats.org/officeDocument/2006/relationships/image" Target="../media/image62.sv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61.png"/><Relationship Id="rId5" Type="http://schemas.openxmlformats.org/officeDocument/2006/relationships/image" Target="../media/image60.svg"/><Relationship Id="rId4" Type="http://schemas.openxmlformats.org/officeDocument/2006/relationships/image" Target="../media/image5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15.xml"/><Relationship Id="rId5" Type="http://schemas.openxmlformats.org/officeDocument/2006/relationships/image" Target="../media/image64.png"/><Relationship Id="rId4" Type="http://schemas.openxmlformats.org/officeDocument/2006/relationships/image" Target="../media/image6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16.xml"/><Relationship Id="rId4" Type="http://schemas.openxmlformats.org/officeDocument/2006/relationships/image" Target="../media/image65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17.xml"/><Relationship Id="rId4" Type="http://schemas.openxmlformats.org/officeDocument/2006/relationships/image" Target="../media/image6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8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7" Type="http://schemas.openxmlformats.org/officeDocument/2006/relationships/image" Target="../media/image3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5" Type="http://schemas.openxmlformats.org/officeDocument/2006/relationships/image" Target="../media/image47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E5D125-3CA7-924B-FD29-6DB3937B34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5D125-3CA7-924B-FD29-6DB3937B34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348;p1">
            <a:extLst>
              <a:ext uri="{FF2B5EF4-FFF2-40B4-BE49-F238E27FC236}">
                <a16:creationId xmlns:a16="http://schemas.microsoft.com/office/drawing/2014/main" id="{0101577E-8699-52D5-A641-C1755B36089D}"/>
              </a:ext>
            </a:extLst>
          </p:cNvPr>
          <p:cNvSpPr txBox="1"/>
          <p:nvPr/>
        </p:nvSpPr>
        <p:spPr>
          <a:xfrm>
            <a:off x="373085" y="1849410"/>
            <a:ext cx="11062170" cy="296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b-NO" sz="6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nformasjonsmøte </a:t>
            </a:r>
          </a:p>
          <a:p>
            <a:pPr marL="0" marR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b-NO" sz="6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Vigo Moderniseringen</a:t>
            </a:r>
          </a:p>
          <a:p>
            <a:pPr marL="0" marR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b-NO" sz="60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29. Oktober 25</a:t>
            </a:r>
            <a:endParaRPr lang="nb-NO" sz="6000" b="0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nb-NO" sz="2800" b="0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938411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4D9384-6DBD-F44A-A8C3-4B67ED69D6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think-cell data - do not delete" hidden="1">
            <a:extLst>
              <a:ext uri="{FF2B5EF4-FFF2-40B4-BE49-F238E27FC236}">
                <a16:creationId xmlns:a16="http://schemas.microsoft.com/office/drawing/2014/main" id="{7F73EE78-3343-7672-711E-5C03F90F3D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73EE78-3343-7672-711E-5C03F90F3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ekstSylinder 34">
            <a:extLst>
              <a:ext uri="{FF2B5EF4-FFF2-40B4-BE49-F238E27FC236}">
                <a16:creationId xmlns:a16="http://schemas.microsoft.com/office/drawing/2014/main" id="{5BB0C907-F94E-A8B8-FA5D-240BB19851A3}"/>
              </a:ext>
            </a:extLst>
          </p:cNvPr>
          <p:cNvSpPr txBox="1"/>
          <p:nvPr/>
        </p:nvSpPr>
        <p:spPr>
          <a:xfrm>
            <a:off x="287204" y="1823366"/>
            <a:ext cx="4563341" cy="353943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altLang="nb-NO" sz="1600" b="1" i="1">
                <a:solidFill>
                  <a:schemeClr val="tx1"/>
                </a:solidFill>
              </a:rPr>
              <a:t>Roadmap</a:t>
            </a:r>
            <a:r>
              <a:rPr lang="nb-NO" altLang="nb-NO" sz="1600">
                <a:solidFill>
                  <a:schemeClr val="tx1"/>
                </a:solidFill>
              </a:rPr>
              <a:t> - brytes ned i en detaljert liste med kravspesifikasjoner. Dette kaldes produktbacklogen.</a:t>
            </a:r>
            <a:br>
              <a:rPr lang="nb-NO" altLang="nb-NO" sz="1600">
                <a:solidFill>
                  <a:schemeClr val="tx1"/>
                </a:solidFill>
              </a:rPr>
            </a:br>
            <a:endParaRPr lang="nb-NO" altLang="nb-NO" sz="1600">
              <a:solidFill>
                <a:schemeClr val="tx1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nb-NO" altLang="nb-NO" sz="1600">
              <a:solidFill>
                <a:schemeClr val="tx1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altLang="nb-NO" sz="1600" b="1" i="1">
                <a:solidFill>
                  <a:schemeClr val="tx1"/>
                </a:solidFill>
              </a:rPr>
              <a:t>Produktbacklogen</a:t>
            </a:r>
            <a:r>
              <a:rPr lang="nb-NO" altLang="nb-NO" sz="1600">
                <a:solidFill>
                  <a:schemeClr val="tx1"/>
                </a:solidFill>
              </a:rPr>
              <a:t> - utgjør den komplette liste over alle krav som produktet skal inneholde.</a:t>
            </a:r>
            <a:br>
              <a:rPr lang="nb-NO" altLang="nb-NO" sz="1600">
                <a:solidFill>
                  <a:schemeClr val="tx1"/>
                </a:solidFill>
              </a:rPr>
            </a:br>
            <a:endParaRPr lang="nb-NO" altLang="nb-NO" sz="1600">
              <a:solidFill>
                <a:schemeClr val="tx1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nb-NO" altLang="nb-NO" sz="1600" b="1">
              <a:solidFill>
                <a:schemeClr val="tx1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altLang="nb-NO" sz="1600" b="1" i="1">
                <a:solidFill>
                  <a:schemeClr val="tx1"/>
                </a:solidFill>
              </a:rPr>
              <a:t>Brukerhistorier</a:t>
            </a:r>
            <a:r>
              <a:rPr lang="nb-NO" altLang="nb-NO" sz="1600" b="1">
                <a:solidFill>
                  <a:schemeClr val="tx1"/>
                </a:solidFill>
              </a:rPr>
              <a:t> </a:t>
            </a:r>
            <a:r>
              <a:rPr lang="nb-NO" altLang="nb-NO" sz="1600">
                <a:solidFill>
                  <a:schemeClr val="tx1"/>
                </a:solidFill>
              </a:rPr>
              <a:t>– alle krav utformes i form av brukerhistorier, som ofte er korte og enkle beskrivelser av en funksjon eller et krav sett fra brukerens perspektiv. Brukerhistorier fokuserer på verdi for brukeren og følger ofte formatet: </a:t>
            </a:r>
            <a:r>
              <a:rPr lang="nb-NO" sz="1600">
                <a:solidFill>
                  <a:schemeClr val="tx1"/>
                </a:solidFill>
              </a:rPr>
              <a:t>"Som [rolle], ønsker jeg [funksjon], slik at [fordel]."</a:t>
            </a:r>
            <a:endParaRPr lang="nb-NO" altLang="nb-NO" sz="1600">
              <a:solidFill>
                <a:schemeClr val="tx1"/>
              </a:solidFill>
            </a:endParaRPr>
          </a:p>
        </p:txBody>
      </p:sp>
      <p:sp>
        <p:nvSpPr>
          <p:cNvPr id="36" name="Rectangle 1">
            <a:extLst>
              <a:ext uri="{FF2B5EF4-FFF2-40B4-BE49-F238E27FC236}">
                <a16:creationId xmlns:a16="http://schemas.microsoft.com/office/drawing/2014/main" id="{637A8544-7A22-28F0-804E-B13FA727A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8113"/>
            <a:ext cx="65" cy="26097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7935" rIns="0" bIns="-793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57D4D309-C274-A865-66B9-9DEE77174D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250513"/>
            <a:ext cx="65" cy="26097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7935" rIns="0" bIns="-793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Rectangle 4">
            <a:extLst>
              <a:ext uri="{FF2B5EF4-FFF2-40B4-BE49-F238E27FC236}">
                <a16:creationId xmlns:a16="http://schemas.microsoft.com/office/drawing/2014/main" id="{4540D802-83DF-637A-1CD0-DF622F3AFB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8113"/>
            <a:ext cx="65" cy="26097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7935" rIns="0" bIns="-793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ktangel: avrundede hjørner 12">
            <a:extLst>
              <a:ext uri="{FF2B5EF4-FFF2-40B4-BE49-F238E27FC236}">
                <a16:creationId xmlns:a16="http://schemas.microsoft.com/office/drawing/2014/main" id="{E3C93344-2314-5C26-37CC-4E6AD3927EA6}"/>
              </a:ext>
            </a:extLst>
          </p:cNvPr>
          <p:cNvSpPr/>
          <p:nvPr/>
        </p:nvSpPr>
        <p:spPr>
          <a:xfrm>
            <a:off x="9734441" y="3214498"/>
            <a:ext cx="1540042" cy="269507"/>
          </a:xfrm>
          <a:prstGeom prst="roundRect">
            <a:avLst/>
          </a:prstGeom>
          <a:solidFill>
            <a:srgbClr val="6B133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: avrundede hjørner 13">
            <a:extLst>
              <a:ext uri="{FF2B5EF4-FFF2-40B4-BE49-F238E27FC236}">
                <a16:creationId xmlns:a16="http://schemas.microsoft.com/office/drawing/2014/main" id="{4D130B5E-F3D3-6F9E-C198-A4072D68D681}"/>
              </a:ext>
            </a:extLst>
          </p:cNvPr>
          <p:cNvSpPr/>
          <p:nvPr/>
        </p:nvSpPr>
        <p:spPr>
          <a:xfrm>
            <a:off x="9734441" y="3544167"/>
            <a:ext cx="1540042" cy="269507"/>
          </a:xfrm>
          <a:prstGeom prst="roundRect">
            <a:avLst/>
          </a:prstGeom>
          <a:solidFill>
            <a:srgbClr val="6B133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: avrundede hjørner 15">
            <a:extLst>
              <a:ext uri="{FF2B5EF4-FFF2-40B4-BE49-F238E27FC236}">
                <a16:creationId xmlns:a16="http://schemas.microsoft.com/office/drawing/2014/main" id="{7B9844A5-59CF-1180-5520-25833B5E302F}"/>
              </a:ext>
            </a:extLst>
          </p:cNvPr>
          <p:cNvSpPr/>
          <p:nvPr/>
        </p:nvSpPr>
        <p:spPr>
          <a:xfrm>
            <a:off x="9734441" y="3873836"/>
            <a:ext cx="1540042" cy="269507"/>
          </a:xfrm>
          <a:prstGeom prst="roundRect">
            <a:avLst/>
          </a:prstGeom>
          <a:solidFill>
            <a:srgbClr val="6B133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: avrundede hjørner 16">
            <a:extLst>
              <a:ext uri="{FF2B5EF4-FFF2-40B4-BE49-F238E27FC236}">
                <a16:creationId xmlns:a16="http://schemas.microsoft.com/office/drawing/2014/main" id="{E6446D66-B47C-1802-C36F-CC4FE6202821}"/>
              </a:ext>
            </a:extLst>
          </p:cNvPr>
          <p:cNvSpPr/>
          <p:nvPr/>
        </p:nvSpPr>
        <p:spPr>
          <a:xfrm>
            <a:off x="9734441" y="4203505"/>
            <a:ext cx="1540042" cy="269507"/>
          </a:xfrm>
          <a:prstGeom prst="roundRect">
            <a:avLst/>
          </a:prstGeom>
          <a:solidFill>
            <a:srgbClr val="6B133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Rektangel: avrundede hjørner 17">
            <a:extLst>
              <a:ext uri="{FF2B5EF4-FFF2-40B4-BE49-F238E27FC236}">
                <a16:creationId xmlns:a16="http://schemas.microsoft.com/office/drawing/2014/main" id="{2C7C93C2-0CC9-63B5-4932-F22BB708E1A2}"/>
              </a:ext>
            </a:extLst>
          </p:cNvPr>
          <p:cNvSpPr/>
          <p:nvPr/>
        </p:nvSpPr>
        <p:spPr>
          <a:xfrm>
            <a:off x="9734441" y="4538026"/>
            <a:ext cx="1540042" cy="269507"/>
          </a:xfrm>
          <a:prstGeom prst="roundRect">
            <a:avLst/>
          </a:prstGeom>
          <a:solidFill>
            <a:srgbClr val="6B133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Rektangel: avrundede hjørner 18">
            <a:extLst>
              <a:ext uri="{FF2B5EF4-FFF2-40B4-BE49-F238E27FC236}">
                <a16:creationId xmlns:a16="http://schemas.microsoft.com/office/drawing/2014/main" id="{C255C790-BC44-FE33-C80F-2B08B4FD96BA}"/>
              </a:ext>
            </a:extLst>
          </p:cNvPr>
          <p:cNvSpPr/>
          <p:nvPr/>
        </p:nvSpPr>
        <p:spPr>
          <a:xfrm>
            <a:off x="9734441" y="4872547"/>
            <a:ext cx="1540042" cy="269507"/>
          </a:xfrm>
          <a:prstGeom prst="roundRect">
            <a:avLst/>
          </a:prstGeom>
          <a:solidFill>
            <a:srgbClr val="6B133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D3EBFA66-6E71-523A-FD74-2EFB38BEB371}"/>
              </a:ext>
            </a:extLst>
          </p:cNvPr>
          <p:cNvSpPr/>
          <p:nvPr/>
        </p:nvSpPr>
        <p:spPr>
          <a:xfrm>
            <a:off x="9734441" y="5207068"/>
            <a:ext cx="1540042" cy="269507"/>
          </a:xfrm>
          <a:prstGeom prst="roundRect">
            <a:avLst/>
          </a:prstGeom>
          <a:solidFill>
            <a:srgbClr val="6B133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Rektangel: avrundede hjørner 21">
            <a:extLst>
              <a:ext uri="{FF2B5EF4-FFF2-40B4-BE49-F238E27FC236}">
                <a16:creationId xmlns:a16="http://schemas.microsoft.com/office/drawing/2014/main" id="{263D02BB-F6EE-FC11-A3A9-D4344BF91B61}"/>
              </a:ext>
            </a:extLst>
          </p:cNvPr>
          <p:cNvSpPr/>
          <p:nvPr/>
        </p:nvSpPr>
        <p:spPr>
          <a:xfrm>
            <a:off x="9734441" y="2879977"/>
            <a:ext cx="1540042" cy="269507"/>
          </a:xfrm>
          <a:prstGeom prst="roundRect">
            <a:avLst/>
          </a:prstGeom>
          <a:solidFill>
            <a:srgbClr val="6B133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8" name="TekstSylinder 27">
            <a:extLst>
              <a:ext uri="{FF2B5EF4-FFF2-40B4-BE49-F238E27FC236}">
                <a16:creationId xmlns:a16="http://schemas.microsoft.com/office/drawing/2014/main" id="{9B49F766-15FD-DE2C-A2AA-AE29458B0C9A}"/>
              </a:ext>
            </a:extLst>
          </p:cNvPr>
          <p:cNvSpPr txBox="1"/>
          <p:nvPr/>
        </p:nvSpPr>
        <p:spPr>
          <a:xfrm>
            <a:off x="9599687" y="5611874"/>
            <a:ext cx="1809549" cy="246221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Produkt Backlog</a:t>
            </a:r>
          </a:p>
        </p:txBody>
      </p:sp>
      <p:pic>
        <p:nvPicPr>
          <p:cNvPr id="32" name="Bilde 31">
            <a:extLst>
              <a:ext uri="{FF2B5EF4-FFF2-40B4-BE49-F238E27FC236}">
                <a16:creationId xmlns:a16="http://schemas.microsoft.com/office/drawing/2014/main" id="{85417356-39CE-F8FA-5453-A1A2FC0EF1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2954" y="2344228"/>
            <a:ext cx="3356649" cy="2349654"/>
          </a:xfrm>
          <a:prstGeom prst="rect">
            <a:avLst/>
          </a:prstGeom>
        </p:spPr>
      </p:pic>
      <p:cxnSp>
        <p:nvCxnSpPr>
          <p:cNvPr id="37" name="Rett pilkobling 36">
            <a:extLst>
              <a:ext uri="{FF2B5EF4-FFF2-40B4-BE49-F238E27FC236}">
                <a16:creationId xmlns:a16="http://schemas.microsoft.com/office/drawing/2014/main" id="{437304E2-6E80-6962-51B9-807ECE19AD94}"/>
              </a:ext>
            </a:extLst>
          </p:cNvPr>
          <p:cNvCxnSpPr>
            <a:cxnSpLocks/>
          </p:cNvCxnSpPr>
          <p:nvPr/>
        </p:nvCxnSpPr>
        <p:spPr>
          <a:xfrm>
            <a:off x="8459603" y="3338945"/>
            <a:ext cx="770021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Google Shape;1007;g2e0683f995c_0_0">
            <a:extLst>
              <a:ext uri="{FF2B5EF4-FFF2-40B4-BE49-F238E27FC236}">
                <a16:creationId xmlns:a16="http://schemas.microsoft.com/office/drawing/2014/main" id="{DD4A5159-DF45-9EEC-CAFF-75D1C22F4A23}"/>
              </a:ext>
            </a:extLst>
          </p:cNvPr>
          <p:cNvSpPr txBox="1">
            <a:spLocks/>
          </p:cNvSpPr>
          <p:nvPr/>
        </p:nvSpPr>
        <p:spPr>
          <a:xfrm>
            <a:off x="382000" y="486981"/>
            <a:ext cx="11520900" cy="538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nb-NO" sz="22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rPr>
              <a:t>Agil Arbeidsmetode| </a:t>
            </a: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rPr>
              <a:t>Roadmap, Produktbacklog og Brukerhistorier</a:t>
            </a:r>
            <a:endParaRPr kumimoji="0" lang="nb-NO" sz="22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DC9987F8-A1AF-163C-BA7E-2E6945B7FBA4}"/>
              </a:ext>
            </a:extLst>
          </p:cNvPr>
          <p:cNvSpPr/>
          <p:nvPr/>
        </p:nvSpPr>
        <p:spPr>
          <a:xfrm>
            <a:off x="6363834" y="3184416"/>
            <a:ext cx="834887" cy="3296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Roadmap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DF602B08-1641-02E2-1720-49A59DFAA1AF}"/>
              </a:ext>
            </a:extLst>
          </p:cNvPr>
          <p:cNvSpPr/>
          <p:nvPr/>
        </p:nvSpPr>
        <p:spPr>
          <a:xfrm>
            <a:off x="6480312" y="3686268"/>
            <a:ext cx="596349" cy="3296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Release</a:t>
            </a:r>
          </a:p>
        </p:txBody>
      </p:sp>
    </p:spTree>
    <p:extLst>
      <p:ext uri="{BB962C8B-B14F-4D97-AF65-F5344CB8AC3E}">
        <p14:creationId xmlns:p14="http://schemas.microsoft.com/office/powerpoint/2010/main" val="2938810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0EA04C-97D3-2698-FB48-07582B238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think-cell data - do not delete" hidden="1">
            <a:extLst>
              <a:ext uri="{FF2B5EF4-FFF2-40B4-BE49-F238E27FC236}">
                <a16:creationId xmlns:a16="http://schemas.microsoft.com/office/drawing/2014/main" id="{16F48780-C30C-9145-1702-8956943C1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F48780-C30C-9145-1702-8956943C1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: ett klippet hjørne 2">
            <a:extLst>
              <a:ext uri="{FF2B5EF4-FFF2-40B4-BE49-F238E27FC236}">
                <a16:creationId xmlns:a16="http://schemas.microsoft.com/office/drawing/2014/main" id="{1F6E023D-90B0-78D8-4D3B-7DDE6640198C}"/>
              </a:ext>
            </a:extLst>
          </p:cNvPr>
          <p:cNvSpPr/>
          <p:nvPr/>
        </p:nvSpPr>
        <p:spPr>
          <a:xfrm>
            <a:off x="3175863" y="1245465"/>
            <a:ext cx="1332000" cy="1332000"/>
          </a:xfrm>
          <a:prstGeom prst="snip1Rect">
            <a:avLst/>
          </a:prstGeom>
          <a:solidFill>
            <a:srgbClr val="6B133D">
              <a:alpha val="80000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nb-NO" sz="1300"/>
              <a:t>Faggrupper</a:t>
            </a:r>
          </a:p>
        </p:txBody>
      </p:sp>
      <p:sp>
        <p:nvSpPr>
          <p:cNvPr id="4" name="Rektangel: ett klippet hjørne 3">
            <a:extLst>
              <a:ext uri="{FF2B5EF4-FFF2-40B4-BE49-F238E27FC236}">
                <a16:creationId xmlns:a16="http://schemas.microsoft.com/office/drawing/2014/main" id="{8973AF9D-154F-CCBF-5C73-3CD5F5C4A7B1}"/>
              </a:ext>
            </a:extLst>
          </p:cNvPr>
          <p:cNvSpPr/>
          <p:nvPr/>
        </p:nvSpPr>
        <p:spPr>
          <a:xfrm>
            <a:off x="787251" y="1327161"/>
            <a:ext cx="1332000" cy="1332000"/>
          </a:xfrm>
          <a:prstGeom prst="snip1Rect">
            <a:avLst/>
          </a:prstGeom>
          <a:solidFill>
            <a:srgbClr val="6B133D">
              <a:alpha val="80000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nb-NO" sz="1300" noProof="0"/>
              <a:t>Fylkes-kommunene</a:t>
            </a:r>
          </a:p>
        </p:txBody>
      </p:sp>
      <p:sp>
        <p:nvSpPr>
          <p:cNvPr id="6" name="Rektangel: ett klippet hjørne 5">
            <a:extLst>
              <a:ext uri="{FF2B5EF4-FFF2-40B4-BE49-F238E27FC236}">
                <a16:creationId xmlns:a16="http://schemas.microsoft.com/office/drawing/2014/main" id="{7265E661-09D5-7E77-E81D-6A27917AA141}"/>
              </a:ext>
            </a:extLst>
          </p:cNvPr>
          <p:cNvSpPr/>
          <p:nvPr/>
        </p:nvSpPr>
        <p:spPr>
          <a:xfrm>
            <a:off x="7617222" y="1260933"/>
            <a:ext cx="1332000" cy="1332000"/>
          </a:xfrm>
          <a:prstGeom prst="snip1Rect">
            <a:avLst/>
          </a:prstGeom>
          <a:solidFill>
            <a:srgbClr val="6B133D">
              <a:alpha val="80000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nb-NO" sz="1300"/>
              <a:t>Scrum Master</a:t>
            </a:r>
          </a:p>
        </p:txBody>
      </p:sp>
      <p:sp>
        <p:nvSpPr>
          <p:cNvPr id="7" name="Rektangel: ett klippet hjørne 6">
            <a:extLst>
              <a:ext uri="{FF2B5EF4-FFF2-40B4-BE49-F238E27FC236}">
                <a16:creationId xmlns:a16="http://schemas.microsoft.com/office/drawing/2014/main" id="{D73380D7-7947-C6ED-1517-99D1A3250877}"/>
              </a:ext>
            </a:extLst>
          </p:cNvPr>
          <p:cNvSpPr/>
          <p:nvPr/>
        </p:nvSpPr>
        <p:spPr>
          <a:xfrm>
            <a:off x="5652773" y="1267547"/>
            <a:ext cx="1332000" cy="1332000"/>
          </a:xfrm>
          <a:prstGeom prst="snip1Rect">
            <a:avLst/>
          </a:prstGeom>
          <a:solidFill>
            <a:srgbClr val="6B133D">
              <a:alpha val="80000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nb-NO" sz="1300"/>
              <a:t>Produkteier</a:t>
            </a:r>
          </a:p>
        </p:txBody>
      </p:sp>
      <p:sp>
        <p:nvSpPr>
          <p:cNvPr id="8" name="Rektangel: ett klippet hjørne 7">
            <a:extLst>
              <a:ext uri="{FF2B5EF4-FFF2-40B4-BE49-F238E27FC236}">
                <a16:creationId xmlns:a16="http://schemas.microsoft.com/office/drawing/2014/main" id="{17247A82-BEF6-AC01-15B0-3C18B95E5736}"/>
              </a:ext>
            </a:extLst>
          </p:cNvPr>
          <p:cNvSpPr/>
          <p:nvPr/>
        </p:nvSpPr>
        <p:spPr>
          <a:xfrm>
            <a:off x="9560920" y="1274967"/>
            <a:ext cx="1332000" cy="1332000"/>
          </a:xfrm>
          <a:prstGeom prst="snip1Rect">
            <a:avLst/>
          </a:prstGeom>
          <a:solidFill>
            <a:srgbClr val="6B133D">
              <a:alpha val="80000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nb-NO" sz="1300"/>
              <a:t>Utviklings- Team</a:t>
            </a:r>
          </a:p>
        </p:txBody>
      </p:sp>
      <p:pic>
        <p:nvPicPr>
          <p:cNvPr id="9" name="Grafikk 8" descr="Office-arbeider hunn kontur">
            <a:extLst>
              <a:ext uri="{FF2B5EF4-FFF2-40B4-BE49-F238E27FC236}">
                <a16:creationId xmlns:a16="http://schemas.microsoft.com/office/drawing/2014/main" id="{4DCEB701-358A-46B7-F1E9-8A282FA5B5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36524" y="1404218"/>
            <a:ext cx="462882" cy="462882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k 9" descr="Office-arbeider-maler kontur">
            <a:extLst>
              <a:ext uri="{FF2B5EF4-FFF2-40B4-BE49-F238E27FC236}">
                <a16:creationId xmlns:a16="http://schemas.microsoft.com/office/drawing/2014/main" id="{1670519F-A3EA-95F2-A8FA-2666AF425E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79756" y="1404218"/>
            <a:ext cx="462882" cy="462882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k 10" descr="Office-arbeider hunn kontur">
            <a:extLst>
              <a:ext uri="{FF2B5EF4-FFF2-40B4-BE49-F238E27FC236}">
                <a16:creationId xmlns:a16="http://schemas.microsoft.com/office/drawing/2014/main" id="{8329C0E3-C098-CBCC-AF03-057D20B89D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40701" y="1476271"/>
            <a:ext cx="358316" cy="358316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Grafikk 11" descr="Office-arbeider-maler kontur">
            <a:extLst>
              <a:ext uri="{FF2B5EF4-FFF2-40B4-BE49-F238E27FC236}">
                <a16:creationId xmlns:a16="http://schemas.microsoft.com/office/drawing/2014/main" id="{54070CAC-B7BE-23FE-0F91-B7EDDF7D2C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7345" y="1715334"/>
            <a:ext cx="358316" cy="358316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Grafikk 12" descr="Office-arbeider-maler kontur">
            <a:extLst>
              <a:ext uri="{FF2B5EF4-FFF2-40B4-BE49-F238E27FC236}">
                <a16:creationId xmlns:a16="http://schemas.microsoft.com/office/drawing/2014/main" id="{53285CB1-C3FE-6FB9-D579-5BAA19BCA6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00818" y="1715334"/>
            <a:ext cx="358316" cy="358316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4" name="Grafikk 13" descr="Mannsprofil kontur">
            <a:extLst>
              <a:ext uri="{FF2B5EF4-FFF2-40B4-BE49-F238E27FC236}">
                <a16:creationId xmlns:a16="http://schemas.microsoft.com/office/drawing/2014/main" id="{489DE2F2-0BBF-E897-B4E3-83BD80B5A8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38797" y="1658583"/>
            <a:ext cx="358316" cy="358316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5" name="Grafikk 14" descr="Office-arbeider hunn kontur">
            <a:extLst>
              <a:ext uri="{FF2B5EF4-FFF2-40B4-BE49-F238E27FC236}">
                <a16:creationId xmlns:a16="http://schemas.microsoft.com/office/drawing/2014/main" id="{358C88D1-46CC-3BCE-DF36-3382D87A61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92561" y="1330551"/>
            <a:ext cx="358316" cy="358316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kk 15" descr="Office-arbeider-maler kontur">
            <a:extLst>
              <a:ext uri="{FF2B5EF4-FFF2-40B4-BE49-F238E27FC236}">
                <a16:creationId xmlns:a16="http://schemas.microsoft.com/office/drawing/2014/main" id="{A53CD6AB-4CB9-A49C-F930-D5948135E4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39250" y="1435822"/>
            <a:ext cx="460627" cy="460627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Grafikk 16" descr="Mannsprofil kontur">
            <a:extLst>
              <a:ext uri="{FF2B5EF4-FFF2-40B4-BE49-F238E27FC236}">
                <a16:creationId xmlns:a16="http://schemas.microsoft.com/office/drawing/2014/main" id="{7C8B32C0-1E49-C693-0542-18DFDDCD94F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46325" y="1684782"/>
            <a:ext cx="358316" cy="358316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C59E24AD-70F3-5661-31E5-A9BB95188D16}"/>
              </a:ext>
            </a:extLst>
          </p:cNvPr>
          <p:cNvSpPr txBox="1"/>
          <p:nvPr/>
        </p:nvSpPr>
        <p:spPr>
          <a:xfrm>
            <a:off x="2852872" y="3013934"/>
            <a:ext cx="1810641" cy="11069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altLang="nb-NO" sz="1200" kern="0">
                <a:ea typeface="Calibri"/>
                <a:cs typeface="Calibri"/>
              </a:rPr>
              <a:t>Representerer behovene på tvers av alle fylkeskommune og driver behovene for videreutviklingen av VIGO systemet 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8F446CE6-2F2E-3001-F0E0-4ED2BA287619}"/>
              </a:ext>
            </a:extLst>
          </p:cNvPr>
          <p:cNvSpPr txBox="1"/>
          <p:nvPr/>
        </p:nvSpPr>
        <p:spPr>
          <a:xfrm>
            <a:off x="5546415" y="2983457"/>
            <a:ext cx="1682158" cy="11099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altLang="nb-NO" sz="1200" kern="0">
                <a:ea typeface="Calibri"/>
                <a:cs typeface="Calibri"/>
              </a:rPr>
              <a:t>Produkteier er ansvarlig for at maksimere verdien av ​​produktet og sikre at produktet utvikles i tråd med behovene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nb-NO" altLang="nb-NO" sz="1200" kern="0">
              <a:ea typeface="Calibri"/>
              <a:cs typeface="Calibri"/>
            </a:endParaRPr>
          </a:p>
        </p:txBody>
      </p:sp>
      <p:cxnSp>
        <p:nvCxnSpPr>
          <p:cNvPr id="21" name="Rett pilkobling 20">
            <a:extLst>
              <a:ext uri="{FF2B5EF4-FFF2-40B4-BE49-F238E27FC236}">
                <a16:creationId xmlns:a16="http://schemas.microsoft.com/office/drawing/2014/main" id="{914A6F5F-4E7B-1E1D-C8EF-403F45B7B554}"/>
              </a:ext>
            </a:extLst>
          </p:cNvPr>
          <p:cNvCxnSpPr>
            <a:cxnSpLocks/>
          </p:cNvCxnSpPr>
          <p:nvPr/>
        </p:nvCxnSpPr>
        <p:spPr>
          <a:xfrm flipH="1">
            <a:off x="1999969" y="2189833"/>
            <a:ext cx="1348558" cy="0"/>
          </a:xfrm>
          <a:prstGeom prst="straightConnector1">
            <a:avLst/>
          </a:prstGeom>
          <a:ln>
            <a:headEnd type="triangle"/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ktangel: avrundede hjørner 21">
            <a:extLst>
              <a:ext uri="{FF2B5EF4-FFF2-40B4-BE49-F238E27FC236}">
                <a16:creationId xmlns:a16="http://schemas.microsoft.com/office/drawing/2014/main" id="{2D001C82-A799-6358-C3DD-56D3D162A3FE}"/>
              </a:ext>
            </a:extLst>
          </p:cNvPr>
          <p:cNvSpPr/>
          <p:nvPr/>
        </p:nvSpPr>
        <p:spPr>
          <a:xfrm>
            <a:off x="543411" y="872775"/>
            <a:ext cx="4198229" cy="3549203"/>
          </a:xfrm>
          <a:prstGeom prst="roundRect">
            <a:avLst/>
          </a:prstGeom>
          <a:noFill/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/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B66AF760-86E9-09A6-979B-213156F6AAE4}"/>
              </a:ext>
            </a:extLst>
          </p:cNvPr>
          <p:cNvSpPr txBox="1"/>
          <p:nvPr/>
        </p:nvSpPr>
        <p:spPr>
          <a:xfrm>
            <a:off x="712298" y="3013934"/>
            <a:ext cx="1577040" cy="11069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 sz="1200" kern="0">
                <a:ea typeface="Calibri"/>
                <a:cs typeface="Calibri"/>
              </a:rPr>
              <a:t>Representerer de funksjonelle behovene som VIGO 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EE39FC05-AEC9-4718-A799-FC41DFAC163A}"/>
              </a:ext>
            </a:extLst>
          </p:cNvPr>
          <p:cNvSpPr txBox="1"/>
          <p:nvPr/>
        </p:nvSpPr>
        <p:spPr>
          <a:xfrm>
            <a:off x="9386092" y="2983457"/>
            <a:ext cx="1618502" cy="110998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R="0"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nb-NO" altLang="nb-NO" sz="1200" kern="0">
                <a:ea typeface="Calibri"/>
                <a:cs typeface="Calibri"/>
              </a:rPr>
              <a:t>Representerer forskjellige funksjonelle roller med alle de nødvendige ferdigheter til å omdanne  produkt backlogen til  produkter i en Sprint 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0A14BF96-2673-65DB-7ADA-AE5342CA46EA}"/>
              </a:ext>
            </a:extLst>
          </p:cNvPr>
          <p:cNvSpPr txBox="1"/>
          <p:nvPr/>
        </p:nvSpPr>
        <p:spPr>
          <a:xfrm>
            <a:off x="7550347" y="2983457"/>
            <a:ext cx="1465749" cy="11099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1000">
                <a:solidFill>
                  <a:schemeClr val="bg1">
                    <a:lumMod val="25000"/>
                  </a:schemeClr>
                </a:solidFill>
              </a:defRPr>
            </a:lvl1pPr>
          </a:lstStyle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nb-NO" sz="1200" kern="0">
                <a:solidFill>
                  <a:schemeClr val="tx1"/>
                </a:solidFill>
                <a:ea typeface="Calibri"/>
                <a:cs typeface="Calibri"/>
              </a:rPr>
              <a:t>Tjener teamet og skaper rammer, hvor hvert teammedlem kan gjøre sitt beste for å nå felles mål</a:t>
            </a:r>
          </a:p>
        </p:txBody>
      </p:sp>
      <p:cxnSp>
        <p:nvCxnSpPr>
          <p:cNvPr id="26" name="Connector: Elbow 48">
            <a:extLst>
              <a:ext uri="{FF2B5EF4-FFF2-40B4-BE49-F238E27FC236}">
                <a16:creationId xmlns:a16="http://schemas.microsoft.com/office/drawing/2014/main" id="{36557BC4-103C-C09C-04D6-075E3EAE358E}"/>
              </a:ext>
            </a:extLst>
          </p:cNvPr>
          <p:cNvCxnSpPr>
            <a:cxnSpLocks/>
            <a:stCxn id="3" idx="1"/>
            <a:endCxn id="7" idx="1"/>
          </p:cNvCxnSpPr>
          <p:nvPr/>
        </p:nvCxnSpPr>
        <p:spPr>
          <a:xfrm rot="16200000" flipH="1">
            <a:off x="5069277" y="1350051"/>
            <a:ext cx="22082" cy="2476910"/>
          </a:xfrm>
          <a:prstGeom prst="bentConnector3">
            <a:avLst>
              <a:gd name="adj1" fmla="val 1135232"/>
            </a:avLst>
          </a:prstGeom>
          <a:ln>
            <a:solidFill>
              <a:schemeClr val="tx1"/>
            </a:solidFill>
            <a:headEnd type="triangle"/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ktangel 76">
            <a:extLst>
              <a:ext uri="{FF2B5EF4-FFF2-40B4-BE49-F238E27FC236}">
                <a16:creationId xmlns:a16="http://schemas.microsoft.com/office/drawing/2014/main" id="{DDB2301B-C1E1-F196-E471-CE616C67EEB9}"/>
              </a:ext>
            </a:extLst>
          </p:cNvPr>
          <p:cNvSpPr/>
          <p:nvPr/>
        </p:nvSpPr>
        <p:spPr>
          <a:xfrm>
            <a:off x="2580672" y="4889887"/>
            <a:ext cx="2160970" cy="351427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Fagspesialist Inntak </a:t>
            </a:r>
          </a:p>
        </p:txBody>
      </p:sp>
      <p:sp>
        <p:nvSpPr>
          <p:cNvPr id="28" name="Rektangel 76">
            <a:extLst>
              <a:ext uri="{FF2B5EF4-FFF2-40B4-BE49-F238E27FC236}">
                <a16:creationId xmlns:a16="http://schemas.microsoft.com/office/drawing/2014/main" id="{17D249D1-96EC-52D8-7917-D95E37ABFC51}"/>
              </a:ext>
            </a:extLst>
          </p:cNvPr>
          <p:cNvSpPr/>
          <p:nvPr/>
        </p:nvSpPr>
        <p:spPr>
          <a:xfrm>
            <a:off x="2580671" y="5299555"/>
            <a:ext cx="2160969" cy="358841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Utvikler 1    </a:t>
            </a:r>
          </a:p>
        </p:txBody>
      </p:sp>
      <p:sp>
        <p:nvSpPr>
          <p:cNvPr id="29" name="Rektangel: avrundede hjørner 28">
            <a:extLst>
              <a:ext uri="{FF2B5EF4-FFF2-40B4-BE49-F238E27FC236}">
                <a16:creationId xmlns:a16="http://schemas.microsoft.com/office/drawing/2014/main" id="{36736936-297F-7520-10B0-2DFC79AEEFE0}"/>
              </a:ext>
            </a:extLst>
          </p:cNvPr>
          <p:cNvSpPr/>
          <p:nvPr/>
        </p:nvSpPr>
        <p:spPr>
          <a:xfrm>
            <a:off x="75758" y="5116952"/>
            <a:ext cx="1586933" cy="358316"/>
          </a:xfrm>
          <a:prstGeom prst="round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b-NO" b="1" noProof="0">
                <a:solidFill>
                  <a:schemeClr val="tx1"/>
                </a:solidFill>
              </a:rPr>
              <a:t>Team Medlemmer</a:t>
            </a:r>
          </a:p>
        </p:txBody>
      </p:sp>
      <p:sp>
        <p:nvSpPr>
          <p:cNvPr id="30" name="Rektangel 76">
            <a:extLst>
              <a:ext uri="{FF2B5EF4-FFF2-40B4-BE49-F238E27FC236}">
                <a16:creationId xmlns:a16="http://schemas.microsoft.com/office/drawing/2014/main" id="{3FC49F3A-C98A-AC11-3661-18264E679E63}"/>
              </a:ext>
            </a:extLst>
          </p:cNvPr>
          <p:cNvSpPr/>
          <p:nvPr/>
        </p:nvSpPr>
        <p:spPr>
          <a:xfrm>
            <a:off x="2580671" y="5709222"/>
            <a:ext cx="2160969" cy="358841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Utvikler n</a:t>
            </a:r>
          </a:p>
        </p:txBody>
      </p:sp>
      <p:sp>
        <p:nvSpPr>
          <p:cNvPr id="31" name="Rektangel 76">
            <a:extLst>
              <a:ext uri="{FF2B5EF4-FFF2-40B4-BE49-F238E27FC236}">
                <a16:creationId xmlns:a16="http://schemas.microsoft.com/office/drawing/2014/main" id="{95103C1A-0CF9-88C1-1289-F023CF3D891E}"/>
              </a:ext>
            </a:extLst>
          </p:cNvPr>
          <p:cNvSpPr/>
          <p:nvPr/>
        </p:nvSpPr>
        <p:spPr>
          <a:xfrm rot="16200000">
            <a:off x="1732248" y="5314326"/>
            <a:ext cx="1200306" cy="351427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Lead</a:t>
            </a:r>
          </a:p>
        </p:txBody>
      </p:sp>
      <p:sp>
        <p:nvSpPr>
          <p:cNvPr id="32" name="Rektangel 76">
            <a:extLst>
              <a:ext uri="{FF2B5EF4-FFF2-40B4-BE49-F238E27FC236}">
                <a16:creationId xmlns:a16="http://schemas.microsoft.com/office/drawing/2014/main" id="{C76CA1A0-A412-4AE3-664C-2B147D11DCB0}"/>
              </a:ext>
            </a:extLst>
          </p:cNvPr>
          <p:cNvSpPr/>
          <p:nvPr/>
        </p:nvSpPr>
        <p:spPr>
          <a:xfrm>
            <a:off x="6107960" y="4889887"/>
            <a:ext cx="2160970" cy="351427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Fagspesialist Fagopplæring</a:t>
            </a:r>
          </a:p>
        </p:txBody>
      </p:sp>
      <p:sp>
        <p:nvSpPr>
          <p:cNvPr id="33" name="Rektangel 76">
            <a:extLst>
              <a:ext uri="{FF2B5EF4-FFF2-40B4-BE49-F238E27FC236}">
                <a16:creationId xmlns:a16="http://schemas.microsoft.com/office/drawing/2014/main" id="{7D9AD4FF-25B8-BEFA-EE77-A5AEA72687B0}"/>
              </a:ext>
            </a:extLst>
          </p:cNvPr>
          <p:cNvSpPr/>
          <p:nvPr/>
        </p:nvSpPr>
        <p:spPr>
          <a:xfrm>
            <a:off x="6107959" y="5299555"/>
            <a:ext cx="2160969" cy="358841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Utvikler 1    </a:t>
            </a:r>
          </a:p>
        </p:txBody>
      </p:sp>
      <p:sp>
        <p:nvSpPr>
          <p:cNvPr id="34" name="Rektangel 76">
            <a:extLst>
              <a:ext uri="{FF2B5EF4-FFF2-40B4-BE49-F238E27FC236}">
                <a16:creationId xmlns:a16="http://schemas.microsoft.com/office/drawing/2014/main" id="{60965989-3233-3581-88B8-5664651F98D3}"/>
              </a:ext>
            </a:extLst>
          </p:cNvPr>
          <p:cNvSpPr/>
          <p:nvPr/>
        </p:nvSpPr>
        <p:spPr>
          <a:xfrm>
            <a:off x="6107959" y="5709222"/>
            <a:ext cx="2160969" cy="358841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Utvikler n</a:t>
            </a:r>
          </a:p>
        </p:txBody>
      </p:sp>
      <p:sp>
        <p:nvSpPr>
          <p:cNvPr id="35" name="Rektangel 76">
            <a:extLst>
              <a:ext uri="{FF2B5EF4-FFF2-40B4-BE49-F238E27FC236}">
                <a16:creationId xmlns:a16="http://schemas.microsoft.com/office/drawing/2014/main" id="{7AFE19AE-9C45-D7B3-34F8-DC2CE4CB93D2}"/>
              </a:ext>
            </a:extLst>
          </p:cNvPr>
          <p:cNvSpPr/>
          <p:nvPr/>
        </p:nvSpPr>
        <p:spPr>
          <a:xfrm rot="16200000">
            <a:off x="5259536" y="5314326"/>
            <a:ext cx="1200306" cy="351427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Lead</a:t>
            </a:r>
          </a:p>
        </p:txBody>
      </p:sp>
      <p:sp>
        <p:nvSpPr>
          <p:cNvPr id="36" name="Rektangel 76">
            <a:extLst>
              <a:ext uri="{FF2B5EF4-FFF2-40B4-BE49-F238E27FC236}">
                <a16:creationId xmlns:a16="http://schemas.microsoft.com/office/drawing/2014/main" id="{599C2A62-F5B0-47CD-E153-F681D43D01EE}"/>
              </a:ext>
            </a:extLst>
          </p:cNvPr>
          <p:cNvSpPr/>
          <p:nvPr/>
        </p:nvSpPr>
        <p:spPr>
          <a:xfrm>
            <a:off x="9458649" y="4904611"/>
            <a:ext cx="2160970" cy="351427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Fagspesialist OT </a:t>
            </a:r>
          </a:p>
        </p:txBody>
      </p:sp>
      <p:sp>
        <p:nvSpPr>
          <p:cNvPr id="37" name="Rektangel 76">
            <a:extLst>
              <a:ext uri="{FF2B5EF4-FFF2-40B4-BE49-F238E27FC236}">
                <a16:creationId xmlns:a16="http://schemas.microsoft.com/office/drawing/2014/main" id="{3917608A-6D4B-4C1F-D119-39162CB894F0}"/>
              </a:ext>
            </a:extLst>
          </p:cNvPr>
          <p:cNvSpPr/>
          <p:nvPr/>
        </p:nvSpPr>
        <p:spPr>
          <a:xfrm>
            <a:off x="9458648" y="5314279"/>
            <a:ext cx="2160969" cy="358841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Utvikler 1    </a:t>
            </a:r>
          </a:p>
        </p:txBody>
      </p:sp>
      <p:sp>
        <p:nvSpPr>
          <p:cNvPr id="38" name="Rektangel 76">
            <a:extLst>
              <a:ext uri="{FF2B5EF4-FFF2-40B4-BE49-F238E27FC236}">
                <a16:creationId xmlns:a16="http://schemas.microsoft.com/office/drawing/2014/main" id="{33847B40-86D0-6510-6C8B-87FBB25CC0A0}"/>
              </a:ext>
            </a:extLst>
          </p:cNvPr>
          <p:cNvSpPr/>
          <p:nvPr/>
        </p:nvSpPr>
        <p:spPr>
          <a:xfrm>
            <a:off x="9458648" y="5723946"/>
            <a:ext cx="2160969" cy="358841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Utvikler n</a:t>
            </a:r>
          </a:p>
        </p:txBody>
      </p:sp>
      <p:sp>
        <p:nvSpPr>
          <p:cNvPr id="39" name="Rektangel 76">
            <a:extLst>
              <a:ext uri="{FF2B5EF4-FFF2-40B4-BE49-F238E27FC236}">
                <a16:creationId xmlns:a16="http://schemas.microsoft.com/office/drawing/2014/main" id="{E24859B3-F444-FE2A-4B95-8EEA97C628C8}"/>
              </a:ext>
            </a:extLst>
          </p:cNvPr>
          <p:cNvSpPr/>
          <p:nvPr/>
        </p:nvSpPr>
        <p:spPr>
          <a:xfrm rot="16200000">
            <a:off x="8610225" y="5329050"/>
            <a:ext cx="1200306" cy="351427"/>
          </a:xfrm>
          <a:prstGeom prst="roundRect">
            <a:avLst/>
          </a:prstGeom>
          <a:solidFill>
            <a:srgbClr val="F8ECD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ysClr val="windowText" lastClr="000000"/>
                </a:solidFill>
              </a:rPr>
              <a:t>Lead</a:t>
            </a:r>
          </a:p>
        </p:txBody>
      </p:sp>
      <p:sp>
        <p:nvSpPr>
          <p:cNvPr id="40" name="Google Shape;1007;g2e0683f995c_0_0">
            <a:extLst>
              <a:ext uri="{FF2B5EF4-FFF2-40B4-BE49-F238E27FC236}">
                <a16:creationId xmlns:a16="http://schemas.microsoft.com/office/drawing/2014/main" id="{84F40431-84D1-7A3C-4FCD-5FD42FCE90DF}"/>
              </a:ext>
            </a:extLst>
          </p:cNvPr>
          <p:cNvSpPr txBox="1">
            <a:spLocks/>
          </p:cNvSpPr>
          <p:nvPr/>
        </p:nvSpPr>
        <p:spPr>
          <a:xfrm>
            <a:off x="422433" y="240308"/>
            <a:ext cx="11520900" cy="538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nb-NO" sz="22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rPr>
              <a:t>Agil Arbeidsmetode| </a:t>
            </a: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rPr>
              <a:t>SCRUM Roller og Ansvar</a:t>
            </a:r>
            <a:endParaRPr kumimoji="0" lang="nb-NO" sz="2200" b="0" i="0" u="none" strike="noStrike" kern="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41" name="TekstSylinder 40">
            <a:extLst>
              <a:ext uri="{FF2B5EF4-FFF2-40B4-BE49-F238E27FC236}">
                <a16:creationId xmlns:a16="http://schemas.microsoft.com/office/drawing/2014/main" id="{B9B34387-5DF4-EA66-87EF-96263584D29C}"/>
              </a:ext>
            </a:extLst>
          </p:cNvPr>
          <p:cNvSpPr txBox="1"/>
          <p:nvPr/>
        </p:nvSpPr>
        <p:spPr>
          <a:xfrm>
            <a:off x="1740052" y="921719"/>
            <a:ext cx="1804946" cy="27699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>
                <a:solidFill>
                  <a:schemeClr val="accent1"/>
                </a:solidFill>
              </a:rPr>
              <a:t>Fylkeskommunene</a:t>
            </a:r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44B8FA0E-13B5-63C1-E543-06421AFDB948}"/>
              </a:ext>
            </a:extLst>
          </p:cNvPr>
          <p:cNvSpPr txBox="1"/>
          <p:nvPr/>
        </p:nvSpPr>
        <p:spPr>
          <a:xfrm>
            <a:off x="5797321" y="915953"/>
            <a:ext cx="1042904" cy="27699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>
                <a:solidFill>
                  <a:schemeClr val="accent1"/>
                </a:solidFill>
              </a:rPr>
              <a:t>Novari IKS</a:t>
            </a:r>
          </a:p>
        </p:txBody>
      </p:sp>
      <p:sp>
        <p:nvSpPr>
          <p:cNvPr id="44" name="TekstSylinder 43">
            <a:extLst>
              <a:ext uri="{FF2B5EF4-FFF2-40B4-BE49-F238E27FC236}">
                <a16:creationId xmlns:a16="http://schemas.microsoft.com/office/drawing/2014/main" id="{B1FF5BF4-42C2-9E9F-BF3F-B1649581C705}"/>
              </a:ext>
            </a:extLst>
          </p:cNvPr>
          <p:cNvSpPr txBox="1"/>
          <p:nvPr/>
        </p:nvSpPr>
        <p:spPr>
          <a:xfrm>
            <a:off x="8662408" y="920195"/>
            <a:ext cx="1176389" cy="27699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/>
            <a:r>
              <a:rPr lang="nb-NO">
                <a:solidFill>
                  <a:schemeClr val="accent1"/>
                </a:solidFill>
              </a:rPr>
              <a:t>Leverandør</a:t>
            </a:r>
          </a:p>
        </p:txBody>
      </p:sp>
      <p:sp>
        <p:nvSpPr>
          <p:cNvPr id="46" name="Rektangel: avrundede hjørner 1">
            <a:extLst>
              <a:ext uri="{FF2B5EF4-FFF2-40B4-BE49-F238E27FC236}">
                <a16:creationId xmlns:a16="http://schemas.microsoft.com/office/drawing/2014/main" id="{0046FBD7-86A7-74C1-C9B3-0CACCA37E4E7}"/>
              </a:ext>
            </a:extLst>
          </p:cNvPr>
          <p:cNvSpPr/>
          <p:nvPr/>
        </p:nvSpPr>
        <p:spPr>
          <a:xfrm>
            <a:off x="5407640" y="851101"/>
            <a:ext cx="5757014" cy="3549203"/>
          </a:xfrm>
          <a:prstGeom prst="roundRect">
            <a:avLst/>
          </a:prstGeom>
          <a:noFill/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6992544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051AB0C-EF4E-ED0E-155C-733CA3202A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sz="5400">
                <a:solidFill>
                  <a:srgbClr val="6B133D"/>
                </a:solidFill>
                <a:latin typeface="Inter"/>
              </a:rPr>
              <a:t>Medvirkning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BDCE189-609A-CDEB-B665-6A1D62073B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2ACD00-28B2-4D17-A930-2C9F8441C7CA}" type="slidenum">
              <a:rPr kumimoji="0" lang="nb-NO" sz="1000" b="0" i="0" u="none" strike="noStrike" kern="1200" cap="none" spc="0" normalizeH="0" baseline="0" noProof="0" smtClean="0">
                <a:ln>
                  <a:noFill/>
                </a:ln>
                <a:solidFill>
                  <a:srgbClr val="6B133D"/>
                </a:solidFill>
                <a:effectLst/>
                <a:uLnTx/>
                <a:uFillTx/>
                <a:latin typeface="Inter Medium" panose="02000603000000020004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srgbClr val="6B133D"/>
              </a:solidFill>
              <a:effectLst/>
              <a:uLnTx/>
              <a:uFillTx/>
              <a:latin typeface="Inter Medium" panose="02000603000000020004" pitchFamily="2" charset="0"/>
            </a:endParaRP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DB6842DA-1D46-B914-B3F4-17ED690E7C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3200" y="630000"/>
            <a:ext cx="43282" cy="245373"/>
          </a:xfrm>
        </p:spPr>
        <p:txBody>
          <a:bodyPr/>
          <a:lstStyle/>
          <a:p>
            <a:r>
              <a:rPr lang="nb-NO"/>
              <a:t> 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20EA7E5-6A4F-BB4F-ACCB-97B470CDA4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/>
              <a:t>  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B4B18D7B-DFC1-37CB-8292-2759C025E7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9953" y="630000"/>
            <a:ext cx="6334293" cy="5328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8968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9670F28-BBA5-52CB-B1C5-67C8C0B430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97500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670F28-BBA5-52CB-B1C5-67C8C0B430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9521506-2B77-A230-77D0-5918793C2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13</a:t>
            </a:fld>
            <a:endParaRPr lang="nb-NO"/>
          </a:p>
        </p:txBody>
      </p:sp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5BAD1E96-BE47-90DD-4802-A7215C255A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840065"/>
              </p:ext>
            </p:extLst>
          </p:nvPr>
        </p:nvGraphicFramePr>
        <p:xfrm>
          <a:off x="571500" y="1115319"/>
          <a:ext cx="11280530" cy="497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3338">
                  <a:extLst>
                    <a:ext uri="{9D8B030D-6E8A-4147-A177-3AD203B41FA5}">
                      <a16:colId xmlns:a16="http://schemas.microsoft.com/office/drawing/2014/main" val="2671465632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2025521292"/>
                    </a:ext>
                  </a:extLst>
                </a:gridCol>
                <a:gridCol w="3840480">
                  <a:extLst>
                    <a:ext uri="{9D8B030D-6E8A-4147-A177-3AD203B41FA5}">
                      <a16:colId xmlns:a16="http://schemas.microsoft.com/office/drawing/2014/main" val="2002566828"/>
                    </a:ext>
                  </a:extLst>
                </a:gridCol>
                <a:gridCol w="3342835">
                  <a:extLst>
                    <a:ext uri="{9D8B030D-6E8A-4147-A177-3AD203B41FA5}">
                      <a16:colId xmlns:a16="http://schemas.microsoft.com/office/drawing/2014/main" val="940770987"/>
                    </a:ext>
                  </a:extLst>
                </a:gridCol>
                <a:gridCol w="1169377">
                  <a:extLst>
                    <a:ext uri="{9D8B030D-6E8A-4147-A177-3AD203B41FA5}">
                      <a16:colId xmlns:a16="http://schemas.microsoft.com/office/drawing/2014/main" val="30001271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 fontAlgn="t">
                        <a:buNone/>
                      </a:pPr>
                      <a:r>
                        <a:rPr lang="nb-NO" sz="14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idspunkt</a:t>
                      </a:r>
                      <a:endParaRPr lang="nb-NO" sz="140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 fontAlgn="t">
                        <a:buNone/>
                      </a:pPr>
                      <a:r>
                        <a:rPr lang="nb-NO" sz="14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va</a:t>
                      </a:r>
                      <a:endParaRPr lang="nb-NO" sz="140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 fontAlgn="t">
                        <a:buNone/>
                      </a:pPr>
                      <a:r>
                        <a:rPr lang="nb-NO" sz="14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eskrivelse</a:t>
                      </a:r>
                      <a:endParaRPr lang="nb-NO" sz="140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 fontAlgn="t">
                        <a:buNone/>
                      </a:pPr>
                      <a:r>
                        <a:rPr lang="nb-NO" sz="14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ålgruppe</a:t>
                      </a:r>
                      <a:endParaRPr lang="nb-NO" sz="140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 fontAlgn="t">
                        <a:buNone/>
                      </a:pPr>
                      <a:r>
                        <a:rPr lang="nb-NO" sz="14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anal</a:t>
                      </a:r>
                      <a:endParaRPr lang="nb-NO" sz="140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166131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pstartmøt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øte med faggruppene om arbeidsform og epicer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ggruppene Inntak, faggopplæring og OT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ams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89241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ni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møt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rmasjonsmøte om modererninseringen av  VIGO, oppstart, prosess og veien vider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ktuelle ansatte i fylkeskommunen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ebinar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428466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r"/>
                          <a:ea typeface="+mn-ea"/>
                          <a:cs typeface="+mn-cs"/>
                        </a:rPr>
                        <a:t>Juni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møt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rmasjonsmøte om moderniseringen av  VIGO, oppstart, prosess og veien vider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sonvernombuden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ams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4341864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r"/>
                          <a:ea typeface="+mn-ea"/>
                          <a:cs typeface="+mn-cs"/>
                        </a:rPr>
                        <a:t>Juni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møt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rmasjonsmøte om moderniseringen av  VIGO, oppstart, prosess og veien vider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kivledernettverket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ams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1776715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gust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tsending og kommentarer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tsending av epicer for kommentarer og innspill fra fylken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eransegruppen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l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18052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tember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tsending av epicer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nde ut epicer etter at innspill fra referansegruppene er tatt med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ggruppene Inntak, fagopplæring og OT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ams egen kanal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798968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r"/>
                          <a:ea typeface="+mn-ea"/>
                          <a:cs typeface="+mn-cs"/>
                        </a:rPr>
                        <a:t>september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ysisk 2 dagers samling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å igjennom epicer as is og starte på epicer to b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ggruppene Inntak, fagopplæring og OT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ysisk samling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4964164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Inter"/>
                          <a:ea typeface="+mn-ea"/>
                          <a:cs typeface="+mn-cs"/>
                        </a:rPr>
                        <a:t>september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tsending av to be epicer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nde ut oppdaterte to-be epicer til faggruppene, slik at de kan jobbe vider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ggruppene Inntak, fagopplæring og OT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ams egen kanal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9407451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ktober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tsending og kommentarer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nde to be epicer til referansegruppene for innspill fra fylkene, frist 24. oktober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eransegruppen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l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966361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ktober.25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rmasjonsmøt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rmasjon om ståsted og veien vider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ktuelle ansatte i fylkeskommunene, Personvernombud, arkivledernettverk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ebinar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4246101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sember 25/Januar 26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rmasjonsmøt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rmasjon om prosess og veien vider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ktuelle ansatte i fylkeskommunene, personvernombud, arkivledernettverket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l" fontAlgn="t">
                        <a:buNone/>
                      </a:pPr>
                      <a:r>
                        <a:rPr lang="nb-NO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ebinar</a:t>
                      </a: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360918563"/>
                  </a:ext>
                </a:extLst>
              </a:tr>
            </a:tbl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016A578D-09CD-4690-50DB-488654E4DED8}"/>
              </a:ext>
            </a:extLst>
          </p:cNvPr>
          <p:cNvSpPr txBox="1"/>
          <p:nvPr/>
        </p:nvSpPr>
        <p:spPr>
          <a:xfrm>
            <a:off x="571500" y="394949"/>
            <a:ext cx="11280530" cy="46166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Calibri"/>
              <a:buNone/>
              <a:tabLst/>
              <a:defRPr/>
            </a:pPr>
            <a:r>
              <a:rPr lang="nb-NO" sz="2400" kern="0">
                <a:solidFill>
                  <a:srgbClr val="6B133D"/>
                </a:solidFill>
                <a:latin typeface="Brockmann"/>
                <a:ea typeface="Calibri"/>
                <a:cs typeface="Calibri"/>
                <a:sym typeface="Calibri"/>
              </a:rPr>
              <a:t>Overordnet oversikt over involveringen av Fylkeskommunene i VIGO moderniseringen</a:t>
            </a:r>
            <a:endParaRPr kumimoji="0" lang="nb-NO" sz="2400" b="0" i="0" u="none" strike="noStrike" kern="0" cap="none" spc="0" normalizeH="0" baseline="0" noProof="0">
              <a:ln>
                <a:noFill/>
              </a:ln>
              <a:solidFill>
                <a:srgbClr val="6B133D"/>
              </a:solidFill>
              <a:effectLst/>
              <a:uLnTx/>
              <a:uFillTx/>
              <a:latin typeface="Brockmann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532677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EFB6A16-6EA2-F507-4642-D68A4A33AD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Slide Number Placeholder 2">
            <a:extLst>
              <a:ext uri="{FF2B5EF4-FFF2-40B4-BE49-F238E27FC236}">
                <a16:creationId xmlns:a16="http://schemas.microsoft.com/office/drawing/2014/main" id="{9D55B45A-B4C7-1D28-0EEA-8E4E17621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92460" y="6348715"/>
            <a:ext cx="391477" cy="153889"/>
          </a:xfrm>
        </p:spPr>
        <p:txBody>
          <a:bodyPr/>
          <a:lstStyle/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E2ACD00-28B2-4D17-A930-2C9F8441C7CA}" type="slidenum">
              <a:rPr kumimoji="0" lang="nb-NO" sz="1000" b="0" i="0" u="none" strike="noStrike" kern="1200" cap="none" spc="0" normalizeH="0" baseline="0" noProof="0" smtClean="0">
                <a:ln>
                  <a:noFill/>
                </a:ln>
                <a:solidFill>
                  <a:srgbClr val="6B133D"/>
                </a:solidFill>
                <a:effectLst/>
                <a:uLnTx/>
                <a:uFillTx/>
                <a:latin typeface="Inter Medium" panose="02000603000000020004" pitchFamily="2" charset="0"/>
              </a:rPr>
              <a:pPr marL="0" marR="0" lvl="0" indent="0" algn="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srgbClr val="6B133D"/>
              </a:solidFill>
              <a:effectLst/>
              <a:uLnTx/>
              <a:uFillTx/>
              <a:latin typeface="Inter Medium" panose="02000603000000020004" pitchFamily="2" charset="0"/>
            </a:endParaRPr>
          </a:p>
        </p:txBody>
      </p:sp>
      <p:grpSp>
        <p:nvGrpSpPr>
          <p:cNvPr id="2" name="Gruppe 1">
            <a:extLst>
              <a:ext uri="{FF2B5EF4-FFF2-40B4-BE49-F238E27FC236}">
                <a16:creationId xmlns:a16="http://schemas.microsoft.com/office/drawing/2014/main" id="{43C94758-4039-0857-7243-587B888A2117}"/>
              </a:ext>
            </a:extLst>
          </p:cNvPr>
          <p:cNvGrpSpPr/>
          <p:nvPr/>
        </p:nvGrpSpPr>
        <p:grpSpPr>
          <a:xfrm>
            <a:off x="1029494" y="1806271"/>
            <a:ext cx="9524206" cy="4279966"/>
            <a:chOff x="1029494" y="1806271"/>
            <a:chExt cx="9524206" cy="4279966"/>
          </a:xfrm>
        </p:grpSpPr>
        <p:sp>
          <p:nvSpPr>
            <p:cNvPr id="4" name="Avrundet rektangel 3">
              <a:extLst>
                <a:ext uri="{FF2B5EF4-FFF2-40B4-BE49-F238E27FC236}">
                  <a16:creationId xmlns:a16="http://schemas.microsoft.com/office/drawing/2014/main" id="{F662038B-7E07-C1BD-76A2-57F3F205467E}"/>
                </a:ext>
              </a:extLst>
            </p:cNvPr>
            <p:cNvSpPr/>
            <p:nvPr/>
          </p:nvSpPr>
          <p:spPr>
            <a:xfrm>
              <a:off x="1029494" y="1806271"/>
              <a:ext cx="9524206" cy="1222847"/>
            </a:xfrm>
            <a:prstGeom prst="roundRect">
              <a:avLst>
                <a:gd name="adj" fmla="val 10000"/>
              </a:avLst>
            </a:prstGeom>
            <a:solidFill>
              <a:schemeClr val="bg2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6" name="Friform 5">
              <a:extLst>
                <a:ext uri="{FF2B5EF4-FFF2-40B4-BE49-F238E27FC236}">
                  <a16:creationId xmlns:a16="http://schemas.microsoft.com/office/drawing/2014/main" id="{6B19107C-44F0-5C47-906F-FAAB0E34725E}"/>
                </a:ext>
              </a:extLst>
            </p:cNvPr>
            <p:cNvSpPr/>
            <p:nvPr/>
          </p:nvSpPr>
          <p:spPr>
            <a:xfrm>
              <a:off x="2441882" y="1806271"/>
              <a:ext cx="8111817" cy="1222847"/>
            </a:xfrm>
            <a:custGeom>
              <a:avLst/>
              <a:gdLst>
                <a:gd name="connsiteX0" fmla="*/ 0 w 6209198"/>
                <a:gd name="connsiteY0" fmla="*/ 0 h 1222847"/>
                <a:gd name="connsiteX1" fmla="*/ 6209198 w 6209198"/>
                <a:gd name="connsiteY1" fmla="*/ 0 h 1222847"/>
                <a:gd name="connsiteX2" fmla="*/ 6209198 w 6209198"/>
                <a:gd name="connsiteY2" fmla="*/ 1222847 h 1222847"/>
                <a:gd name="connsiteX3" fmla="*/ 0 w 6209198"/>
                <a:gd name="connsiteY3" fmla="*/ 1222847 h 1222847"/>
                <a:gd name="connsiteX4" fmla="*/ 0 w 6209198"/>
                <a:gd name="connsiteY4" fmla="*/ 0 h 1222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09198" h="1222847">
                  <a:moveTo>
                    <a:pt x="0" y="0"/>
                  </a:moveTo>
                  <a:lnTo>
                    <a:pt x="6209198" y="0"/>
                  </a:lnTo>
                  <a:lnTo>
                    <a:pt x="6209198" y="1222847"/>
                  </a:lnTo>
                  <a:lnTo>
                    <a:pt x="0" y="12228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9418" tIns="129418" rIns="129418" bIns="129418" numCol="1" spcCol="1270" anchor="ctr" anchorCtr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800" b="0" i="0" u="none" strike="noStrike" kern="1200" cap="none" spc="0" normalizeH="0" baseline="0" noProof="0">
                  <a:ln>
                    <a:noFill/>
                  </a:ln>
                  <a:solidFill>
                    <a:srgbClr val="0D0D0D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Faggruppene for de ulike områdene bistår i kartleggingen av behovene</a:t>
              </a: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D0D0D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7" name="Avrundet rektangel 6">
              <a:extLst>
                <a:ext uri="{FF2B5EF4-FFF2-40B4-BE49-F238E27FC236}">
                  <a16:creationId xmlns:a16="http://schemas.microsoft.com/office/drawing/2014/main" id="{4BDEC64C-2AE8-A535-DE45-98EA2FE77D8F}"/>
                </a:ext>
              </a:extLst>
            </p:cNvPr>
            <p:cNvSpPr/>
            <p:nvPr/>
          </p:nvSpPr>
          <p:spPr>
            <a:xfrm>
              <a:off x="1029494" y="3334831"/>
              <a:ext cx="9524206" cy="1222847"/>
            </a:xfrm>
            <a:prstGeom prst="roundRect">
              <a:avLst>
                <a:gd name="adj" fmla="val 1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   </a:t>
              </a:r>
            </a:p>
          </p:txBody>
        </p:sp>
        <p:sp>
          <p:nvSpPr>
            <p:cNvPr id="8" name="Rektangel 7" descr="Dele med heldekkende fyll">
              <a:extLst>
                <a:ext uri="{FF2B5EF4-FFF2-40B4-BE49-F238E27FC236}">
                  <a16:creationId xmlns:a16="http://schemas.microsoft.com/office/drawing/2014/main" id="{1C50E769-57FC-7967-A261-1C3E981D65A0}"/>
                </a:ext>
              </a:extLst>
            </p:cNvPr>
            <p:cNvSpPr/>
            <p:nvPr/>
          </p:nvSpPr>
          <p:spPr>
            <a:xfrm>
              <a:off x="1399405" y="3609971"/>
              <a:ext cx="672566" cy="672566"/>
            </a:xfrm>
            <a:prstGeom prst="rect">
              <a:avLst/>
            </a:pr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9" name="Friform 8">
              <a:extLst>
                <a:ext uri="{FF2B5EF4-FFF2-40B4-BE49-F238E27FC236}">
                  <a16:creationId xmlns:a16="http://schemas.microsoft.com/office/drawing/2014/main" id="{E5E882EE-997D-F7E3-46D3-D271F24E0D32}"/>
                </a:ext>
              </a:extLst>
            </p:cNvPr>
            <p:cNvSpPr/>
            <p:nvPr/>
          </p:nvSpPr>
          <p:spPr>
            <a:xfrm>
              <a:off x="2441883" y="3334831"/>
              <a:ext cx="8111816" cy="1222847"/>
            </a:xfrm>
            <a:custGeom>
              <a:avLst/>
              <a:gdLst>
                <a:gd name="connsiteX0" fmla="*/ 0 w 6209198"/>
                <a:gd name="connsiteY0" fmla="*/ 0 h 1222847"/>
                <a:gd name="connsiteX1" fmla="*/ 6209198 w 6209198"/>
                <a:gd name="connsiteY1" fmla="*/ 0 h 1222847"/>
                <a:gd name="connsiteX2" fmla="*/ 6209198 w 6209198"/>
                <a:gd name="connsiteY2" fmla="*/ 1222847 h 1222847"/>
                <a:gd name="connsiteX3" fmla="*/ 0 w 6209198"/>
                <a:gd name="connsiteY3" fmla="*/ 1222847 h 1222847"/>
                <a:gd name="connsiteX4" fmla="*/ 0 w 6209198"/>
                <a:gd name="connsiteY4" fmla="*/ 0 h 1222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09198" h="1222847">
                  <a:moveTo>
                    <a:pt x="0" y="0"/>
                  </a:moveTo>
                  <a:lnTo>
                    <a:pt x="6209198" y="0"/>
                  </a:lnTo>
                  <a:lnTo>
                    <a:pt x="6209198" y="1222847"/>
                  </a:lnTo>
                  <a:lnTo>
                    <a:pt x="0" y="12228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9418" tIns="129418" rIns="129418" bIns="129418" numCol="1" spcCol="1270" anchor="ctr" anchorCtr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800" b="0" i="0" u="none" strike="noStrike" kern="1200" cap="none" spc="0" normalizeH="0" baseline="0" noProof="0">
                  <a:ln>
                    <a:noFill/>
                  </a:ln>
                  <a:solidFill>
                    <a:srgbClr val="0D0D0D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Referansegrupper med involvering av alle fylker</a:t>
              </a: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D0D0D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0" name="Avrundet rektangel 9">
              <a:extLst>
                <a:ext uri="{FF2B5EF4-FFF2-40B4-BE49-F238E27FC236}">
                  <a16:creationId xmlns:a16="http://schemas.microsoft.com/office/drawing/2014/main" id="{BD99CB3F-311C-5415-92D9-A6A4A69A3C0E}"/>
                </a:ext>
              </a:extLst>
            </p:cNvPr>
            <p:cNvSpPr/>
            <p:nvPr/>
          </p:nvSpPr>
          <p:spPr>
            <a:xfrm>
              <a:off x="1029494" y="4863390"/>
              <a:ext cx="9524206" cy="1222847"/>
            </a:xfrm>
            <a:prstGeom prst="roundRect">
              <a:avLst>
                <a:gd name="adj" fmla="val 1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D0D0D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1" name="Rektangel 10" descr="Gruppe idédugnad med heldekkende fyll">
              <a:extLst>
                <a:ext uri="{FF2B5EF4-FFF2-40B4-BE49-F238E27FC236}">
                  <a16:creationId xmlns:a16="http://schemas.microsoft.com/office/drawing/2014/main" id="{4975FF0D-43B0-0835-AF43-CED4D86D9DA9}"/>
                </a:ext>
              </a:extLst>
            </p:cNvPr>
            <p:cNvSpPr/>
            <p:nvPr/>
          </p:nvSpPr>
          <p:spPr>
            <a:xfrm>
              <a:off x="1399405" y="5138531"/>
              <a:ext cx="672566" cy="672566"/>
            </a:xfrm>
            <a:prstGeom prst="rect">
              <a:avLst/>
            </a:pr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2" name="Friform 11">
              <a:extLst>
                <a:ext uri="{FF2B5EF4-FFF2-40B4-BE49-F238E27FC236}">
                  <a16:creationId xmlns:a16="http://schemas.microsoft.com/office/drawing/2014/main" id="{A52147F8-3AF7-36F0-33A5-EEC19D9EBB0E}"/>
                </a:ext>
              </a:extLst>
            </p:cNvPr>
            <p:cNvSpPr/>
            <p:nvPr/>
          </p:nvSpPr>
          <p:spPr>
            <a:xfrm>
              <a:off x="2441883" y="4863390"/>
              <a:ext cx="6209198" cy="1222847"/>
            </a:xfrm>
            <a:custGeom>
              <a:avLst/>
              <a:gdLst>
                <a:gd name="connsiteX0" fmla="*/ 0 w 6209198"/>
                <a:gd name="connsiteY0" fmla="*/ 0 h 1222847"/>
                <a:gd name="connsiteX1" fmla="*/ 6209198 w 6209198"/>
                <a:gd name="connsiteY1" fmla="*/ 0 h 1222847"/>
                <a:gd name="connsiteX2" fmla="*/ 6209198 w 6209198"/>
                <a:gd name="connsiteY2" fmla="*/ 1222847 h 1222847"/>
                <a:gd name="connsiteX3" fmla="*/ 0 w 6209198"/>
                <a:gd name="connsiteY3" fmla="*/ 1222847 h 1222847"/>
                <a:gd name="connsiteX4" fmla="*/ 0 w 6209198"/>
                <a:gd name="connsiteY4" fmla="*/ 0 h 1222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09198" h="1222847">
                  <a:moveTo>
                    <a:pt x="0" y="0"/>
                  </a:moveTo>
                  <a:lnTo>
                    <a:pt x="6209198" y="0"/>
                  </a:lnTo>
                  <a:lnTo>
                    <a:pt x="6209198" y="1222847"/>
                  </a:lnTo>
                  <a:lnTo>
                    <a:pt x="0" y="12228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9418" tIns="129418" rIns="129418" bIns="129418" numCol="1" spcCol="1270" anchor="ctr" anchorCtr="0">
              <a:noAutofit/>
            </a:bodyPr>
            <a:lstStyle/>
            <a:p>
              <a:pPr marL="0" marR="0" lvl="0" indent="0" algn="l" defTabSz="11112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500" b="0" i="0" u="none" strike="noStrike" kern="1200" cap="none" spc="0" normalizeH="0" baseline="0" noProof="0">
                  <a:ln>
                    <a:noFill/>
                  </a:ln>
                  <a:solidFill>
                    <a:srgbClr val="0D0D0D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Tverrfaglige team i utviklingsfasen</a:t>
              </a:r>
              <a:endParaRPr kumimoji="0" lang="en-US" sz="2500" b="0" i="0" u="none" strike="noStrike" kern="1200" cap="none" spc="0" normalizeH="0" baseline="0" noProof="0">
                <a:ln>
                  <a:noFill/>
                </a:ln>
                <a:solidFill>
                  <a:srgbClr val="0D0D0D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</p:grpSp>
      <p:sp>
        <p:nvSpPr>
          <p:cNvPr id="3" name="Google Shape;1007;g2e0683f995c_0_0">
            <a:extLst>
              <a:ext uri="{FF2B5EF4-FFF2-40B4-BE49-F238E27FC236}">
                <a16:creationId xmlns:a16="http://schemas.microsoft.com/office/drawing/2014/main" id="{7BBF7804-5F3D-4567-E9C7-9C58D06CDDD6}"/>
              </a:ext>
            </a:extLst>
          </p:cNvPr>
          <p:cNvSpPr txBox="1">
            <a:spLocks/>
          </p:cNvSpPr>
          <p:nvPr/>
        </p:nvSpPr>
        <p:spPr>
          <a:xfrm>
            <a:off x="335550" y="771239"/>
            <a:ext cx="11520900" cy="538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Calibri"/>
              <a:buNone/>
              <a:tabLst/>
              <a:defRPr/>
            </a:pPr>
            <a:r>
              <a:rPr kumimoji="0" lang="nb-NO" sz="3600" b="0" i="0" u="none" strike="noStrike" kern="0" cap="none" spc="0" normalizeH="0" baseline="0" noProof="0">
                <a:ln>
                  <a:noFill/>
                </a:ln>
                <a:solidFill>
                  <a:srgbClr val="6B133D"/>
                </a:solidFill>
                <a:effectLst/>
                <a:uLnTx/>
                <a:uFillTx/>
                <a:latin typeface="Brockmann"/>
                <a:ea typeface="Calibri"/>
                <a:cs typeface="Calibri"/>
                <a:sym typeface="Calibri"/>
              </a:rPr>
              <a:t>Hvordan blir dere involvert i de ulike fasene fremover? </a:t>
            </a:r>
          </a:p>
        </p:txBody>
      </p:sp>
      <p:pic>
        <p:nvPicPr>
          <p:cNvPr id="14" name="Grafikk 13" descr="Kompass med heldekkende fyll">
            <a:extLst>
              <a:ext uri="{FF2B5EF4-FFF2-40B4-BE49-F238E27FC236}">
                <a16:creationId xmlns:a16="http://schemas.microsoft.com/office/drawing/2014/main" id="{5BDC5FAC-40F1-527F-152F-7E301C6B3C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81959" y="2051783"/>
            <a:ext cx="690012" cy="690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4934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C6E4C0-18A0-5054-9E79-301071B88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A27725F-C668-B403-660E-62AEB7907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4646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27725F-C668-B403-660E-62AEB7907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78B7C1F-59C6-4AD7-9FDC-1D5449644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t>15</a:t>
            </a:fld>
            <a:endParaRPr lang="nb-NO"/>
          </a:p>
        </p:txBody>
      </p:sp>
      <p:pic>
        <p:nvPicPr>
          <p:cNvPr id="8" name="Bilde 7" descr="Et bilde som inneholder sirkel, Fargerikt, skjermbilde, Grafikk&#10;&#10;KI-generert innhold kan være feil.">
            <a:extLst>
              <a:ext uri="{FF2B5EF4-FFF2-40B4-BE49-F238E27FC236}">
                <a16:creationId xmlns:a16="http://schemas.microsoft.com/office/drawing/2014/main" id="{812FF904-27D6-399E-4295-40397667A1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349" y="815489"/>
            <a:ext cx="8915302" cy="5227021"/>
          </a:xfrm>
          <a:prstGeom prst="rect">
            <a:avLst/>
          </a:prstGeom>
        </p:spPr>
      </p:pic>
      <p:sp>
        <p:nvSpPr>
          <p:cNvPr id="9" name="Avrundet rektangel 8">
            <a:extLst>
              <a:ext uri="{FF2B5EF4-FFF2-40B4-BE49-F238E27FC236}">
                <a16:creationId xmlns:a16="http://schemas.microsoft.com/office/drawing/2014/main" id="{C6A99A97-13AA-AA86-176D-F962F77C3ADC}"/>
              </a:ext>
            </a:extLst>
          </p:cNvPr>
          <p:cNvSpPr/>
          <p:nvPr/>
        </p:nvSpPr>
        <p:spPr>
          <a:xfrm>
            <a:off x="633228" y="529390"/>
            <a:ext cx="11154141" cy="5616434"/>
          </a:xfrm>
          <a:prstGeom prst="round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lnSpc>
                <a:spcPct val="111000"/>
              </a:lnSpc>
              <a:buSzPct val="120000"/>
              <a:defRPr/>
            </a:pPr>
            <a:r>
              <a:rPr lang="nb-NO" sz="3200" b="1"/>
              <a:t>Prosjektgruppen for VIGO moderniseringen</a:t>
            </a:r>
          </a:p>
          <a:p>
            <a:pPr lvl="0">
              <a:lnSpc>
                <a:spcPct val="111000"/>
              </a:lnSpc>
              <a:buSzPct val="120000"/>
              <a:defRPr/>
            </a:pPr>
            <a:r>
              <a:rPr lang="nb-NO" sz="2400" b="1">
                <a:solidFill>
                  <a:schemeClr val="bg1"/>
                </a:solidFill>
              </a:rPr>
              <a:t>Prosjektleder </a:t>
            </a:r>
            <a:r>
              <a:rPr lang="nb-NO" sz="2400">
                <a:solidFill>
                  <a:schemeClr val="bg1"/>
                </a:solidFill>
              </a:rPr>
              <a:t>- Benedicte Aas Glad</a:t>
            </a:r>
          </a:p>
          <a:p>
            <a:pPr lvl="0">
              <a:lnSpc>
                <a:spcPct val="111000"/>
              </a:lnSpc>
              <a:buSzPct val="120000"/>
              <a:defRPr/>
            </a:pPr>
            <a:r>
              <a:rPr lang="nb-NO" sz="2400" b="1">
                <a:solidFill>
                  <a:schemeClr val="bg1"/>
                </a:solidFill>
              </a:rPr>
              <a:t>Seksjonsleder utdanning </a:t>
            </a:r>
            <a:r>
              <a:rPr lang="nb-NO" sz="2400">
                <a:solidFill>
                  <a:schemeClr val="bg1"/>
                </a:solidFill>
              </a:rPr>
              <a:t>-Vigdis Margrethe Hoven </a:t>
            </a:r>
          </a:p>
          <a:p>
            <a:pPr lvl="0">
              <a:lnSpc>
                <a:spcPct val="111000"/>
              </a:lnSpc>
              <a:buSzPct val="120000"/>
              <a:defRPr/>
            </a:pPr>
            <a:r>
              <a:rPr lang="nb-NO" sz="2400" b="1">
                <a:solidFill>
                  <a:schemeClr val="bg1"/>
                </a:solidFill>
              </a:rPr>
              <a:t>Produkteier VIGO </a:t>
            </a:r>
            <a:r>
              <a:rPr lang="nb-NO" sz="2400">
                <a:solidFill>
                  <a:schemeClr val="bg1"/>
                </a:solidFill>
              </a:rPr>
              <a:t>- Jonas Bjørkå-Hjortdal </a:t>
            </a:r>
          </a:p>
          <a:p>
            <a:pPr lvl="0">
              <a:lnSpc>
                <a:spcPct val="111000"/>
              </a:lnSpc>
              <a:buSzPct val="120000"/>
              <a:defRPr/>
            </a:pPr>
            <a:r>
              <a:rPr lang="nb-NO" sz="2400" b="1">
                <a:solidFill>
                  <a:schemeClr val="bg1"/>
                </a:solidFill>
              </a:rPr>
              <a:t>Endringsledelse og kommunikasjon </a:t>
            </a:r>
            <a:r>
              <a:rPr lang="nb-NO" sz="2400">
                <a:solidFill>
                  <a:schemeClr val="bg1"/>
                </a:solidFill>
              </a:rPr>
              <a:t>- Anne Synnøve Sundsteigen</a:t>
            </a:r>
          </a:p>
          <a:p>
            <a:pPr lvl="0">
              <a:lnSpc>
                <a:spcPct val="111000"/>
              </a:lnSpc>
              <a:buSzPct val="120000"/>
              <a:defRPr/>
            </a:pPr>
            <a:r>
              <a:rPr lang="nb-NO" sz="2400" b="1">
                <a:solidFill>
                  <a:schemeClr val="bg1"/>
                </a:solidFill>
              </a:rPr>
              <a:t>Løsningsarkitekt </a:t>
            </a:r>
            <a:r>
              <a:rPr lang="nb-NO" sz="2400">
                <a:solidFill>
                  <a:schemeClr val="bg1"/>
                </a:solidFill>
              </a:rPr>
              <a:t>- Nils Winther</a:t>
            </a:r>
          </a:p>
          <a:p>
            <a:pPr lvl="0">
              <a:lnSpc>
                <a:spcPct val="111000"/>
              </a:lnSpc>
              <a:buSzPct val="120000"/>
              <a:defRPr/>
            </a:pPr>
            <a:r>
              <a:rPr lang="nb-NO" sz="2400" b="1">
                <a:solidFill>
                  <a:schemeClr val="bg1"/>
                </a:solidFill>
              </a:rPr>
              <a:t>Løsningsarkitekt </a:t>
            </a:r>
            <a:r>
              <a:rPr lang="nb-NO" sz="2400">
                <a:solidFill>
                  <a:schemeClr val="bg1"/>
                </a:solidFill>
              </a:rPr>
              <a:t>- Svenn Salvesen</a:t>
            </a:r>
          </a:p>
          <a:p>
            <a:pPr lvl="0">
              <a:lnSpc>
                <a:spcPct val="111000"/>
              </a:lnSpc>
              <a:buSzPct val="120000"/>
              <a:defRPr/>
            </a:pPr>
            <a:r>
              <a:rPr lang="nb-NO" sz="2400" b="1">
                <a:solidFill>
                  <a:schemeClr val="bg1"/>
                </a:solidFill>
              </a:rPr>
              <a:t>Sikkerhetsarkitekt </a:t>
            </a:r>
            <a:r>
              <a:rPr lang="nb-NO" sz="2400">
                <a:solidFill>
                  <a:schemeClr val="bg1"/>
                </a:solidFill>
              </a:rPr>
              <a:t>– Reza Sohizadeh</a:t>
            </a:r>
            <a:endParaRPr lang="nb-NO" sz="2400" b="1">
              <a:solidFill>
                <a:schemeClr val="bg1"/>
              </a:solidFill>
            </a:endParaRPr>
          </a:p>
          <a:p>
            <a:pPr lvl="0">
              <a:lnSpc>
                <a:spcPct val="111000"/>
              </a:lnSpc>
              <a:buSzPct val="120000"/>
              <a:defRPr/>
            </a:pPr>
            <a:r>
              <a:rPr lang="nb-NO" sz="2400" b="1">
                <a:solidFill>
                  <a:schemeClr val="bg1"/>
                </a:solidFill>
              </a:rPr>
              <a:t>VIGO Tjenesteansvarlig</a:t>
            </a:r>
            <a:r>
              <a:rPr lang="nb-NO" sz="2400">
                <a:solidFill>
                  <a:schemeClr val="bg1"/>
                </a:solidFill>
              </a:rPr>
              <a:t>- Natalia Kovalenko-Gundersen</a:t>
            </a:r>
          </a:p>
          <a:p>
            <a:pPr lvl="0">
              <a:lnSpc>
                <a:spcPct val="111000"/>
              </a:lnSpc>
              <a:buSzPct val="120000"/>
              <a:defRPr/>
            </a:pPr>
            <a:r>
              <a:rPr lang="nb-NO" sz="2400">
                <a:solidFill>
                  <a:schemeClr val="bg1"/>
                </a:solidFill>
              </a:rPr>
              <a:t>Tverrfaglige ressurser innen juridisk, personvern, arkivering og data og analyse bistår ved behov i ulike faser av prosjektet</a:t>
            </a:r>
          </a:p>
        </p:txBody>
      </p:sp>
    </p:spTree>
    <p:extLst>
      <p:ext uri="{BB962C8B-B14F-4D97-AF65-F5344CB8AC3E}">
        <p14:creationId xmlns:p14="http://schemas.microsoft.com/office/powerpoint/2010/main" val="14562250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7DFC4B-7801-B2A0-6E23-5173282A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81134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7DFC4B-7801-B2A0-6E23-5173282A3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15E8076E-6EBC-7DC3-7DCC-F9FAD03D0B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30588" y="630000"/>
            <a:ext cx="6968358" cy="4232166"/>
          </a:xfrm>
        </p:spPr>
        <p:txBody>
          <a:bodyPr vert="horz"/>
          <a:lstStyle/>
          <a:p>
            <a:r>
              <a:rPr lang="nb-NO" sz="4800"/>
              <a:t>Nettside</a:t>
            </a:r>
            <a:br>
              <a:rPr lang="nb-NO" sz="9600"/>
            </a:br>
            <a:br>
              <a:rPr lang="nb-NO" sz="9600"/>
            </a:br>
            <a:r>
              <a:rPr lang="nb-NO" sz="9600"/>
              <a:t>Novari.no</a:t>
            </a:r>
            <a:br>
              <a:rPr lang="nb-NO"/>
            </a:b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4C933B78-59C9-C183-1BCE-52A5236240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16</a:t>
            </a:fld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1638798-E0E3-8777-F465-E005FA12CE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3200" y="630000"/>
            <a:ext cx="54502" cy="245373"/>
          </a:xfrm>
        </p:spPr>
        <p:txBody>
          <a:bodyPr/>
          <a:lstStyle/>
          <a:p>
            <a:r>
              <a:rPr lang="nb-NO"/>
              <a:t> 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1442F55-9AD1-1353-3379-A50D286D4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545507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E9551C34-AE3D-4954-C69B-4A831F5CDC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8612" y="67776"/>
            <a:ext cx="8185457" cy="6722447"/>
          </a:xfrm>
          <a:prstGeom prst="rect">
            <a:avLst/>
          </a:prstGeom>
          <a:ln w="53975" cmpd="thickThin">
            <a:solidFill>
              <a:schemeClr val="accent1"/>
            </a:solidFill>
          </a:ln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3E003856-6D06-4C46-A75C-4F23840956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/>
              <a:t> 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2F474282-95AD-0099-B8B8-5C62E410FD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17</a:t>
            </a:fld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0FD7CBA-55B0-391D-95D4-11E2D26B65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3200" y="630000"/>
            <a:ext cx="54502" cy="245373"/>
          </a:xfrm>
        </p:spPr>
        <p:txBody>
          <a:bodyPr/>
          <a:lstStyle/>
          <a:p>
            <a:r>
              <a:rPr lang="nb-NO"/>
              <a:t> 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145FCD46-C60D-63AD-A8D1-C35E7455F9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040915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E11754D-5D4C-2DEB-0C79-BDF009EBB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1469346"/>
            <a:ext cx="4507706" cy="3777418"/>
          </a:xfrm>
        </p:spPr>
        <p:txBody>
          <a:bodyPr/>
          <a:lstStyle/>
          <a:p>
            <a:pPr marR="0" lvl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tabLst/>
              <a:defRPr/>
            </a:pPr>
            <a:br>
              <a:rPr kumimoji="0" lang="nb-NO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nb-NO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C6D3513-3542-0C5A-F8EE-787B86B215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9494" y="824705"/>
            <a:ext cx="4684714" cy="384721"/>
          </a:xfrm>
        </p:spPr>
        <p:txBody>
          <a:bodyPr/>
          <a:lstStyle/>
          <a:p>
            <a:r>
              <a:rPr lang="nb-NO" sz="4000">
                <a:latin typeface="Aptos" panose="02110004020202020204"/>
              </a:rPr>
              <a:t>Innhold på nettsiden:</a:t>
            </a:r>
            <a:r>
              <a:rPr lang="en-US" sz="4000"/>
              <a:t> 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6A53F92A-D387-E620-AD6C-3C9DB90EF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92460" y="6348715"/>
            <a:ext cx="391477" cy="153889"/>
          </a:xfrm>
        </p:spPr>
        <p:txBody>
          <a:bodyPr/>
          <a:lstStyle/>
          <a:p>
            <a:pPr>
              <a:spcAft>
                <a:spcPts val="600"/>
              </a:spcAft>
            </a:pPr>
            <a:fld id="{BE2ACD00-28B2-4D17-A930-2C9F8441C7CA}" type="slidenum">
              <a:rPr lang="nb-NO" smtClean="0"/>
              <a:pPr>
                <a:spcAft>
                  <a:spcPts val="600"/>
                </a:spcAft>
              </a:pPr>
              <a:t>18</a:t>
            </a:fld>
            <a:endParaRPr 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2D148238-C83C-D702-2E45-F7ED0432F46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-2" b="370"/>
          <a:stretch>
            <a:fillRect/>
          </a:stretch>
        </p:blipFill>
        <p:spPr>
          <a:xfrm>
            <a:off x="5707066" y="804190"/>
            <a:ext cx="5976934" cy="5240128"/>
          </a:xfrm>
          <a:custGeom>
            <a:avLst/>
            <a:gdLst>
              <a:gd name="connsiteX0" fmla="*/ 4770250 w 5976934"/>
              <a:gd name="connsiteY0" fmla="*/ 0 h 5240128"/>
              <a:gd name="connsiteX1" fmla="*/ 5976934 w 5976934"/>
              <a:gd name="connsiteY1" fmla="*/ 0 h 5240128"/>
              <a:gd name="connsiteX2" fmla="*/ 5976934 w 5976934"/>
              <a:gd name="connsiteY2" fmla="*/ 5240128 h 5240128"/>
              <a:gd name="connsiteX3" fmla="*/ 2617204 w 5976934"/>
              <a:gd name="connsiteY3" fmla="*/ 5240128 h 5240128"/>
              <a:gd name="connsiteX4" fmla="*/ 0 w 5976934"/>
              <a:gd name="connsiteY4" fmla="*/ 2622923 h 5240128"/>
              <a:gd name="connsiteX5" fmla="*/ 2617204 w 5976934"/>
              <a:gd name="connsiteY5" fmla="*/ 5719 h 5240128"/>
              <a:gd name="connsiteX6" fmla="*/ 4770250 w 5976934"/>
              <a:gd name="connsiteY6" fmla="*/ 5719 h 524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6934" h="5240128">
                <a:moveTo>
                  <a:pt x="4770250" y="0"/>
                </a:moveTo>
                <a:lnTo>
                  <a:pt x="5976934" y="0"/>
                </a:lnTo>
                <a:lnTo>
                  <a:pt x="5976934" y="5240128"/>
                </a:lnTo>
                <a:lnTo>
                  <a:pt x="2617204" y="5240128"/>
                </a:lnTo>
                <a:cubicBezTo>
                  <a:pt x="1171737" y="5240128"/>
                  <a:pt x="0" y="4068391"/>
                  <a:pt x="0" y="2622923"/>
                </a:cubicBezTo>
                <a:cubicBezTo>
                  <a:pt x="0" y="1177456"/>
                  <a:pt x="1171737" y="5719"/>
                  <a:pt x="2617204" y="5719"/>
                </a:cubicBezTo>
                <a:lnTo>
                  <a:pt x="4770250" y="5719"/>
                </a:lnTo>
                <a:close/>
              </a:path>
            </a:pathLst>
          </a:custGeom>
          <a:noFill/>
        </p:spPr>
      </p:pic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144D88D-BCD4-0D56-89A9-1105129F869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792460" y="6348715"/>
            <a:ext cx="391477" cy="153889"/>
          </a:xfrm>
        </p:spPr>
        <p:txBody>
          <a:bodyPr/>
          <a:lstStyle/>
          <a:p>
            <a:pPr>
              <a:spcAft>
                <a:spcPts val="600"/>
              </a:spcAft>
            </a:pPr>
            <a:fld id="{BE2ACD00-28B2-4D17-A930-2C9F8441C7CA}" type="slidenum">
              <a:rPr lang="nb-NO" smtClean="0"/>
              <a:pPr>
                <a:spcAft>
                  <a:spcPts val="600"/>
                </a:spcAft>
              </a:pPr>
              <a:t>18</a:t>
            </a:fld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0FD680D8-3728-2968-8244-184E9C02E648}"/>
              </a:ext>
            </a:extLst>
          </p:cNvPr>
          <p:cNvSpPr txBox="1"/>
          <p:nvPr/>
        </p:nvSpPr>
        <p:spPr>
          <a:xfrm>
            <a:off x="974108" y="2440502"/>
            <a:ext cx="4357589" cy="249299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accent1"/>
                </a:solidFill>
              </a:rPr>
              <a:t>Om prosjekte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accent1"/>
                </a:solidFill>
              </a:rPr>
              <a:t>Tidslinjer og milepæl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accent1"/>
                </a:solidFill>
              </a:rPr>
              <a:t>Status og fremdrif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accent1"/>
                </a:solidFill>
              </a:rPr>
              <a:t>Nyheter og kunngjøring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accent1"/>
                </a:solidFill>
              </a:rPr>
              <a:t>Delte dokument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accent1"/>
                </a:solidFill>
              </a:rPr>
              <a:t>Deltagere og roller, org kar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accent1"/>
                </a:solidFill>
              </a:rPr>
              <a:t>Medvirkning og innspill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accent1"/>
                </a:solidFill>
              </a:rPr>
              <a:t>Kontaktpersoner</a:t>
            </a:r>
            <a:br>
              <a:rPr lang="nb-NO">
                <a:solidFill>
                  <a:schemeClr val="accent1"/>
                </a:solidFill>
              </a:rPr>
            </a:br>
            <a:endParaRPr lang="nb-NO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8385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12A2D17-615D-FD0E-90A3-1AE2CF9F02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2A2D17-615D-FD0E-90A3-1AE2CF9F02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219F3AC9-8BA4-6801-E3E6-783B4A24AA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9494" y="1554162"/>
            <a:ext cx="10154444" cy="3678237"/>
          </a:xfrm>
        </p:spPr>
        <p:txBody>
          <a:bodyPr vert="horz"/>
          <a:lstStyle/>
          <a:p>
            <a:r>
              <a:rPr lang="nb-NO" sz="4400">
                <a:solidFill>
                  <a:schemeClr val="accent1"/>
                </a:solidFill>
              </a:rPr>
              <a:t>Alle spørsmål angående VIGO moderniseringen kan rettes til:</a:t>
            </a:r>
            <a:br>
              <a:rPr lang="nb-NO" sz="4400">
                <a:solidFill>
                  <a:schemeClr val="accent1"/>
                </a:solidFill>
              </a:rPr>
            </a:br>
            <a:br>
              <a:rPr lang="nb-NO" sz="3600">
                <a:solidFill>
                  <a:schemeClr val="accent1"/>
                </a:solidFill>
              </a:rPr>
            </a:br>
            <a:r>
              <a:rPr lang="nb-NO" sz="3600">
                <a:solidFill>
                  <a:schemeClr val="accent1"/>
                </a:solidFill>
              </a:rPr>
              <a:t>Anne Synnøve Sundsteigen</a:t>
            </a:r>
            <a:br>
              <a:rPr lang="nb-NO" sz="3600">
                <a:solidFill>
                  <a:schemeClr val="accent1"/>
                </a:solidFill>
              </a:rPr>
            </a:br>
            <a:r>
              <a:rPr lang="nb-NO" sz="3600">
                <a:solidFill>
                  <a:schemeClr val="accent1"/>
                </a:solidFill>
              </a:rPr>
              <a:t>anne.synnove.sundsteigen@novari.no</a:t>
            </a:r>
            <a:br>
              <a:rPr lang="nb-NO">
                <a:solidFill>
                  <a:schemeClr val="accent1"/>
                </a:solidFill>
              </a:rPr>
            </a:br>
            <a:br>
              <a:rPr lang="nb-NO">
                <a:solidFill>
                  <a:schemeClr val="accent1"/>
                </a:solidFill>
              </a:rPr>
            </a:br>
            <a:endParaRPr lang="nb-NO">
              <a:solidFill>
                <a:schemeClr val="accent1"/>
              </a:solidFill>
            </a:endParaRP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E15916A-B3D1-4C45-AF44-61B30382D0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2ACD00-28B2-4D17-A930-2C9F8441C7CA}" type="slidenum">
              <a:rPr kumimoji="0" lang="nb-NO" sz="1000" b="0" i="0" u="none" strike="noStrike" kern="1200" cap="none" spc="0" normalizeH="0" baseline="0" noProof="0" smtClean="0">
                <a:ln>
                  <a:noFill/>
                </a:ln>
                <a:solidFill>
                  <a:srgbClr val="6B133D"/>
                </a:solidFill>
                <a:effectLst/>
                <a:uLnTx/>
                <a:uFillTx/>
                <a:latin typeface="Inter Medium" panose="02000603000000020004" pitchFamily="2" charset="0"/>
              </a:rPr>
              <a:pPr marL="0" marR="0" lvl="0" indent="0" algn="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srgbClr val="6B133D"/>
              </a:solidFill>
              <a:effectLst/>
              <a:uLnTx/>
              <a:uFillTx/>
              <a:latin typeface="Inter Medium" panose="020006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8355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Slide Number Placeholder 2">
            <a:extLst>
              <a:ext uri="{FF2B5EF4-FFF2-40B4-BE49-F238E27FC236}">
                <a16:creationId xmlns:a16="http://schemas.microsoft.com/office/drawing/2014/main" id="{863334C0-03EF-8208-60B2-8DCCA28C1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92460" y="6348715"/>
            <a:ext cx="391477" cy="153889"/>
          </a:xfrm>
        </p:spPr>
        <p:txBody>
          <a:bodyPr/>
          <a:lstStyle/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E2ACD00-28B2-4D17-A930-2C9F8441C7CA}" type="slidenum">
              <a:rPr kumimoji="0" lang="nb-NO" sz="1000" b="0" i="0" u="none" strike="noStrike" kern="1200" cap="none" spc="0" normalizeH="0" baseline="0" noProof="0" smtClean="0">
                <a:ln>
                  <a:noFill/>
                </a:ln>
                <a:solidFill>
                  <a:srgbClr val="6B133D"/>
                </a:solidFill>
                <a:effectLst/>
                <a:uLnTx/>
                <a:uFillTx/>
                <a:latin typeface="Inter Medium" panose="02000603000000020004" pitchFamily="2" charset="0"/>
              </a:rPr>
              <a:pPr marL="0" marR="0" lvl="0" indent="0" algn="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srgbClr val="6B133D"/>
              </a:solidFill>
              <a:effectLst/>
              <a:uLnTx/>
              <a:uFillTx/>
              <a:latin typeface="Inter Medium" panose="02000603000000020004" pitchFamily="2" charset="0"/>
            </a:endParaRPr>
          </a:p>
        </p:txBody>
      </p:sp>
      <p:graphicFrame>
        <p:nvGraphicFramePr>
          <p:cNvPr id="503" name="TekstSylinder 5">
            <a:extLst>
              <a:ext uri="{FF2B5EF4-FFF2-40B4-BE49-F238E27FC236}">
                <a16:creationId xmlns:a16="http://schemas.microsoft.com/office/drawing/2014/main" id="{1BF7A599-9884-A8CE-5AEE-D0EE872BD8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3749498"/>
              </p:ext>
            </p:extLst>
          </p:nvPr>
        </p:nvGraphicFramePr>
        <p:xfrm>
          <a:off x="510232" y="1481036"/>
          <a:ext cx="7621588" cy="428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Google Shape;1007;g2e0683f995c_0_0">
            <a:extLst>
              <a:ext uri="{FF2B5EF4-FFF2-40B4-BE49-F238E27FC236}">
                <a16:creationId xmlns:a16="http://schemas.microsoft.com/office/drawing/2014/main" id="{3DBF386A-29FA-A66D-8798-85EB2D2D5093}"/>
              </a:ext>
            </a:extLst>
          </p:cNvPr>
          <p:cNvSpPr txBox="1">
            <a:spLocks/>
          </p:cNvSpPr>
          <p:nvPr/>
        </p:nvSpPr>
        <p:spPr>
          <a:xfrm>
            <a:off x="510232" y="355396"/>
            <a:ext cx="11520900" cy="538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Calibri"/>
              <a:buNone/>
              <a:tabLst/>
              <a:defRPr/>
            </a:pPr>
            <a:r>
              <a:rPr kumimoji="0" lang="nb-NO" sz="3600" b="0" i="0" u="none" strike="noStrike" kern="0" cap="none" spc="0" normalizeH="0" baseline="0" noProof="0">
                <a:ln>
                  <a:noFill/>
                </a:ln>
                <a:solidFill>
                  <a:srgbClr val="6B133D"/>
                </a:solidFill>
                <a:effectLst/>
                <a:uLnTx/>
                <a:uFillTx/>
                <a:latin typeface="Brockmann"/>
                <a:ea typeface="Calibri"/>
                <a:cs typeface="Calibri"/>
                <a:sym typeface="Calibri"/>
              </a:rPr>
              <a:t>Agenda, informasjonsmøte 29. oktober 2025</a:t>
            </a:r>
          </a:p>
        </p:txBody>
      </p:sp>
      <p:grpSp>
        <p:nvGrpSpPr>
          <p:cNvPr id="7" name="Google Shape;14105;p81">
            <a:extLst>
              <a:ext uri="{FF2B5EF4-FFF2-40B4-BE49-F238E27FC236}">
                <a16:creationId xmlns:a16="http://schemas.microsoft.com/office/drawing/2014/main" id="{E10B863D-AE4E-69C6-1926-CA8E1797737F}"/>
              </a:ext>
            </a:extLst>
          </p:cNvPr>
          <p:cNvGrpSpPr/>
          <p:nvPr/>
        </p:nvGrpSpPr>
        <p:grpSpPr>
          <a:xfrm>
            <a:off x="9075780" y="2624520"/>
            <a:ext cx="2468520" cy="1994044"/>
            <a:chOff x="546150" y="238125"/>
            <a:chExt cx="6527700" cy="5238750"/>
          </a:xfrm>
        </p:grpSpPr>
        <p:sp>
          <p:nvSpPr>
            <p:cNvPr id="8" name="Google Shape;14106;p81">
              <a:extLst>
                <a:ext uri="{FF2B5EF4-FFF2-40B4-BE49-F238E27FC236}">
                  <a16:creationId xmlns:a16="http://schemas.microsoft.com/office/drawing/2014/main" id="{08B268B6-701E-F0B6-5817-31EF331512F2}"/>
                </a:ext>
              </a:extLst>
            </p:cNvPr>
            <p:cNvSpPr/>
            <p:nvPr/>
          </p:nvSpPr>
          <p:spPr>
            <a:xfrm>
              <a:off x="1029075" y="4567175"/>
              <a:ext cx="4062125" cy="145150"/>
            </a:xfrm>
            <a:custGeom>
              <a:avLst/>
              <a:gdLst/>
              <a:ahLst/>
              <a:cxnLst/>
              <a:rect l="l" t="t" r="r" b="b"/>
              <a:pathLst>
                <a:path w="162485" h="5806" extrusionOk="0">
                  <a:moveTo>
                    <a:pt x="3870" y="1451"/>
                  </a:moveTo>
                  <a:lnTo>
                    <a:pt x="2212" y="1693"/>
                  </a:lnTo>
                  <a:lnTo>
                    <a:pt x="1520" y="1832"/>
                  </a:lnTo>
                  <a:lnTo>
                    <a:pt x="968" y="1970"/>
                  </a:lnTo>
                  <a:lnTo>
                    <a:pt x="553" y="2074"/>
                  </a:lnTo>
                  <a:lnTo>
                    <a:pt x="242" y="2212"/>
                  </a:lnTo>
                  <a:lnTo>
                    <a:pt x="35" y="2350"/>
                  </a:lnTo>
                  <a:lnTo>
                    <a:pt x="0" y="2419"/>
                  </a:lnTo>
                  <a:lnTo>
                    <a:pt x="0" y="2488"/>
                  </a:lnTo>
                  <a:lnTo>
                    <a:pt x="0" y="2557"/>
                  </a:lnTo>
                  <a:lnTo>
                    <a:pt x="35" y="2592"/>
                  </a:lnTo>
                  <a:lnTo>
                    <a:pt x="207" y="2730"/>
                  </a:lnTo>
                  <a:lnTo>
                    <a:pt x="518" y="2868"/>
                  </a:lnTo>
                  <a:lnTo>
                    <a:pt x="898" y="2972"/>
                  </a:lnTo>
                  <a:lnTo>
                    <a:pt x="1417" y="3110"/>
                  </a:lnTo>
                  <a:lnTo>
                    <a:pt x="2039" y="3214"/>
                  </a:lnTo>
                  <a:lnTo>
                    <a:pt x="3594" y="3456"/>
                  </a:lnTo>
                  <a:lnTo>
                    <a:pt x="3870" y="1451"/>
                  </a:lnTo>
                  <a:close/>
                  <a:moveTo>
                    <a:pt x="147107" y="0"/>
                  </a:moveTo>
                  <a:lnTo>
                    <a:pt x="146934" y="346"/>
                  </a:lnTo>
                  <a:lnTo>
                    <a:pt x="146830" y="518"/>
                  </a:lnTo>
                  <a:lnTo>
                    <a:pt x="146623" y="657"/>
                  </a:lnTo>
                  <a:lnTo>
                    <a:pt x="146346" y="829"/>
                  </a:lnTo>
                  <a:lnTo>
                    <a:pt x="146001" y="968"/>
                  </a:lnTo>
                  <a:lnTo>
                    <a:pt x="145828" y="2903"/>
                  </a:lnTo>
                  <a:lnTo>
                    <a:pt x="145828" y="3663"/>
                  </a:lnTo>
                  <a:lnTo>
                    <a:pt x="145828" y="4251"/>
                  </a:lnTo>
                  <a:lnTo>
                    <a:pt x="150977" y="3940"/>
                  </a:lnTo>
                  <a:lnTo>
                    <a:pt x="155469" y="3594"/>
                  </a:lnTo>
                  <a:lnTo>
                    <a:pt x="159270" y="3248"/>
                  </a:lnTo>
                  <a:lnTo>
                    <a:pt x="160860" y="3076"/>
                  </a:lnTo>
                  <a:lnTo>
                    <a:pt x="162277" y="2903"/>
                  </a:lnTo>
                  <a:lnTo>
                    <a:pt x="162484" y="899"/>
                  </a:lnTo>
                  <a:lnTo>
                    <a:pt x="161171" y="795"/>
                  </a:lnTo>
                  <a:lnTo>
                    <a:pt x="159650" y="657"/>
                  </a:lnTo>
                  <a:lnTo>
                    <a:pt x="156126" y="415"/>
                  </a:lnTo>
                  <a:lnTo>
                    <a:pt x="151910" y="207"/>
                  </a:lnTo>
                  <a:lnTo>
                    <a:pt x="147107" y="0"/>
                  </a:lnTo>
                  <a:close/>
                  <a:moveTo>
                    <a:pt x="18073" y="380"/>
                  </a:moveTo>
                  <a:lnTo>
                    <a:pt x="12959" y="657"/>
                  </a:lnTo>
                  <a:lnTo>
                    <a:pt x="8605" y="968"/>
                  </a:lnTo>
                  <a:lnTo>
                    <a:pt x="7913" y="3905"/>
                  </a:lnTo>
                  <a:lnTo>
                    <a:pt x="10298" y="4112"/>
                  </a:lnTo>
                  <a:lnTo>
                    <a:pt x="12924" y="4285"/>
                  </a:lnTo>
                  <a:lnTo>
                    <a:pt x="15827" y="4458"/>
                  </a:lnTo>
                  <a:lnTo>
                    <a:pt x="18971" y="4631"/>
                  </a:lnTo>
                  <a:lnTo>
                    <a:pt x="18591" y="2972"/>
                  </a:lnTo>
                  <a:lnTo>
                    <a:pt x="18384" y="2074"/>
                  </a:lnTo>
                  <a:lnTo>
                    <a:pt x="18073" y="380"/>
                  </a:lnTo>
                  <a:close/>
                  <a:moveTo>
                    <a:pt x="137085" y="2454"/>
                  </a:moveTo>
                  <a:lnTo>
                    <a:pt x="133768" y="2730"/>
                  </a:lnTo>
                  <a:lnTo>
                    <a:pt x="130070" y="2972"/>
                  </a:lnTo>
                  <a:lnTo>
                    <a:pt x="129759" y="3663"/>
                  </a:lnTo>
                  <a:lnTo>
                    <a:pt x="129483" y="4285"/>
                  </a:lnTo>
                  <a:lnTo>
                    <a:pt x="129241" y="5011"/>
                  </a:lnTo>
                  <a:lnTo>
                    <a:pt x="137154" y="4700"/>
                  </a:lnTo>
                  <a:lnTo>
                    <a:pt x="137085" y="3663"/>
                  </a:lnTo>
                  <a:lnTo>
                    <a:pt x="137085" y="2454"/>
                  </a:lnTo>
                  <a:close/>
                  <a:moveTo>
                    <a:pt x="25295" y="69"/>
                  </a:moveTo>
                  <a:lnTo>
                    <a:pt x="23913" y="104"/>
                  </a:lnTo>
                  <a:lnTo>
                    <a:pt x="24259" y="4838"/>
                  </a:lnTo>
                  <a:lnTo>
                    <a:pt x="30064" y="5045"/>
                  </a:lnTo>
                  <a:lnTo>
                    <a:pt x="36353" y="5253"/>
                  </a:lnTo>
                  <a:lnTo>
                    <a:pt x="43057" y="5425"/>
                  </a:lnTo>
                  <a:lnTo>
                    <a:pt x="50176" y="5564"/>
                  </a:lnTo>
                  <a:lnTo>
                    <a:pt x="57640" y="5667"/>
                  </a:lnTo>
                  <a:lnTo>
                    <a:pt x="65450" y="5736"/>
                  </a:lnTo>
                  <a:lnTo>
                    <a:pt x="73501" y="5806"/>
                  </a:lnTo>
                  <a:lnTo>
                    <a:pt x="81830" y="5806"/>
                  </a:lnTo>
                  <a:lnTo>
                    <a:pt x="92231" y="5771"/>
                  </a:lnTo>
                  <a:lnTo>
                    <a:pt x="102321" y="5667"/>
                  </a:lnTo>
                  <a:lnTo>
                    <a:pt x="112032" y="5495"/>
                  </a:lnTo>
                  <a:lnTo>
                    <a:pt x="121224" y="5253"/>
                  </a:lnTo>
                  <a:lnTo>
                    <a:pt x="121535" y="3318"/>
                  </a:lnTo>
                  <a:lnTo>
                    <a:pt x="115142" y="3525"/>
                  </a:lnTo>
                  <a:lnTo>
                    <a:pt x="108300" y="3629"/>
                  </a:lnTo>
                  <a:lnTo>
                    <a:pt x="101216" y="3698"/>
                  </a:lnTo>
                  <a:lnTo>
                    <a:pt x="93890" y="3732"/>
                  </a:lnTo>
                  <a:lnTo>
                    <a:pt x="88153" y="3732"/>
                  </a:lnTo>
                  <a:lnTo>
                    <a:pt x="82417" y="3698"/>
                  </a:lnTo>
                  <a:lnTo>
                    <a:pt x="76715" y="3629"/>
                  </a:lnTo>
                  <a:lnTo>
                    <a:pt x="71082" y="3525"/>
                  </a:lnTo>
                  <a:lnTo>
                    <a:pt x="65588" y="3421"/>
                  </a:lnTo>
                  <a:lnTo>
                    <a:pt x="60266" y="3283"/>
                  </a:lnTo>
                  <a:lnTo>
                    <a:pt x="55152" y="3110"/>
                  </a:lnTo>
                  <a:lnTo>
                    <a:pt x="50314" y="2937"/>
                  </a:lnTo>
                  <a:lnTo>
                    <a:pt x="45753" y="2730"/>
                  </a:lnTo>
                  <a:lnTo>
                    <a:pt x="41571" y="2523"/>
                  </a:lnTo>
                  <a:lnTo>
                    <a:pt x="37805" y="2281"/>
                  </a:lnTo>
                  <a:lnTo>
                    <a:pt x="34487" y="2039"/>
                  </a:lnTo>
                  <a:lnTo>
                    <a:pt x="31619" y="1797"/>
                  </a:lnTo>
                  <a:lnTo>
                    <a:pt x="29338" y="1521"/>
                  </a:lnTo>
                  <a:lnTo>
                    <a:pt x="28405" y="1382"/>
                  </a:lnTo>
                  <a:lnTo>
                    <a:pt x="27645" y="1210"/>
                  </a:lnTo>
                  <a:lnTo>
                    <a:pt x="27023" y="1071"/>
                  </a:lnTo>
                  <a:lnTo>
                    <a:pt x="26574" y="933"/>
                  </a:lnTo>
                  <a:lnTo>
                    <a:pt x="26228" y="760"/>
                  </a:lnTo>
                  <a:lnTo>
                    <a:pt x="25883" y="588"/>
                  </a:lnTo>
                  <a:lnTo>
                    <a:pt x="25572" y="346"/>
                  </a:lnTo>
                  <a:lnTo>
                    <a:pt x="25295" y="69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9" name="Google Shape;14107;p81">
              <a:extLst>
                <a:ext uri="{FF2B5EF4-FFF2-40B4-BE49-F238E27FC236}">
                  <a16:creationId xmlns:a16="http://schemas.microsoft.com/office/drawing/2014/main" id="{224458B0-4C48-1087-EF8B-8AA721590C96}"/>
                </a:ext>
              </a:extLst>
            </p:cNvPr>
            <p:cNvSpPr/>
            <p:nvPr/>
          </p:nvSpPr>
          <p:spPr>
            <a:xfrm>
              <a:off x="4260075" y="4628500"/>
              <a:ext cx="197875" cy="63950"/>
            </a:xfrm>
            <a:custGeom>
              <a:avLst/>
              <a:gdLst/>
              <a:ahLst/>
              <a:cxnLst/>
              <a:rect l="l" t="t" r="r" b="b"/>
              <a:pathLst>
                <a:path w="7915" h="2558" fill="none" extrusionOk="0">
                  <a:moveTo>
                    <a:pt x="7845" y="1"/>
                  </a:moveTo>
                  <a:lnTo>
                    <a:pt x="7845" y="1"/>
                  </a:lnTo>
                  <a:lnTo>
                    <a:pt x="4528" y="277"/>
                  </a:lnTo>
                  <a:lnTo>
                    <a:pt x="830" y="519"/>
                  </a:lnTo>
                  <a:lnTo>
                    <a:pt x="830" y="519"/>
                  </a:lnTo>
                  <a:lnTo>
                    <a:pt x="519" y="1210"/>
                  </a:lnTo>
                  <a:lnTo>
                    <a:pt x="519" y="1210"/>
                  </a:lnTo>
                  <a:lnTo>
                    <a:pt x="243" y="1832"/>
                  </a:lnTo>
                  <a:lnTo>
                    <a:pt x="1" y="2558"/>
                  </a:lnTo>
                  <a:lnTo>
                    <a:pt x="1" y="2558"/>
                  </a:lnTo>
                  <a:lnTo>
                    <a:pt x="7914" y="2247"/>
                  </a:lnTo>
                  <a:lnTo>
                    <a:pt x="7914" y="2247"/>
                  </a:lnTo>
                  <a:lnTo>
                    <a:pt x="7845" y="1210"/>
                  </a:lnTo>
                  <a:lnTo>
                    <a:pt x="784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0" name="Google Shape;14108;p81">
              <a:extLst>
                <a:ext uri="{FF2B5EF4-FFF2-40B4-BE49-F238E27FC236}">
                  <a16:creationId xmlns:a16="http://schemas.microsoft.com/office/drawing/2014/main" id="{5FC84105-62E1-FE12-E4F4-F08A3B101708}"/>
                </a:ext>
              </a:extLst>
            </p:cNvPr>
            <p:cNvSpPr/>
            <p:nvPr/>
          </p:nvSpPr>
          <p:spPr>
            <a:xfrm>
              <a:off x="1029075" y="4603450"/>
              <a:ext cx="96775" cy="50125"/>
            </a:xfrm>
            <a:custGeom>
              <a:avLst/>
              <a:gdLst/>
              <a:ahLst/>
              <a:cxnLst/>
              <a:rect l="l" t="t" r="r" b="b"/>
              <a:pathLst>
                <a:path w="3871" h="2005" fill="none" extrusionOk="0">
                  <a:moveTo>
                    <a:pt x="3870" y="0"/>
                  </a:moveTo>
                  <a:lnTo>
                    <a:pt x="3870" y="0"/>
                  </a:lnTo>
                  <a:lnTo>
                    <a:pt x="2212" y="242"/>
                  </a:lnTo>
                  <a:lnTo>
                    <a:pt x="1520" y="381"/>
                  </a:lnTo>
                  <a:lnTo>
                    <a:pt x="968" y="519"/>
                  </a:lnTo>
                  <a:lnTo>
                    <a:pt x="553" y="623"/>
                  </a:lnTo>
                  <a:lnTo>
                    <a:pt x="242" y="761"/>
                  </a:lnTo>
                  <a:lnTo>
                    <a:pt x="35" y="899"/>
                  </a:lnTo>
                  <a:lnTo>
                    <a:pt x="0" y="968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0" y="1106"/>
                  </a:lnTo>
                  <a:lnTo>
                    <a:pt x="35" y="1141"/>
                  </a:lnTo>
                  <a:lnTo>
                    <a:pt x="207" y="1279"/>
                  </a:lnTo>
                  <a:lnTo>
                    <a:pt x="518" y="1417"/>
                  </a:lnTo>
                  <a:lnTo>
                    <a:pt x="898" y="1521"/>
                  </a:lnTo>
                  <a:lnTo>
                    <a:pt x="1417" y="1659"/>
                  </a:lnTo>
                  <a:lnTo>
                    <a:pt x="2039" y="1763"/>
                  </a:lnTo>
                  <a:lnTo>
                    <a:pt x="3594" y="2005"/>
                  </a:lnTo>
                  <a:lnTo>
                    <a:pt x="3594" y="2005"/>
                  </a:lnTo>
                  <a:lnTo>
                    <a:pt x="387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1" name="Google Shape;14109;p81">
              <a:extLst>
                <a:ext uri="{FF2B5EF4-FFF2-40B4-BE49-F238E27FC236}">
                  <a16:creationId xmlns:a16="http://schemas.microsoft.com/office/drawing/2014/main" id="{7CBFD4DC-4CDE-83CC-1F46-BE784F7B2E5A}"/>
                </a:ext>
              </a:extLst>
            </p:cNvPr>
            <p:cNvSpPr/>
            <p:nvPr/>
          </p:nvSpPr>
          <p:spPr>
            <a:xfrm>
              <a:off x="1226900" y="4576675"/>
              <a:ext cx="276475" cy="106275"/>
            </a:xfrm>
            <a:custGeom>
              <a:avLst/>
              <a:gdLst/>
              <a:ahLst/>
              <a:cxnLst/>
              <a:rect l="l" t="t" r="r" b="b"/>
              <a:pathLst>
                <a:path w="11059" h="4251" fill="none" extrusionOk="0">
                  <a:moveTo>
                    <a:pt x="10160" y="0"/>
                  </a:moveTo>
                  <a:lnTo>
                    <a:pt x="10160" y="0"/>
                  </a:lnTo>
                  <a:lnTo>
                    <a:pt x="5046" y="277"/>
                  </a:lnTo>
                  <a:lnTo>
                    <a:pt x="692" y="588"/>
                  </a:lnTo>
                  <a:lnTo>
                    <a:pt x="692" y="588"/>
                  </a:lnTo>
                  <a:lnTo>
                    <a:pt x="0" y="3525"/>
                  </a:lnTo>
                  <a:lnTo>
                    <a:pt x="0" y="3525"/>
                  </a:lnTo>
                  <a:lnTo>
                    <a:pt x="2385" y="3732"/>
                  </a:lnTo>
                  <a:lnTo>
                    <a:pt x="5011" y="3905"/>
                  </a:lnTo>
                  <a:lnTo>
                    <a:pt x="7914" y="4078"/>
                  </a:lnTo>
                  <a:lnTo>
                    <a:pt x="11058" y="4251"/>
                  </a:lnTo>
                  <a:lnTo>
                    <a:pt x="11058" y="4251"/>
                  </a:lnTo>
                  <a:lnTo>
                    <a:pt x="10678" y="2592"/>
                  </a:lnTo>
                  <a:lnTo>
                    <a:pt x="10678" y="2592"/>
                  </a:lnTo>
                  <a:lnTo>
                    <a:pt x="10471" y="1694"/>
                  </a:lnTo>
                  <a:lnTo>
                    <a:pt x="1016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2" name="Google Shape;14110;p81">
              <a:extLst>
                <a:ext uri="{FF2B5EF4-FFF2-40B4-BE49-F238E27FC236}">
                  <a16:creationId xmlns:a16="http://schemas.microsoft.com/office/drawing/2014/main" id="{D4616715-4535-7D0B-B029-7C5F1AD4407D}"/>
                </a:ext>
              </a:extLst>
            </p:cNvPr>
            <p:cNvSpPr/>
            <p:nvPr/>
          </p:nvSpPr>
          <p:spPr>
            <a:xfrm>
              <a:off x="1626900" y="4568900"/>
              <a:ext cx="2440550" cy="143425"/>
            </a:xfrm>
            <a:custGeom>
              <a:avLst/>
              <a:gdLst/>
              <a:ahLst/>
              <a:cxnLst/>
              <a:rect l="l" t="t" r="r" b="b"/>
              <a:pathLst>
                <a:path w="97622" h="5737" fill="none" extrusionOk="0">
                  <a:moveTo>
                    <a:pt x="1382" y="0"/>
                  </a:moveTo>
                  <a:lnTo>
                    <a:pt x="1382" y="0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346" y="4769"/>
                  </a:lnTo>
                  <a:lnTo>
                    <a:pt x="346" y="4769"/>
                  </a:lnTo>
                  <a:lnTo>
                    <a:pt x="6151" y="4976"/>
                  </a:lnTo>
                  <a:lnTo>
                    <a:pt x="12440" y="5184"/>
                  </a:lnTo>
                  <a:lnTo>
                    <a:pt x="19144" y="5356"/>
                  </a:lnTo>
                  <a:lnTo>
                    <a:pt x="26263" y="5495"/>
                  </a:lnTo>
                  <a:lnTo>
                    <a:pt x="33727" y="5598"/>
                  </a:lnTo>
                  <a:lnTo>
                    <a:pt x="41537" y="5667"/>
                  </a:lnTo>
                  <a:lnTo>
                    <a:pt x="49588" y="5737"/>
                  </a:lnTo>
                  <a:lnTo>
                    <a:pt x="57917" y="5737"/>
                  </a:lnTo>
                  <a:lnTo>
                    <a:pt x="57917" y="5737"/>
                  </a:lnTo>
                  <a:lnTo>
                    <a:pt x="68318" y="5702"/>
                  </a:lnTo>
                  <a:lnTo>
                    <a:pt x="78408" y="5598"/>
                  </a:lnTo>
                  <a:lnTo>
                    <a:pt x="88119" y="5426"/>
                  </a:lnTo>
                  <a:lnTo>
                    <a:pt x="97311" y="5184"/>
                  </a:lnTo>
                  <a:lnTo>
                    <a:pt x="97311" y="5184"/>
                  </a:lnTo>
                  <a:lnTo>
                    <a:pt x="97622" y="3249"/>
                  </a:lnTo>
                  <a:lnTo>
                    <a:pt x="97622" y="3249"/>
                  </a:lnTo>
                  <a:lnTo>
                    <a:pt x="91229" y="3456"/>
                  </a:lnTo>
                  <a:lnTo>
                    <a:pt x="84387" y="3560"/>
                  </a:lnTo>
                  <a:lnTo>
                    <a:pt x="77303" y="3629"/>
                  </a:lnTo>
                  <a:lnTo>
                    <a:pt x="69977" y="3663"/>
                  </a:lnTo>
                  <a:lnTo>
                    <a:pt x="69977" y="3663"/>
                  </a:lnTo>
                  <a:lnTo>
                    <a:pt x="64240" y="3663"/>
                  </a:lnTo>
                  <a:lnTo>
                    <a:pt x="58504" y="3629"/>
                  </a:lnTo>
                  <a:lnTo>
                    <a:pt x="52802" y="3560"/>
                  </a:lnTo>
                  <a:lnTo>
                    <a:pt x="47169" y="3456"/>
                  </a:lnTo>
                  <a:lnTo>
                    <a:pt x="41675" y="3352"/>
                  </a:lnTo>
                  <a:lnTo>
                    <a:pt x="36353" y="3214"/>
                  </a:lnTo>
                  <a:lnTo>
                    <a:pt x="31239" y="3041"/>
                  </a:lnTo>
                  <a:lnTo>
                    <a:pt x="26401" y="2868"/>
                  </a:lnTo>
                  <a:lnTo>
                    <a:pt x="21840" y="2661"/>
                  </a:lnTo>
                  <a:lnTo>
                    <a:pt x="17658" y="2454"/>
                  </a:lnTo>
                  <a:lnTo>
                    <a:pt x="13892" y="2212"/>
                  </a:lnTo>
                  <a:lnTo>
                    <a:pt x="10574" y="1970"/>
                  </a:lnTo>
                  <a:lnTo>
                    <a:pt x="7706" y="1728"/>
                  </a:lnTo>
                  <a:lnTo>
                    <a:pt x="5425" y="1452"/>
                  </a:lnTo>
                  <a:lnTo>
                    <a:pt x="4492" y="1313"/>
                  </a:lnTo>
                  <a:lnTo>
                    <a:pt x="3732" y="1141"/>
                  </a:lnTo>
                  <a:lnTo>
                    <a:pt x="3110" y="1002"/>
                  </a:lnTo>
                  <a:lnTo>
                    <a:pt x="2661" y="864"/>
                  </a:lnTo>
                  <a:lnTo>
                    <a:pt x="2661" y="864"/>
                  </a:lnTo>
                  <a:lnTo>
                    <a:pt x="2315" y="691"/>
                  </a:lnTo>
                  <a:lnTo>
                    <a:pt x="1970" y="519"/>
                  </a:lnTo>
                  <a:lnTo>
                    <a:pt x="1659" y="277"/>
                  </a:lnTo>
                  <a:lnTo>
                    <a:pt x="138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3" name="Google Shape;14111;p81">
              <a:extLst>
                <a:ext uri="{FF2B5EF4-FFF2-40B4-BE49-F238E27FC236}">
                  <a16:creationId xmlns:a16="http://schemas.microsoft.com/office/drawing/2014/main" id="{99B08277-C35D-B42B-D3E7-E61602E6A188}"/>
                </a:ext>
              </a:extLst>
            </p:cNvPr>
            <p:cNvSpPr/>
            <p:nvPr/>
          </p:nvSpPr>
          <p:spPr>
            <a:xfrm>
              <a:off x="4674750" y="4567175"/>
              <a:ext cx="416450" cy="106275"/>
            </a:xfrm>
            <a:custGeom>
              <a:avLst/>
              <a:gdLst/>
              <a:ahLst/>
              <a:cxnLst/>
              <a:rect l="l" t="t" r="r" b="b"/>
              <a:pathLst>
                <a:path w="16658" h="4251" fill="none" extrusionOk="0">
                  <a:moveTo>
                    <a:pt x="1280" y="0"/>
                  </a:moveTo>
                  <a:lnTo>
                    <a:pt x="1280" y="0"/>
                  </a:lnTo>
                  <a:lnTo>
                    <a:pt x="1107" y="346"/>
                  </a:lnTo>
                  <a:lnTo>
                    <a:pt x="1107" y="346"/>
                  </a:lnTo>
                  <a:lnTo>
                    <a:pt x="1003" y="518"/>
                  </a:lnTo>
                  <a:lnTo>
                    <a:pt x="796" y="657"/>
                  </a:lnTo>
                  <a:lnTo>
                    <a:pt x="519" y="829"/>
                  </a:lnTo>
                  <a:lnTo>
                    <a:pt x="174" y="968"/>
                  </a:lnTo>
                  <a:lnTo>
                    <a:pt x="174" y="968"/>
                  </a:lnTo>
                  <a:lnTo>
                    <a:pt x="1" y="2903"/>
                  </a:lnTo>
                  <a:lnTo>
                    <a:pt x="1" y="3663"/>
                  </a:lnTo>
                  <a:lnTo>
                    <a:pt x="1" y="4251"/>
                  </a:lnTo>
                  <a:lnTo>
                    <a:pt x="1" y="4251"/>
                  </a:lnTo>
                  <a:lnTo>
                    <a:pt x="5150" y="3940"/>
                  </a:lnTo>
                  <a:lnTo>
                    <a:pt x="9642" y="3594"/>
                  </a:lnTo>
                  <a:lnTo>
                    <a:pt x="13443" y="3248"/>
                  </a:lnTo>
                  <a:lnTo>
                    <a:pt x="15033" y="3076"/>
                  </a:lnTo>
                  <a:lnTo>
                    <a:pt x="16450" y="2903"/>
                  </a:lnTo>
                  <a:lnTo>
                    <a:pt x="16657" y="899"/>
                  </a:lnTo>
                  <a:lnTo>
                    <a:pt x="16657" y="899"/>
                  </a:lnTo>
                  <a:lnTo>
                    <a:pt x="15344" y="795"/>
                  </a:lnTo>
                  <a:lnTo>
                    <a:pt x="13823" y="657"/>
                  </a:lnTo>
                  <a:lnTo>
                    <a:pt x="10299" y="415"/>
                  </a:lnTo>
                  <a:lnTo>
                    <a:pt x="6083" y="207"/>
                  </a:lnTo>
                  <a:lnTo>
                    <a:pt x="12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4" name="Google Shape;14112;p81">
              <a:extLst>
                <a:ext uri="{FF2B5EF4-FFF2-40B4-BE49-F238E27FC236}">
                  <a16:creationId xmlns:a16="http://schemas.microsoft.com/office/drawing/2014/main" id="{CDF1D355-D69D-90A0-08DF-678EEDC4ABF3}"/>
                </a:ext>
              </a:extLst>
            </p:cNvPr>
            <p:cNvSpPr/>
            <p:nvPr/>
          </p:nvSpPr>
          <p:spPr>
            <a:xfrm>
              <a:off x="1544825" y="238125"/>
              <a:ext cx="3225000" cy="4422375"/>
            </a:xfrm>
            <a:custGeom>
              <a:avLst/>
              <a:gdLst/>
              <a:ahLst/>
              <a:cxnLst/>
              <a:rect l="l" t="t" r="r" b="b"/>
              <a:pathLst>
                <a:path w="129000" h="176895" extrusionOk="0">
                  <a:moveTo>
                    <a:pt x="61545" y="0"/>
                  </a:moveTo>
                  <a:lnTo>
                    <a:pt x="56051" y="69"/>
                  </a:lnTo>
                  <a:lnTo>
                    <a:pt x="50591" y="173"/>
                  </a:lnTo>
                  <a:lnTo>
                    <a:pt x="45200" y="311"/>
                  </a:lnTo>
                  <a:lnTo>
                    <a:pt x="39913" y="518"/>
                  </a:lnTo>
                  <a:lnTo>
                    <a:pt x="34764" y="795"/>
                  </a:lnTo>
                  <a:lnTo>
                    <a:pt x="29822" y="1106"/>
                  </a:lnTo>
                  <a:lnTo>
                    <a:pt x="27438" y="1313"/>
                  </a:lnTo>
                  <a:lnTo>
                    <a:pt x="25123" y="1520"/>
                  </a:lnTo>
                  <a:lnTo>
                    <a:pt x="22877" y="1728"/>
                  </a:lnTo>
                  <a:lnTo>
                    <a:pt x="20699" y="1970"/>
                  </a:lnTo>
                  <a:lnTo>
                    <a:pt x="18626" y="2246"/>
                  </a:lnTo>
                  <a:lnTo>
                    <a:pt x="16622" y="2523"/>
                  </a:lnTo>
                  <a:lnTo>
                    <a:pt x="14687" y="2799"/>
                  </a:lnTo>
                  <a:lnTo>
                    <a:pt x="12855" y="3145"/>
                  </a:lnTo>
                  <a:lnTo>
                    <a:pt x="11127" y="3456"/>
                  </a:lnTo>
                  <a:lnTo>
                    <a:pt x="9503" y="3836"/>
                  </a:lnTo>
                  <a:lnTo>
                    <a:pt x="7983" y="4181"/>
                  </a:lnTo>
                  <a:lnTo>
                    <a:pt x="6600" y="4596"/>
                  </a:lnTo>
                  <a:lnTo>
                    <a:pt x="5322" y="5011"/>
                  </a:lnTo>
                  <a:lnTo>
                    <a:pt x="4147" y="5460"/>
                  </a:lnTo>
                  <a:lnTo>
                    <a:pt x="3145" y="5909"/>
                  </a:lnTo>
                  <a:lnTo>
                    <a:pt x="2661" y="6151"/>
                  </a:lnTo>
                  <a:lnTo>
                    <a:pt x="2246" y="6393"/>
                  </a:lnTo>
                  <a:lnTo>
                    <a:pt x="1866" y="6669"/>
                  </a:lnTo>
                  <a:lnTo>
                    <a:pt x="1486" y="6911"/>
                  </a:lnTo>
                  <a:lnTo>
                    <a:pt x="1175" y="7188"/>
                  </a:lnTo>
                  <a:lnTo>
                    <a:pt x="899" y="7464"/>
                  </a:lnTo>
                  <a:lnTo>
                    <a:pt x="657" y="7706"/>
                  </a:lnTo>
                  <a:lnTo>
                    <a:pt x="449" y="8017"/>
                  </a:lnTo>
                  <a:lnTo>
                    <a:pt x="277" y="8294"/>
                  </a:lnTo>
                  <a:lnTo>
                    <a:pt x="138" y="8570"/>
                  </a:lnTo>
                  <a:lnTo>
                    <a:pt x="35" y="8881"/>
                  </a:lnTo>
                  <a:lnTo>
                    <a:pt x="0" y="9192"/>
                  </a:lnTo>
                  <a:lnTo>
                    <a:pt x="0" y="9503"/>
                  </a:lnTo>
                  <a:lnTo>
                    <a:pt x="35" y="9814"/>
                  </a:lnTo>
                  <a:lnTo>
                    <a:pt x="553" y="12924"/>
                  </a:lnTo>
                  <a:lnTo>
                    <a:pt x="1037" y="16103"/>
                  </a:lnTo>
                  <a:lnTo>
                    <a:pt x="1452" y="19282"/>
                  </a:lnTo>
                  <a:lnTo>
                    <a:pt x="1866" y="22496"/>
                  </a:lnTo>
                  <a:lnTo>
                    <a:pt x="2212" y="25745"/>
                  </a:lnTo>
                  <a:lnTo>
                    <a:pt x="2523" y="29027"/>
                  </a:lnTo>
                  <a:lnTo>
                    <a:pt x="2799" y="32310"/>
                  </a:lnTo>
                  <a:lnTo>
                    <a:pt x="3041" y="35628"/>
                  </a:lnTo>
                  <a:lnTo>
                    <a:pt x="3248" y="38945"/>
                  </a:lnTo>
                  <a:lnTo>
                    <a:pt x="3421" y="42297"/>
                  </a:lnTo>
                  <a:lnTo>
                    <a:pt x="3594" y="45684"/>
                  </a:lnTo>
                  <a:lnTo>
                    <a:pt x="3698" y="49036"/>
                  </a:lnTo>
                  <a:lnTo>
                    <a:pt x="3801" y="52422"/>
                  </a:lnTo>
                  <a:lnTo>
                    <a:pt x="3870" y="55809"/>
                  </a:lnTo>
                  <a:lnTo>
                    <a:pt x="3905" y="59195"/>
                  </a:lnTo>
                  <a:lnTo>
                    <a:pt x="3940" y="62582"/>
                  </a:lnTo>
                  <a:lnTo>
                    <a:pt x="3940" y="65968"/>
                  </a:lnTo>
                  <a:lnTo>
                    <a:pt x="3905" y="69355"/>
                  </a:lnTo>
                  <a:lnTo>
                    <a:pt x="3801" y="76093"/>
                  </a:lnTo>
                  <a:lnTo>
                    <a:pt x="3663" y="82797"/>
                  </a:lnTo>
                  <a:lnTo>
                    <a:pt x="3421" y="89397"/>
                  </a:lnTo>
                  <a:lnTo>
                    <a:pt x="3179" y="95929"/>
                  </a:lnTo>
                  <a:lnTo>
                    <a:pt x="2903" y="102321"/>
                  </a:lnTo>
                  <a:lnTo>
                    <a:pt x="2281" y="114693"/>
                  </a:lnTo>
                  <a:lnTo>
                    <a:pt x="1693" y="126373"/>
                  </a:lnTo>
                  <a:lnTo>
                    <a:pt x="1452" y="131902"/>
                  </a:lnTo>
                  <a:lnTo>
                    <a:pt x="1210" y="137154"/>
                  </a:lnTo>
                  <a:lnTo>
                    <a:pt x="1071" y="142165"/>
                  </a:lnTo>
                  <a:lnTo>
                    <a:pt x="968" y="146899"/>
                  </a:lnTo>
                  <a:lnTo>
                    <a:pt x="933" y="151322"/>
                  </a:lnTo>
                  <a:lnTo>
                    <a:pt x="933" y="153430"/>
                  </a:lnTo>
                  <a:lnTo>
                    <a:pt x="968" y="155435"/>
                  </a:lnTo>
                  <a:lnTo>
                    <a:pt x="1037" y="157370"/>
                  </a:lnTo>
                  <a:lnTo>
                    <a:pt x="1141" y="159201"/>
                  </a:lnTo>
                  <a:lnTo>
                    <a:pt x="1244" y="160929"/>
                  </a:lnTo>
                  <a:lnTo>
                    <a:pt x="1417" y="162588"/>
                  </a:lnTo>
                  <a:lnTo>
                    <a:pt x="1590" y="164143"/>
                  </a:lnTo>
                  <a:lnTo>
                    <a:pt x="1797" y="165594"/>
                  </a:lnTo>
                  <a:lnTo>
                    <a:pt x="2039" y="166942"/>
                  </a:lnTo>
                  <a:lnTo>
                    <a:pt x="2315" y="168186"/>
                  </a:lnTo>
                  <a:lnTo>
                    <a:pt x="2626" y="169326"/>
                  </a:lnTo>
                  <a:lnTo>
                    <a:pt x="2972" y="170363"/>
                  </a:lnTo>
                  <a:lnTo>
                    <a:pt x="3352" y="171296"/>
                  </a:lnTo>
                  <a:lnTo>
                    <a:pt x="3559" y="171711"/>
                  </a:lnTo>
                  <a:lnTo>
                    <a:pt x="3767" y="172091"/>
                  </a:lnTo>
                  <a:lnTo>
                    <a:pt x="4009" y="172436"/>
                  </a:lnTo>
                  <a:lnTo>
                    <a:pt x="4251" y="172782"/>
                  </a:lnTo>
                  <a:lnTo>
                    <a:pt x="4493" y="173058"/>
                  </a:lnTo>
                  <a:lnTo>
                    <a:pt x="4769" y="173335"/>
                  </a:lnTo>
                  <a:lnTo>
                    <a:pt x="5045" y="173577"/>
                  </a:lnTo>
                  <a:lnTo>
                    <a:pt x="5322" y="173784"/>
                  </a:lnTo>
                  <a:lnTo>
                    <a:pt x="5633" y="173957"/>
                  </a:lnTo>
                  <a:lnTo>
                    <a:pt x="5944" y="174095"/>
                  </a:lnTo>
                  <a:lnTo>
                    <a:pt x="6359" y="174233"/>
                  </a:lnTo>
                  <a:lnTo>
                    <a:pt x="6911" y="174372"/>
                  </a:lnTo>
                  <a:lnTo>
                    <a:pt x="7637" y="174510"/>
                  </a:lnTo>
                  <a:lnTo>
                    <a:pt x="8466" y="174648"/>
                  </a:lnTo>
                  <a:lnTo>
                    <a:pt x="10574" y="174890"/>
                  </a:lnTo>
                  <a:lnTo>
                    <a:pt x="13132" y="175132"/>
                  </a:lnTo>
                  <a:lnTo>
                    <a:pt x="16138" y="175374"/>
                  </a:lnTo>
                  <a:lnTo>
                    <a:pt x="19559" y="175616"/>
                  </a:lnTo>
                  <a:lnTo>
                    <a:pt x="23360" y="175823"/>
                  </a:lnTo>
                  <a:lnTo>
                    <a:pt x="27507" y="175996"/>
                  </a:lnTo>
                  <a:lnTo>
                    <a:pt x="31930" y="176169"/>
                  </a:lnTo>
                  <a:lnTo>
                    <a:pt x="36595" y="176341"/>
                  </a:lnTo>
                  <a:lnTo>
                    <a:pt x="41502" y="176480"/>
                  </a:lnTo>
                  <a:lnTo>
                    <a:pt x="46548" y="176618"/>
                  </a:lnTo>
                  <a:lnTo>
                    <a:pt x="51766" y="176721"/>
                  </a:lnTo>
                  <a:lnTo>
                    <a:pt x="57087" y="176791"/>
                  </a:lnTo>
                  <a:lnTo>
                    <a:pt x="62478" y="176860"/>
                  </a:lnTo>
                  <a:lnTo>
                    <a:pt x="67869" y="176894"/>
                  </a:lnTo>
                  <a:lnTo>
                    <a:pt x="78616" y="176894"/>
                  </a:lnTo>
                  <a:lnTo>
                    <a:pt x="83834" y="176860"/>
                  </a:lnTo>
                  <a:lnTo>
                    <a:pt x="88983" y="176791"/>
                  </a:lnTo>
                  <a:lnTo>
                    <a:pt x="93924" y="176687"/>
                  </a:lnTo>
                  <a:lnTo>
                    <a:pt x="98659" y="176549"/>
                  </a:lnTo>
                  <a:lnTo>
                    <a:pt x="103151" y="176410"/>
                  </a:lnTo>
                  <a:lnTo>
                    <a:pt x="107367" y="176238"/>
                  </a:lnTo>
                  <a:lnTo>
                    <a:pt x="111272" y="175996"/>
                  </a:lnTo>
                  <a:lnTo>
                    <a:pt x="114831" y="175754"/>
                  </a:lnTo>
                  <a:lnTo>
                    <a:pt x="117941" y="175477"/>
                  </a:lnTo>
                  <a:lnTo>
                    <a:pt x="119358" y="175305"/>
                  </a:lnTo>
                  <a:lnTo>
                    <a:pt x="120637" y="175166"/>
                  </a:lnTo>
                  <a:lnTo>
                    <a:pt x="121811" y="174994"/>
                  </a:lnTo>
                  <a:lnTo>
                    <a:pt x="122883" y="174786"/>
                  </a:lnTo>
                  <a:lnTo>
                    <a:pt x="123816" y="174613"/>
                  </a:lnTo>
                  <a:lnTo>
                    <a:pt x="124576" y="174406"/>
                  </a:lnTo>
                  <a:lnTo>
                    <a:pt x="125232" y="174199"/>
                  </a:lnTo>
                  <a:lnTo>
                    <a:pt x="125751" y="173957"/>
                  </a:lnTo>
                  <a:lnTo>
                    <a:pt x="125958" y="173853"/>
                  </a:lnTo>
                  <a:lnTo>
                    <a:pt x="126096" y="173750"/>
                  </a:lnTo>
                  <a:lnTo>
                    <a:pt x="126235" y="173611"/>
                  </a:lnTo>
                  <a:lnTo>
                    <a:pt x="126304" y="173508"/>
                  </a:lnTo>
                  <a:lnTo>
                    <a:pt x="126442" y="173231"/>
                  </a:lnTo>
                  <a:lnTo>
                    <a:pt x="126546" y="172920"/>
                  </a:lnTo>
                  <a:lnTo>
                    <a:pt x="126788" y="172160"/>
                  </a:lnTo>
                  <a:lnTo>
                    <a:pt x="126995" y="171158"/>
                  </a:lnTo>
                  <a:lnTo>
                    <a:pt x="127202" y="169983"/>
                  </a:lnTo>
                  <a:lnTo>
                    <a:pt x="127410" y="168601"/>
                  </a:lnTo>
                  <a:lnTo>
                    <a:pt x="127582" y="167080"/>
                  </a:lnTo>
                  <a:lnTo>
                    <a:pt x="127755" y="165352"/>
                  </a:lnTo>
                  <a:lnTo>
                    <a:pt x="127928" y="163452"/>
                  </a:lnTo>
                  <a:lnTo>
                    <a:pt x="128066" y="161378"/>
                  </a:lnTo>
                  <a:lnTo>
                    <a:pt x="128204" y="159167"/>
                  </a:lnTo>
                  <a:lnTo>
                    <a:pt x="128446" y="154329"/>
                  </a:lnTo>
                  <a:lnTo>
                    <a:pt x="128654" y="148938"/>
                  </a:lnTo>
                  <a:lnTo>
                    <a:pt x="128826" y="143063"/>
                  </a:lnTo>
                  <a:lnTo>
                    <a:pt x="128930" y="136740"/>
                  </a:lnTo>
                  <a:lnTo>
                    <a:pt x="128999" y="130105"/>
                  </a:lnTo>
                  <a:lnTo>
                    <a:pt x="128999" y="123124"/>
                  </a:lnTo>
                  <a:lnTo>
                    <a:pt x="128999" y="115868"/>
                  </a:lnTo>
                  <a:lnTo>
                    <a:pt x="128930" y="108438"/>
                  </a:lnTo>
                  <a:lnTo>
                    <a:pt x="128826" y="100870"/>
                  </a:lnTo>
                  <a:lnTo>
                    <a:pt x="128688" y="93199"/>
                  </a:lnTo>
                  <a:lnTo>
                    <a:pt x="128515" y="85493"/>
                  </a:lnTo>
                  <a:lnTo>
                    <a:pt x="128273" y="77786"/>
                  </a:lnTo>
                  <a:lnTo>
                    <a:pt x="128032" y="70184"/>
                  </a:lnTo>
                  <a:lnTo>
                    <a:pt x="127721" y="62720"/>
                  </a:lnTo>
                  <a:lnTo>
                    <a:pt x="127375" y="55428"/>
                  </a:lnTo>
                  <a:lnTo>
                    <a:pt x="126995" y="48379"/>
                  </a:lnTo>
                  <a:lnTo>
                    <a:pt x="126580" y="41640"/>
                  </a:lnTo>
                  <a:lnTo>
                    <a:pt x="126131" y="35213"/>
                  </a:lnTo>
                  <a:lnTo>
                    <a:pt x="125613" y="29235"/>
                  </a:lnTo>
                  <a:lnTo>
                    <a:pt x="125371" y="26436"/>
                  </a:lnTo>
                  <a:lnTo>
                    <a:pt x="125094" y="23706"/>
                  </a:lnTo>
                  <a:lnTo>
                    <a:pt x="124818" y="21149"/>
                  </a:lnTo>
                  <a:lnTo>
                    <a:pt x="124507" y="18730"/>
                  </a:lnTo>
                  <a:lnTo>
                    <a:pt x="124196" y="16414"/>
                  </a:lnTo>
                  <a:lnTo>
                    <a:pt x="123885" y="14306"/>
                  </a:lnTo>
                  <a:lnTo>
                    <a:pt x="123574" y="12302"/>
                  </a:lnTo>
                  <a:lnTo>
                    <a:pt x="123263" y="10505"/>
                  </a:lnTo>
                  <a:lnTo>
                    <a:pt x="122917" y="8846"/>
                  </a:lnTo>
                  <a:lnTo>
                    <a:pt x="122572" y="7395"/>
                  </a:lnTo>
                  <a:lnTo>
                    <a:pt x="122226" y="6116"/>
                  </a:lnTo>
                  <a:lnTo>
                    <a:pt x="121846" y="5045"/>
                  </a:lnTo>
                  <a:lnTo>
                    <a:pt x="121673" y="4561"/>
                  </a:lnTo>
                  <a:lnTo>
                    <a:pt x="121500" y="4147"/>
                  </a:lnTo>
                  <a:lnTo>
                    <a:pt x="121293" y="3767"/>
                  </a:lnTo>
                  <a:lnTo>
                    <a:pt x="121120" y="3456"/>
                  </a:lnTo>
                  <a:lnTo>
                    <a:pt x="120913" y="3214"/>
                  </a:lnTo>
                  <a:lnTo>
                    <a:pt x="120706" y="3006"/>
                  </a:lnTo>
                  <a:lnTo>
                    <a:pt x="120533" y="2834"/>
                  </a:lnTo>
                  <a:lnTo>
                    <a:pt x="120325" y="2765"/>
                  </a:lnTo>
                  <a:lnTo>
                    <a:pt x="119842" y="2626"/>
                  </a:lnTo>
                  <a:lnTo>
                    <a:pt x="119220" y="2488"/>
                  </a:lnTo>
                  <a:lnTo>
                    <a:pt x="118425" y="2350"/>
                  </a:lnTo>
                  <a:lnTo>
                    <a:pt x="117526" y="2212"/>
                  </a:lnTo>
                  <a:lnTo>
                    <a:pt x="115315" y="1935"/>
                  </a:lnTo>
                  <a:lnTo>
                    <a:pt x="112585" y="1659"/>
                  </a:lnTo>
                  <a:lnTo>
                    <a:pt x="109406" y="1417"/>
                  </a:lnTo>
                  <a:lnTo>
                    <a:pt x="105812" y="1175"/>
                  </a:lnTo>
                  <a:lnTo>
                    <a:pt x="101872" y="933"/>
                  </a:lnTo>
                  <a:lnTo>
                    <a:pt x="97553" y="726"/>
                  </a:lnTo>
                  <a:lnTo>
                    <a:pt x="92957" y="518"/>
                  </a:lnTo>
                  <a:lnTo>
                    <a:pt x="88119" y="346"/>
                  </a:lnTo>
                  <a:lnTo>
                    <a:pt x="83074" y="207"/>
                  </a:lnTo>
                  <a:lnTo>
                    <a:pt x="77856" y="104"/>
                  </a:lnTo>
                  <a:lnTo>
                    <a:pt x="72499" y="35"/>
                  </a:lnTo>
                  <a:lnTo>
                    <a:pt x="67040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5" name="Google Shape;14113;p81">
              <a:extLst>
                <a:ext uri="{FF2B5EF4-FFF2-40B4-BE49-F238E27FC236}">
                  <a16:creationId xmlns:a16="http://schemas.microsoft.com/office/drawing/2014/main" id="{66063A95-9682-F623-73E6-466C25A40A82}"/>
                </a:ext>
              </a:extLst>
            </p:cNvPr>
            <p:cNvSpPr/>
            <p:nvPr/>
          </p:nvSpPr>
          <p:spPr>
            <a:xfrm>
              <a:off x="1544825" y="238125"/>
              <a:ext cx="3225000" cy="4422375"/>
            </a:xfrm>
            <a:custGeom>
              <a:avLst/>
              <a:gdLst/>
              <a:ahLst/>
              <a:cxnLst/>
              <a:rect l="l" t="t" r="r" b="b"/>
              <a:pathLst>
                <a:path w="129000" h="176895" fill="none" extrusionOk="0">
                  <a:moveTo>
                    <a:pt x="35" y="9814"/>
                  </a:moveTo>
                  <a:lnTo>
                    <a:pt x="35" y="9814"/>
                  </a:lnTo>
                  <a:lnTo>
                    <a:pt x="553" y="12924"/>
                  </a:lnTo>
                  <a:lnTo>
                    <a:pt x="1037" y="16103"/>
                  </a:lnTo>
                  <a:lnTo>
                    <a:pt x="1452" y="19282"/>
                  </a:lnTo>
                  <a:lnTo>
                    <a:pt x="1866" y="22496"/>
                  </a:lnTo>
                  <a:lnTo>
                    <a:pt x="2212" y="25745"/>
                  </a:lnTo>
                  <a:lnTo>
                    <a:pt x="2523" y="29027"/>
                  </a:lnTo>
                  <a:lnTo>
                    <a:pt x="2799" y="32310"/>
                  </a:lnTo>
                  <a:lnTo>
                    <a:pt x="3041" y="35628"/>
                  </a:lnTo>
                  <a:lnTo>
                    <a:pt x="3248" y="38945"/>
                  </a:lnTo>
                  <a:lnTo>
                    <a:pt x="3421" y="42297"/>
                  </a:lnTo>
                  <a:lnTo>
                    <a:pt x="3594" y="45684"/>
                  </a:lnTo>
                  <a:lnTo>
                    <a:pt x="3698" y="49036"/>
                  </a:lnTo>
                  <a:lnTo>
                    <a:pt x="3801" y="52422"/>
                  </a:lnTo>
                  <a:lnTo>
                    <a:pt x="3870" y="55809"/>
                  </a:lnTo>
                  <a:lnTo>
                    <a:pt x="3905" y="59195"/>
                  </a:lnTo>
                  <a:lnTo>
                    <a:pt x="3940" y="62582"/>
                  </a:lnTo>
                  <a:lnTo>
                    <a:pt x="3940" y="65968"/>
                  </a:lnTo>
                  <a:lnTo>
                    <a:pt x="3905" y="69355"/>
                  </a:lnTo>
                  <a:lnTo>
                    <a:pt x="3801" y="76093"/>
                  </a:lnTo>
                  <a:lnTo>
                    <a:pt x="3663" y="82797"/>
                  </a:lnTo>
                  <a:lnTo>
                    <a:pt x="3421" y="89397"/>
                  </a:lnTo>
                  <a:lnTo>
                    <a:pt x="3179" y="95929"/>
                  </a:lnTo>
                  <a:lnTo>
                    <a:pt x="2903" y="102321"/>
                  </a:lnTo>
                  <a:lnTo>
                    <a:pt x="2281" y="114693"/>
                  </a:lnTo>
                  <a:lnTo>
                    <a:pt x="1693" y="126373"/>
                  </a:lnTo>
                  <a:lnTo>
                    <a:pt x="1452" y="131902"/>
                  </a:lnTo>
                  <a:lnTo>
                    <a:pt x="1210" y="137154"/>
                  </a:lnTo>
                  <a:lnTo>
                    <a:pt x="1071" y="142165"/>
                  </a:lnTo>
                  <a:lnTo>
                    <a:pt x="968" y="146899"/>
                  </a:lnTo>
                  <a:lnTo>
                    <a:pt x="933" y="151322"/>
                  </a:lnTo>
                  <a:lnTo>
                    <a:pt x="933" y="153430"/>
                  </a:lnTo>
                  <a:lnTo>
                    <a:pt x="968" y="155435"/>
                  </a:lnTo>
                  <a:lnTo>
                    <a:pt x="1037" y="157370"/>
                  </a:lnTo>
                  <a:lnTo>
                    <a:pt x="1141" y="159201"/>
                  </a:lnTo>
                  <a:lnTo>
                    <a:pt x="1244" y="160929"/>
                  </a:lnTo>
                  <a:lnTo>
                    <a:pt x="1417" y="162588"/>
                  </a:lnTo>
                  <a:lnTo>
                    <a:pt x="1590" y="164143"/>
                  </a:lnTo>
                  <a:lnTo>
                    <a:pt x="1797" y="165594"/>
                  </a:lnTo>
                  <a:lnTo>
                    <a:pt x="2039" y="166942"/>
                  </a:lnTo>
                  <a:lnTo>
                    <a:pt x="2315" y="168186"/>
                  </a:lnTo>
                  <a:lnTo>
                    <a:pt x="2626" y="169326"/>
                  </a:lnTo>
                  <a:lnTo>
                    <a:pt x="2972" y="170363"/>
                  </a:lnTo>
                  <a:lnTo>
                    <a:pt x="3352" y="171296"/>
                  </a:lnTo>
                  <a:lnTo>
                    <a:pt x="3559" y="171711"/>
                  </a:lnTo>
                  <a:lnTo>
                    <a:pt x="3767" y="172091"/>
                  </a:lnTo>
                  <a:lnTo>
                    <a:pt x="4009" y="172436"/>
                  </a:lnTo>
                  <a:lnTo>
                    <a:pt x="4251" y="172782"/>
                  </a:lnTo>
                  <a:lnTo>
                    <a:pt x="4493" y="173058"/>
                  </a:lnTo>
                  <a:lnTo>
                    <a:pt x="4769" y="173335"/>
                  </a:lnTo>
                  <a:lnTo>
                    <a:pt x="5045" y="173577"/>
                  </a:lnTo>
                  <a:lnTo>
                    <a:pt x="5322" y="173784"/>
                  </a:lnTo>
                  <a:lnTo>
                    <a:pt x="5633" y="173957"/>
                  </a:lnTo>
                  <a:lnTo>
                    <a:pt x="5944" y="174095"/>
                  </a:lnTo>
                  <a:lnTo>
                    <a:pt x="5944" y="174095"/>
                  </a:lnTo>
                  <a:lnTo>
                    <a:pt x="6359" y="174233"/>
                  </a:lnTo>
                  <a:lnTo>
                    <a:pt x="6911" y="174372"/>
                  </a:lnTo>
                  <a:lnTo>
                    <a:pt x="7637" y="174510"/>
                  </a:lnTo>
                  <a:lnTo>
                    <a:pt x="8466" y="174648"/>
                  </a:lnTo>
                  <a:lnTo>
                    <a:pt x="10574" y="174890"/>
                  </a:lnTo>
                  <a:lnTo>
                    <a:pt x="13132" y="175132"/>
                  </a:lnTo>
                  <a:lnTo>
                    <a:pt x="16138" y="175374"/>
                  </a:lnTo>
                  <a:lnTo>
                    <a:pt x="19559" y="175616"/>
                  </a:lnTo>
                  <a:lnTo>
                    <a:pt x="23360" y="175823"/>
                  </a:lnTo>
                  <a:lnTo>
                    <a:pt x="27507" y="175996"/>
                  </a:lnTo>
                  <a:lnTo>
                    <a:pt x="31930" y="176169"/>
                  </a:lnTo>
                  <a:lnTo>
                    <a:pt x="36595" y="176341"/>
                  </a:lnTo>
                  <a:lnTo>
                    <a:pt x="41502" y="176480"/>
                  </a:lnTo>
                  <a:lnTo>
                    <a:pt x="46548" y="176618"/>
                  </a:lnTo>
                  <a:lnTo>
                    <a:pt x="51766" y="176721"/>
                  </a:lnTo>
                  <a:lnTo>
                    <a:pt x="57087" y="176791"/>
                  </a:lnTo>
                  <a:lnTo>
                    <a:pt x="62478" y="176860"/>
                  </a:lnTo>
                  <a:lnTo>
                    <a:pt x="67869" y="176894"/>
                  </a:lnTo>
                  <a:lnTo>
                    <a:pt x="73260" y="176894"/>
                  </a:lnTo>
                  <a:lnTo>
                    <a:pt x="78616" y="176894"/>
                  </a:lnTo>
                  <a:lnTo>
                    <a:pt x="83834" y="176860"/>
                  </a:lnTo>
                  <a:lnTo>
                    <a:pt x="88983" y="176791"/>
                  </a:lnTo>
                  <a:lnTo>
                    <a:pt x="93924" y="176687"/>
                  </a:lnTo>
                  <a:lnTo>
                    <a:pt x="98659" y="176549"/>
                  </a:lnTo>
                  <a:lnTo>
                    <a:pt x="103151" y="176410"/>
                  </a:lnTo>
                  <a:lnTo>
                    <a:pt x="107367" y="176238"/>
                  </a:lnTo>
                  <a:lnTo>
                    <a:pt x="111272" y="175996"/>
                  </a:lnTo>
                  <a:lnTo>
                    <a:pt x="114831" y="175754"/>
                  </a:lnTo>
                  <a:lnTo>
                    <a:pt x="117941" y="175477"/>
                  </a:lnTo>
                  <a:lnTo>
                    <a:pt x="119358" y="175305"/>
                  </a:lnTo>
                  <a:lnTo>
                    <a:pt x="120637" y="175166"/>
                  </a:lnTo>
                  <a:lnTo>
                    <a:pt x="121811" y="174994"/>
                  </a:lnTo>
                  <a:lnTo>
                    <a:pt x="122883" y="174786"/>
                  </a:lnTo>
                  <a:lnTo>
                    <a:pt x="123816" y="174613"/>
                  </a:lnTo>
                  <a:lnTo>
                    <a:pt x="124576" y="174406"/>
                  </a:lnTo>
                  <a:lnTo>
                    <a:pt x="125232" y="174199"/>
                  </a:lnTo>
                  <a:lnTo>
                    <a:pt x="125751" y="173957"/>
                  </a:lnTo>
                  <a:lnTo>
                    <a:pt x="125958" y="173853"/>
                  </a:lnTo>
                  <a:lnTo>
                    <a:pt x="126096" y="173750"/>
                  </a:lnTo>
                  <a:lnTo>
                    <a:pt x="126235" y="173611"/>
                  </a:lnTo>
                  <a:lnTo>
                    <a:pt x="126304" y="173508"/>
                  </a:lnTo>
                  <a:lnTo>
                    <a:pt x="126304" y="173508"/>
                  </a:lnTo>
                  <a:lnTo>
                    <a:pt x="126442" y="173231"/>
                  </a:lnTo>
                  <a:lnTo>
                    <a:pt x="126546" y="172920"/>
                  </a:lnTo>
                  <a:lnTo>
                    <a:pt x="126788" y="172160"/>
                  </a:lnTo>
                  <a:lnTo>
                    <a:pt x="126995" y="171158"/>
                  </a:lnTo>
                  <a:lnTo>
                    <a:pt x="127202" y="169983"/>
                  </a:lnTo>
                  <a:lnTo>
                    <a:pt x="127410" y="168601"/>
                  </a:lnTo>
                  <a:lnTo>
                    <a:pt x="127582" y="167080"/>
                  </a:lnTo>
                  <a:lnTo>
                    <a:pt x="127755" y="165352"/>
                  </a:lnTo>
                  <a:lnTo>
                    <a:pt x="127928" y="163452"/>
                  </a:lnTo>
                  <a:lnTo>
                    <a:pt x="128066" y="161378"/>
                  </a:lnTo>
                  <a:lnTo>
                    <a:pt x="128204" y="159167"/>
                  </a:lnTo>
                  <a:lnTo>
                    <a:pt x="128446" y="154329"/>
                  </a:lnTo>
                  <a:lnTo>
                    <a:pt x="128654" y="148938"/>
                  </a:lnTo>
                  <a:lnTo>
                    <a:pt x="128826" y="143063"/>
                  </a:lnTo>
                  <a:lnTo>
                    <a:pt x="128930" y="136740"/>
                  </a:lnTo>
                  <a:lnTo>
                    <a:pt x="128999" y="130105"/>
                  </a:lnTo>
                  <a:lnTo>
                    <a:pt x="128999" y="123124"/>
                  </a:lnTo>
                  <a:lnTo>
                    <a:pt x="128999" y="115868"/>
                  </a:lnTo>
                  <a:lnTo>
                    <a:pt x="128930" y="108438"/>
                  </a:lnTo>
                  <a:lnTo>
                    <a:pt x="128826" y="100870"/>
                  </a:lnTo>
                  <a:lnTo>
                    <a:pt x="128688" y="93199"/>
                  </a:lnTo>
                  <a:lnTo>
                    <a:pt x="128515" y="85493"/>
                  </a:lnTo>
                  <a:lnTo>
                    <a:pt x="128273" y="77786"/>
                  </a:lnTo>
                  <a:lnTo>
                    <a:pt x="128032" y="70184"/>
                  </a:lnTo>
                  <a:lnTo>
                    <a:pt x="127721" y="62720"/>
                  </a:lnTo>
                  <a:lnTo>
                    <a:pt x="127375" y="55428"/>
                  </a:lnTo>
                  <a:lnTo>
                    <a:pt x="126995" y="48379"/>
                  </a:lnTo>
                  <a:lnTo>
                    <a:pt x="126580" y="41640"/>
                  </a:lnTo>
                  <a:lnTo>
                    <a:pt x="126131" y="35213"/>
                  </a:lnTo>
                  <a:lnTo>
                    <a:pt x="125613" y="29235"/>
                  </a:lnTo>
                  <a:lnTo>
                    <a:pt x="125371" y="26436"/>
                  </a:lnTo>
                  <a:lnTo>
                    <a:pt x="125094" y="23706"/>
                  </a:lnTo>
                  <a:lnTo>
                    <a:pt x="124818" y="21149"/>
                  </a:lnTo>
                  <a:lnTo>
                    <a:pt x="124507" y="18730"/>
                  </a:lnTo>
                  <a:lnTo>
                    <a:pt x="124196" y="16414"/>
                  </a:lnTo>
                  <a:lnTo>
                    <a:pt x="123885" y="14306"/>
                  </a:lnTo>
                  <a:lnTo>
                    <a:pt x="123574" y="12302"/>
                  </a:lnTo>
                  <a:lnTo>
                    <a:pt x="123263" y="10505"/>
                  </a:lnTo>
                  <a:lnTo>
                    <a:pt x="122917" y="8846"/>
                  </a:lnTo>
                  <a:lnTo>
                    <a:pt x="122572" y="7395"/>
                  </a:lnTo>
                  <a:lnTo>
                    <a:pt x="122226" y="6116"/>
                  </a:lnTo>
                  <a:lnTo>
                    <a:pt x="121846" y="5045"/>
                  </a:lnTo>
                  <a:lnTo>
                    <a:pt x="121673" y="4561"/>
                  </a:lnTo>
                  <a:lnTo>
                    <a:pt x="121500" y="4147"/>
                  </a:lnTo>
                  <a:lnTo>
                    <a:pt x="121293" y="3767"/>
                  </a:lnTo>
                  <a:lnTo>
                    <a:pt x="121120" y="3456"/>
                  </a:lnTo>
                  <a:lnTo>
                    <a:pt x="120913" y="3214"/>
                  </a:lnTo>
                  <a:lnTo>
                    <a:pt x="120706" y="3006"/>
                  </a:lnTo>
                  <a:lnTo>
                    <a:pt x="120533" y="2834"/>
                  </a:lnTo>
                  <a:lnTo>
                    <a:pt x="120325" y="2765"/>
                  </a:lnTo>
                  <a:lnTo>
                    <a:pt x="120325" y="2765"/>
                  </a:lnTo>
                  <a:lnTo>
                    <a:pt x="119842" y="2626"/>
                  </a:lnTo>
                  <a:lnTo>
                    <a:pt x="119220" y="2488"/>
                  </a:lnTo>
                  <a:lnTo>
                    <a:pt x="118425" y="2350"/>
                  </a:lnTo>
                  <a:lnTo>
                    <a:pt x="117526" y="2212"/>
                  </a:lnTo>
                  <a:lnTo>
                    <a:pt x="115315" y="1935"/>
                  </a:lnTo>
                  <a:lnTo>
                    <a:pt x="112585" y="1659"/>
                  </a:lnTo>
                  <a:lnTo>
                    <a:pt x="109406" y="1417"/>
                  </a:lnTo>
                  <a:lnTo>
                    <a:pt x="105812" y="1175"/>
                  </a:lnTo>
                  <a:lnTo>
                    <a:pt x="101872" y="933"/>
                  </a:lnTo>
                  <a:lnTo>
                    <a:pt x="97553" y="726"/>
                  </a:lnTo>
                  <a:lnTo>
                    <a:pt x="92957" y="518"/>
                  </a:lnTo>
                  <a:lnTo>
                    <a:pt x="88119" y="346"/>
                  </a:lnTo>
                  <a:lnTo>
                    <a:pt x="83074" y="207"/>
                  </a:lnTo>
                  <a:lnTo>
                    <a:pt x="77856" y="104"/>
                  </a:lnTo>
                  <a:lnTo>
                    <a:pt x="72499" y="35"/>
                  </a:lnTo>
                  <a:lnTo>
                    <a:pt x="67040" y="0"/>
                  </a:lnTo>
                  <a:lnTo>
                    <a:pt x="61545" y="0"/>
                  </a:lnTo>
                  <a:lnTo>
                    <a:pt x="56051" y="69"/>
                  </a:lnTo>
                  <a:lnTo>
                    <a:pt x="50591" y="173"/>
                  </a:lnTo>
                  <a:lnTo>
                    <a:pt x="45200" y="311"/>
                  </a:lnTo>
                  <a:lnTo>
                    <a:pt x="39913" y="518"/>
                  </a:lnTo>
                  <a:lnTo>
                    <a:pt x="34764" y="795"/>
                  </a:lnTo>
                  <a:lnTo>
                    <a:pt x="29822" y="1106"/>
                  </a:lnTo>
                  <a:lnTo>
                    <a:pt x="27438" y="1313"/>
                  </a:lnTo>
                  <a:lnTo>
                    <a:pt x="25123" y="1520"/>
                  </a:lnTo>
                  <a:lnTo>
                    <a:pt x="22877" y="1728"/>
                  </a:lnTo>
                  <a:lnTo>
                    <a:pt x="20699" y="1970"/>
                  </a:lnTo>
                  <a:lnTo>
                    <a:pt x="18626" y="2246"/>
                  </a:lnTo>
                  <a:lnTo>
                    <a:pt x="16622" y="2523"/>
                  </a:lnTo>
                  <a:lnTo>
                    <a:pt x="14687" y="2799"/>
                  </a:lnTo>
                  <a:lnTo>
                    <a:pt x="12855" y="3145"/>
                  </a:lnTo>
                  <a:lnTo>
                    <a:pt x="11127" y="3456"/>
                  </a:lnTo>
                  <a:lnTo>
                    <a:pt x="9503" y="3836"/>
                  </a:lnTo>
                  <a:lnTo>
                    <a:pt x="7983" y="4181"/>
                  </a:lnTo>
                  <a:lnTo>
                    <a:pt x="6600" y="4596"/>
                  </a:lnTo>
                  <a:lnTo>
                    <a:pt x="5322" y="5011"/>
                  </a:lnTo>
                  <a:lnTo>
                    <a:pt x="4147" y="5460"/>
                  </a:lnTo>
                  <a:lnTo>
                    <a:pt x="3145" y="5909"/>
                  </a:lnTo>
                  <a:lnTo>
                    <a:pt x="2661" y="6151"/>
                  </a:lnTo>
                  <a:lnTo>
                    <a:pt x="2246" y="6393"/>
                  </a:lnTo>
                  <a:lnTo>
                    <a:pt x="1866" y="6669"/>
                  </a:lnTo>
                  <a:lnTo>
                    <a:pt x="1486" y="6911"/>
                  </a:lnTo>
                  <a:lnTo>
                    <a:pt x="1175" y="7188"/>
                  </a:lnTo>
                  <a:lnTo>
                    <a:pt x="899" y="7464"/>
                  </a:lnTo>
                  <a:lnTo>
                    <a:pt x="657" y="7706"/>
                  </a:lnTo>
                  <a:lnTo>
                    <a:pt x="449" y="8017"/>
                  </a:lnTo>
                  <a:lnTo>
                    <a:pt x="277" y="8294"/>
                  </a:lnTo>
                  <a:lnTo>
                    <a:pt x="138" y="8570"/>
                  </a:lnTo>
                  <a:lnTo>
                    <a:pt x="35" y="8881"/>
                  </a:lnTo>
                  <a:lnTo>
                    <a:pt x="0" y="9192"/>
                  </a:lnTo>
                  <a:lnTo>
                    <a:pt x="0" y="9503"/>
                  </a:lnTo>
                  <a:lnTo>
                    <a:pt x="35" y="98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6" name="Google Shape;14114;p81">
              <a:extLst>
                <a:ext uri="{FF2B5EF4-FFF2-40B4-BE49-F238E27FC236}">
                  <a16:creationId xmlns:a16="http://schemas.microsoft.com/office/drawing/2014/main" id="{E326FCC9-1AED-49F7-F944-A9C39BE21A5F}"/>
                </a:ext>
              </a:extLst>
            </p:cNvPr>
            <p:cNvSpPr/>
            <p:nvPr/>
          </p:nvSpPr>
          <p:spPr>
            <a:xfrm>
              <a:off x="3648425" y="917150"/>
              <a:ext cx="567625" cy="568475"/>
            </a:xfrm>
            <a:custGeom>
              <a:avLst/>
              <a:gdLst/>
              <a:ahLst/>
              <a:cxnLst/>
              <a:rect l="l" t="t" r="r" b="b"/>
              <a:pathLst>
                <a:path w="22705" h="22739" extrusionOk="0">
                  <a:moveTo>
                    <a:pt x="10748" y="0"/>
                  </a:moveTo>
                  <a:lnTo>
                    <a:pt x="10195" y="35"/>
                  </a:lnTo>
                  <a:lnTo>
                    <a:pt x="9608" y="104"/>
                  </a:lnTo>
                  <a:lnTo>
                    <a:pt x="9055" y="208"/>
                  </a:lnTo>
                  <a:lnTo>
                    <a:pt x="8502" y="346"/>
                  </a:lnTo>
                  <a:lnTo>
                    <a:pt x="7983" y="484"/>
                  </a:lnTo>
                  <a:lnTo>
                    <a:pt x="7431" y="691"/>
                  </a:lnTo>
                  <a:lnTo>
                    <a:pt x="6912" y="899"/>
                  </a:lnTo>
                  <a:lnTo>
                    <a:pt x="6428" y="1106"/>
                  </a:lnTo>
                  <a:lnTo>
                    <a:pt x="5945" y="1348"/>
                  </a:lnTo>
                  <a:lnTo>
                    <a:pt x="5461" y="1624"/>
                  </a:lnTo>
                  <a:lnTo>
                    <a:pt x="5012" y="1935"/>
                  </a:lnTo>
                  <a:lnTo>
                    <a:pt x="4562" y="2246"/>
                  </a:lnTo>
                  <a:lnTo>
                    <a:pt x="4113" y="2592"/>
                  </a:lnTo>
                  <a:lnTo>
                    <a:pt x="3698" y="2938"/>
                  </a:lnTo>
                  <a:lnTo>
                    <a:pt x="3318" y="3318"/>
                  </a:lnTo>
                  <a:lnTo>
                    <a:pt x="2938" y="3732"/>
                  </a:lnTo>
                  <a:lnTo>
                    <a:pt x="2593" y="4147"/>
                  </a:lnTo>
                  <a:lnTo>
                    <a:pt x="2247" y="4562"/>
                  </a:lnTo>
                  <a:lnTo>
                    <a:pt x="1936" y="5011"/>
                  </a:lnTo>
                  <a:lnTo>
                    <a:pt x="1625" y="5460"/>
                  </a:lnTo>
                  <a:lnTo>
                    <a:pt x="1349" y="5944"/>
                  </a:lnTo>
                  <a:lnTo>
                    <a:pt x="1107" y="6428"/>
                  </a:lnTo>
                  <a:lnTo>
                    <a:pt x="899" y="6946"/>
                  </a:lnTo>
                  <a:lnTo>
                    <a:pt x="692" y="7465"/>
                  </a:lnTo>
                  <a:lnTo>
                    <a:pt x="519" y="7983"/>
                  </a:lnTo>
                  <a:lnTo>
                    <a:pt x="347" y="8536"/>
                  </a:lnTo>
                  <a:lnTo>
                    <a:pt x="208" y="9089"/>
                  </a:lnTo>
                  <a:lnTo>
                    <a:pt x="139" y="9642"/>
                  </a:lnTo>
                  <a:lnTo>
                    <a:pt x="36" y="10194"/>
                  </a:lnTo>
                  <a:lnTo>
                    <a:pt x="1" y="10782"/>
                  </a:lnTo>
                  <a:lnTo>
                    <a:pt x="1" y="11369"/>
                  </a:lnTo>
                  <a:lnTo>
                    <a:pt x="1" y="11957"/>
                  </a:lnTo>
                  <a:lnTo>
                    <a:pt x="36" y="12544"/>
                  </a:lnTo>
                  <a:lnTo>
                    <a:pt x="139" y="13097"/>
                  </a:lnTo>
                  <a:lnTo>
                    <a:pt x="208" y="13650"/>
                  </a:lnTo>
                  <a:lnTo>
                    <a:pt x="347" y="14203"/>
                  </a:lnTo>
                  <a:lnTo>
                    <a:pt x="519" y="14756"/>
                  </a:lnTo>
                  <a:lnTo>
                    <a:pt x="692" y="15274"/>
                  </a:lnTo>
                  <a:lnTo>
                    <a:pt x="899" y="15793"/>
                  </a:lnTo>
                  <a:lnTo>
                    <a:pt x="1107" y="16311"/>
                  </a:lnTo>
                  <a:lnTo>
                    <a:pt x="1349" y="16795"/>
                  </a:lnTo>
                  <a:lnTo>
                    <a:pt x="1625" y="17279"/>
                  </a:lnTo>
                  <a:lnTo>
                    <a:pt x="1936" y="17728"/>
                  </a:lnTo>
                  <a:lnTo>
                    <a:pt x="2247" y="18177"/>
                  </a:lnTo>
                  <a:lnTo>
                    <a:pt x="2593" y="18626"/>
                  </a:lnTo>
                  <a:lnTo>
                    <a:pt x="2938" y="19041"/>
                  </a:lnTo>
                  <a:lnTo>
                    <a:pt x="3318" y="19421"/>
                  </a:lnTo>
                  <a:lnTo>
                    <a:pt x="3698" y="19801"/>
                  </a:lnTo>
                  <a:lnTo>
                    <a:pt x="4113" y="20147"/>
                  </a:lnTo>
                  <a:lnTo>
                    <a:pt x="4562" y="20492"/>
                  </a:lnTo>
                  <a:lnTo>
                    <a:pt x="5012" y="20803"/>
                  </a:lnTo>
                  <a:lnTo>
                    <a:pt x="5461" y="21114"/>
                  </a:lnTo>
                  <a:lnTo>
                    <a:pt x="5945" y="21391"/>
                  </a:lnTo>
                  <a:lnTo>
                    <a:pt x="6428" y="21633"/>
                  </a:lnTo>
                  <a:lnTo>
                    <a:pt x="6912" y="21875"/>
                  </a:lnTo>
                  <a:lnTo>
                    <a:pt x="7431" y="22047"/>
                  </a:lnTo>
                  <a:lnTo>
                    <a:pt x="7983" y="22255"/>
                  </a:lnTo>
                  <a:lnTo>
                    <a:pt x="8502" y="22393"/>
                  </a:lnTo>
                  <a:lnTo>
                    <a:pt x="9055" y="22531"/>
                  </a:lnTo>
                  <a:lnTo>
                    <a:pt x="9608" y="22635"/>
                  </a:lnTo>
                  <a:lnTo>
                    <a:pt x="10195" y="22704"/>
                  </a:lnTo>
                  <a:lnTo>
                    <a:pt x="10748" y="22738"/>
                  </a:lnTo>
                  <a:lnTo>
                    <a:pt x="11819" y="22738"/>
                  </a:lnTo>
                  <a:lnTo>
                    <a:pt x="12338" y="22704"/>
                  </a:lnTo>
                  <a:lnTo>
                    <a:pt x="13271" y="22600"/>
                  </a:lnTo>
                  <a:lnTo>
                    <a:pt x="14204" y="22393"/>
                  </a:lnTo>
                  <a:lnTo>
                    <a:pt x="15102" y="22116"/>
                  </a:lnTo>
                  <a:lnTo>
                    <a:pt x="15966" y="21771"/>
                  </a:lnTo>
                  <a:lnTo>
                    <a:pt x="16795" y="21356"/>
                  </a:lnTo>
                  <a:lnTo>
                    <a:pt x="17590" y="20872"/>
                  </a:lnTo>
                  <a:lnTo>
                    <a:pt x="18350" y="20354"/>
                  </a:lnTo>
                  <a:lnTo>
                    <a:pt x="19042" y="19732"/>
                  </a:lnTo>
                  <a:lnTo>
                    <a:pt x="19664" y="19110"/>
                  </a:lnTo>
                  <a:lnTo>
                    <a:pt x="20286" y="18384"/>
                  </a:lnTo>
                  <a:lnTo>
                    <a:pt x="20804" y="17659"/>
                  </a:lnTo>
                  <a:lnTo>
                    <a:pt x="21288" y="16864"/>
                  </a:lnTo>
                  <a:lnTo>
                    <a:pt x="21702" y="16034"/>
                  </a:lnTo>
                  <a:lnTo>
                    <a:pt x="22048" y="15171"/>
                  </a:lnTo>
                  <a:lnTo>
                    <a:pt x="22324" y="14272"/>
                  </a:lnTo>
                  <a:lnTo>
                    <a:pt x="22497" y="13546"/>
                  </a:lnTo>
                  <a:lnTo>
                    <a:pt x="22601" y="12855"/>
                  </a:lnTo>
                  <a:lnTo>
                    <a:pt x="22670" y="12130"/>
                  </a:lnTo>
                  <a:lnTo>
                    <a:pt x="22705" y="11369"/>
                  </a:lnTo>
                  <a:lnTo>
                    <a:pt x="22670" y="10609"/>
                  </a:lnTo>
                  <a:lnTo>
                    <a:pt x="22601" y="9883"/>
                  </a:lnTo>
                  <a:lnTo>
                    <a:pt x="22497" y="9158"/>
                  </a:lnTo>
                  <a:lnTo>
                    <a:pt x="22324" y="8467"/>
                  </a:lnTo>
                  <a:lnTo>
                    <a:pt x="22117" y="7776"/>
                  </a:lnTo>
                  <a:lnTo>
                    <a:pt x="21875" y="7084"/>
                  </a:lnTo>
                  <a:lnTo>
                    <a:pt x="21564" y="6428"/>
                  </a:lnTo>
                  <a:lnTo>
                    <a:pt x="21253" y="5806"/>
                  </a:lnTo>
                  <a:lnTo>
                    <a:pt x="20873" y="5184"/>
                  </a:lnTo>
                  <a:lnTo>
                    <a:pt x="20458" y="4562"/>
                  </a:lnTo>
                  <a:lnTo>
                    <a:pt x="19975" y="3974"/>
                  </a:lnTo>
                  <a:lnTo>
                    <a:pt x="19491" y="3421"/>
                  </a:lnTo>
                  <a:lnTo>
                    <a:pt x="18938" y="2938"/>
                  </a:lnTo>
                  <a:lnTo>
                    <a:pt x="18385" y="2454"/>
                  </a:lnTo>
                  <a:lnTo>
                    <a:pt x="17798" y="2005"/>
                  </a:lnTo>
                  <a:lnTo>
                    <a:pt x="17175" y="1590"/>
                  </a:lnTo>
                  <a:lnTo>
                    <a:pt x="16519" y="1244"/>
                  </a:lnTo>
                  <a:lnTo>
                    <a:pt x="15828" y="899"/>
                  </a:lnTo>
                  <a:lnTo>
                    <a:pt x="15137" y="622"/>
                  </a:lnTo>
                  <a:lnTo>
                    <a:pt x="14411" y="415"/>
                  </a:lnTo>
                  <a:lnTo>
                    <a:pt x="13685" y="242"/>
                  </a:lnTo>
                  <a:lnTo>
                    <a:pt x="12925" y="104"/>
                  </a:lnTo>
                  <a:lnTo>
                    <a:pt x="12130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7" name="Google Shape;14115;p81">
              <a:extLst>
                <a:ext uri="{FF2B5EF4-FFF2-40B4-BE49-F238E27FC236}">
                  <a16:creationId xmlns:a16="http://schemas.microsoft.com/office/drawing/2014/main" id="{1D99A6E1-AD76-7409-8269-DE02DB2EEBC4}"/>
                </a:ext>
              </a:extLst>
            </p:cNvPr>
            <p:cNvSpPr/>
            <p:nvPr/>
          </p:nvSpPr>
          <p:spPr>
            <a:xfrm>
              <a:off x="3699400" y="968125"/>
              <a:ext cx="465675" cy="466525"/>
            </a:xfrm>
            <a:custGeom>
              <a:avLst/>
              <a:gdLst/>
              <a:ahLst/>
              <a:cxnLst/>
              <a:rect l="l" t="t" r="r" b="b"/>
              <a:pathLst>
                <a:path w="18627" h="18661" extrusionOk="0">
                  <a:moveTo>
                    <a:pt x="8813" y="0"/>
                  </a:moveTo>
                  <a:lnTo>
                    <a:pt x="8363" y="35"/>
                  </a:lnTo>
                  <a:lnTo>
                    <a:pt x="7880" y="104"/>
                  </a:lnTo>
                  <a:lnTo>
                    <a:pt x="7430" y="173"/>
                  </a:lnTo>
                  <a:lnTo>
                    <a:pt x="6981" y="277"/>
                  </a:lnTo>
                  <a:lnTo>
                    <a:pt x="6532" y="415"/>
                  </a:lnTo>
                  <a:lnTo>
                    <a:pt x="6117" y="553"/>
                  </a:lnTo>
                  <a:lnTo>
                    <a:pt x="5668" y="726"/>
                  </a:lnTo>
                  <a:lnTo>
                    <a:pt x="5253" y="899"/>
                  </a:lnTo>
                  <a:lnTo>
                    <a:pt x="4873" y="1106"/>
                  </a:lnTo>
                  <a:lnTo>
                    <a:pt x="4459" y="1348"/>
                  </a:lnTo>
                  <a:lnTo>
                    <a:pt x="4113" y="1590"/>
                  </a:lnTo>
                  <a:lnTo>
                    <a:pt x="3733" y="1832"/>
                  </a:lnTo>
                  <a:lnTo>
                    <a:pt x="3387" y="2108"/>
                  </a:lnTo>
                  <a:lnTo>
                    <a:pt x="3042" y="2419"/>
                  </a:lnTo>
                  <a:lnTo>
                    <a:pt x="2731" y="2730"/>
                  </a:lnTo>
                  <a:lnTo>
                    <a:pt x="2420" y="3041"/>
                  </a:lnTo>
                  <a:lnTo>
                    <a:pt x="2109" y="3387"/>
                  </a:lnTo>
                  <a:lnTo>
                    <a:pt x="1832" y="3732"/>
                  </a:lnTo>
                  <a:lnTo>
                    <a:pt x="1590" y="4112"/>
                  </a:lnTo>
                  <a:lnTo>
                    <a:pt x="1348" y="4492"/>
                  </a:lnTo>
                  <a:lnTo>
                    <a:pt x="1107" y="4873"/>
                  </a:lnTo>
                  <a:lnTo>
                    <a:pt x="899" y="5287"/>
                  </a:lnTo>
                  <a:lnTo>
                    <a:pt x="726" y="5702"/>
                  </a:lnTo>
                  <a:lnTo>
                    <a:pt x="554" y="6117"/>
                  </a:lnTo>
                  <a:lnTo>
                    <a:pt x="415" y="6566"/>
                  </a:lnTo>
                  <a:lnTo>
                    <a:pt x="277" y="6981"/>
                  </a:lnTo>
                  <a:lnTo>
                    <a:pt x="174" y="7464"/>
                  </a:lnTo>
                  <a:lnTo>
                    <a:pt x="104" y="7914"/>
                  </a:lnTo>
                  <a:lnTo>
                    <a:pt x="35" y="8363"/>
                  </a:lnTo>
                  <a:lnTo>
                    <a:pt x="1" y="8847"/>
                  </a:lnTo>
                  <a:lnTo>
                    <a:pt x="1" y="9330"/>
                  </a:lnTo>
                  <a:lnTo>
                    <a:pt x="1" y="9814"/>
                  </a:lnTo>
                  <a:lnTo>
                    <a:pt x="35" y="10298"/>
                  </a:lnTo>
                  <a:lnTo>
                    <a:pt x="104" y="10747"/>
                  </a:lnTo>
                  <a:lnTo>
                    <a:pt x="174" y="11231"/>
                  </a:lnTo>
                  <a:lnTo>
                    <a:pt x="277" y="11680"/>
                  </a:lnTo>
                  <a:lnTo>
                    <a:pt x="415" y="12095"/>
                  </a:lnTo>
                  <a:lnTo>
                    <a:pt x="554" y="12544"/>
                  </a:lnTo>
                  <a:lnTo>
                    <a:pt x="726" y="12959"/>
                  </a:lnTo>
                  <a:lnTo>
                    <a:pt x="899" y="13373"/>
                  </a:lnTo>
                  <a:lnTo>
                    <a:pt x="1107" y="13788"/>
                  </a:lnTo>
                  <a:lnTo>
                    <a:pt x="1348" y="14168"/>
                  </a:lnTo>
                  <a:lnTo>
                    <a:pt x="1590" y="14548"/>
                  </a:lnTo>
                  <a:lnTo>
                    <a:pt x="1832" y="14929"/>
                  </a:lnTo>
                  <a:lnTo>
                    <a:pt x="2109" y="15274"/>
                  </a:lnTo>
                  <a:lnTo>
                    <a:pt x="2420" y="15620"/>
                  </a:lnTo>
                  <a:lnTo>
                    <a:pt x="2731" y="15931"/>
                  </a:lnTo>
                  <a:lnTo>
                    <a:pt x="3042" y="16242"/>
                  </a:lnTo>
                  <a:lnTo>
                    <a:pt x="3387" y="16553"/>
                  </a:lnTo>
                  <a:lnTo>
                    <a:pt x="3733" y="16829"/>
                  </a:lnTo>
                  <a:lnTo>
                    <a:pt x="4113" y="17071"/>
                  </a:lnTo>
                  <a:lnTo>
                    <a:pt x="4459" y="17313"/>
                  </a:lnTo>
                  <a:lnTo>
                    <a:pt x="4873" y="17555"/>
                  </a:lnTo>
                  <a:lnTo>
                    <a:pt x="5253" y="17762"/>
                  </a:lnTo>
                  <a:lnTo>
                    <a:pt x="5668" y="17935"/>
                  </a:lnTo>
                  <a:lnTo>
                    <a:pt x="6117" y="18108"/>
                  </a:lnTo>
                  <a:lnTo>
                    <a:pt x="6532" y="18246"/>
                  </a:lnTo>
                  <a:lnTo>
                    <a:pt x="6981" y="18384"/>
                  </a:lnTo>
                  <a:lnTo>
                    <a:pt x="7430" y="18488"/>
                  </a:lnTo>
                  <a:lnTo>
                    <a:pt x="7880" y="18557"/>
                  </a:lnTo>
                  <a:lnTo>
                    <a:pt x="8363" y="18626"/>
                  </a:lnTo>
                  <a:lnTo>
                    <a:pt x="8813" y="18661"/>
                  </a:lnTo>
                  <a:lnTo>
                    <a:pt x="9296" y="18661"/>
                  </a:lnTo>
                  <a:lnTo>
                    <a:pt x="10091" y="18626"/>
                  </a:lnTo>
                  <a:lnTo>
                    <a:pt x="10886" y="18522"/>
                  </a:lnTo>
                  <a:lnTo>
                    <a:pt x="11646" y="18384"/>
                  </a:lnTo>
                  <a:lnTo>
                    <a:pt x="12407" y="18142"/>
                  </a:lnTo>
                  <a:lnTo>
                    <a:pt x="13098" y="17866"/>
                  </a:lnTo>
                  <a:lnTo>
                    <a:pt x="13789" y="17520"/>
                  </a:lnTo>
                  <a:lnTo>
                    <a:pt x="14445" y="17140"/>
                  </a:lnTo>
                  <a:lnTo>
                    <a:pt x="15033" y="16691"/>
                  </a:lnTo>
                  <a:lnTo>
                    <a:pt x="15620" y="16207"/>
                  </a:lnTo>
                  <a:lnTo>
                    <a:pt x="16139" y="15689"/>
                  </a:lnTo>
                  <a:lnTo>
                    <a:pt x="16622" y="15101"/>
                  </a:lnTo>
                  <a:lnTo>
                    <a:pt x="17072" y="14479"/>
                  </a:lnTo>
                  <a:lnTo>
                    <a:pt x="17452" y="13823"/>
                  </a:lnTo>
                  <a:lnTo>
                    <a:pt x="17797" y="13166"/>
                  </a:lnTo>
                  <a:lnTo>
                    <a:pt x="18074" y="12440"/>
                  </a:lnTo>
                  <a:lnTo>
                    <a:pt x="18316" y="11715"/>
                  </a:lnTo>
                  <a:lnTo>
                    <a:pt x="18454" y="11127"/>
                  </a:lnTo>
                  <a:lnTo>
                    <a:pt x="18558" y="10540"/>
                  </a:lnTo>
                  <a:lnTo>
                    <a:pt x="18592" y="9952"/>
                  </a:lnTo>
                  <a:lnTo>
                    <a:pt x="18627" y="9330"/>
                  </a:lnTo>
                  <a:lnTo>
                    <a:pt x="18592" y="8708"/>
                  </a:lnTo>
                  <a:lnTo>
                    <a:pt x="18558" y="8121"/>
                  </a:lnTo>
                  <a:lnTo>
                    <a:pt x="18454" y="7499"/>
                  </a:lnTo>
                  <a:lnTo>
                    <a:pt x="18316" y="6946"/>
                  </a:lnTo>
                  <a:lnTo>
                    <a:pt x="18143" y="6359"/>
                  </a:lnTo>
                  <a:lnTo>
                    <a:pt x="17936" y="5806"/>
                  </a:lnTo>
                  <a:lnTo>
                    <a:pt x="17694" y="5287"/>
                  </a:lnTo>
                  <a:lnTo>
                    <a:pt x="17452" y="4769"/>
                  </a:lnTo>
                  <a:lnTo>
                    <a:pt x="17106" y="4251"/>
                  </a:lnTo>
                  <a:lnTo>
                    <a:pt x="16761" y="3732"/>
                  </a:lnTo>
                  <a:lnTo>
                    <a:pt x="16381" y="3283"/>
                  </a:lnTo>
                  <a:lnTo>
                    <a:pt x="16000" y="2834"/>
                  </a:lnTo>
                  <a:lnTo>
                    <a:pt x="15551" y="2385"/>
                  </a:lnTo>
                  <a:lnTo>
                    <a:pt x="15067" y="2004"/>
                  </a:lnTo>
                  <a:lnTo>
                    <a:pt x="14584" y="1624"/>
                  </a:lnTo>
                  <a:lnTo>
                    <a:pt x="14065" y="1313"/>
                  </a:lnTo>
                  <a:lnTo>
                    <a:pt x="13547" y="1002"/>
                  </a:lnTo>
                  <a:lnTo>
                    <a:pt x="12994" y="760"/>
                  </a:lnTo>
                  <a:lnTo>
                    <a:pt x="12407" y="519"/>
                  </a:lnTo>
                  <a:lnTo>
                    <a:pt x="11819" y="346"/>
                  </a:lnTo>
                  <a:lnTo>
                    <a:pt x="11232" y="173"/>
                  </a:lnTo>
                  <a:lnTo>
                    <a:pt x="10575" y="69"/>
                  </a:lnTo>
                  <a:lnTo>
                    <a:pt x="99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8" name="Google Shape;14116;p81">
              <a:extLst>
                <a:ext uri="{FF2B5EF4-FFF2-40B4-BE49-F238E27FC236}">
                  <a16:creationId xmlns:a16="http://schemas.microsoft.com/office/drawing/2014/main" id="{4E3F25ED-ECE7-4391-0FB2-4A658F6F3D97}"/>
                </a:ext>
              </a:extLst>
            </p:cNvPr>
            <p:cNvSpPr/>
            <p:nvPr/>
          </p:nvSpPr>
          <p:spPr>
            <a:xfrm>
              <a:off x="3753825" y="1023400"/>
              <a:ext cx="355975" cy="355975"/>
            </a:xfrm>
            <a:custGeom>
              <a:avLst/>
              <a:gdLst/>
              <a:ahLst/>
              <a:cxnLst/>
              <a:rect l="l" t="t" r="r" b="b"/>
              <a:pathLst>
                <a:path w="14239" h="14239" extrusionOk="0">
                  <a:moveTo>
                    <a:pt x="7119" y="1"/>
                  </a:moveTo>
                  <a:lnTo>
                    <a:pt x="6394" y="35"/>
                  </a:lnTo>
                  <a:lnTo>
                    <a:pt x="5703" y="139"/>
                  </a:lnTo>
                  <a:lnTo>
                    <a:pt x="5012" y="312"/>
                  </a:lnTo>
                  <a:lnTo>
                    <a:pt x="4355" y="554"/>
                  </a:lnTo>
                  <a:lnTo>
                    <a:pt x="3733" y="865"/>
                  </a:lnTo>
                  <a:lnTo>
                    <a:pt x="3145" y="1210"/>
                  </a:lnTo>
                  <a:lnTo>
                    <a:pt x="2593" y="1625"/>
                  </a:lnTo>
                  <a:lnTo>
                    <a:pt x="2109" y="2074"/>
                  </a:lnTo>
                  <a:lnTo>
                    <a:pt x="1625" y="2592"/>
                  </a:lnTo>
                  <a:lnTo>
                    <a:pt x="1245" y="3145"/>
                  </a:lnTo>
                  <a:lnTo>
                    <a:pt x="865" y="3733"/>
                  </a:lnTo>
                  <a:lnTo>
                    <a:pt x="588" y="4355"/>
                  </a:lnTo>
                  <a:lnTo>
                    <a:pt x="346" y="5011"/>
                  </a:lnTo>
                  <a:lnTo>
                    <a:pt x="174" y="5668"/>
                  </a:lnTo>
                  <a:lnTo>
                    <a:pt x="70" y="6394"/>
                  </a:lnTo>
                  <a:lnTo>
                    <a:pt x="1" y="7119"/>
                  </a:lnTo>
                  <a:lnTo>
                    <a:pt x="70" y="7845"/>
                  </a:lnTo>
                  <a:lnTo>
                    <a:pt x="174" y="8571"/>
                  </a:lnTo>
                  <a:lnTo>
                    <a:pt x="346" y="9227"/>
                  </a:lnTo>
                  <a:lnTo>
                    <a:pt x="588" y="9884"/>
                  </a:lnTo>
                  <a:lnTo>
                    <a:pt x="865" y="10506"/>
                  </a:lnTo>
                  <a:lnTo>
                    <a:pt x="1245" y="11093"/>
                  </a:lnTo>
                  <a:lnTo>
                    <a:pt x="1625" y="11646"/>
                  </a:lnTo>
                  <a:lnTo>
                    <a:pt x="2109" y="12165"/>
                  </a:lnTo>
                  <a:lnTo>
                    <a:pt x="2593" y="12614"/>
                  </a:lnTo>
                  <a:lnTo>
                    <a:pt x="3145" y="13029"/>
                  </a:lnTo>
                  <a:lnTo>
                    <a:pt x="3733" y="13374"/>
                  </a:lnTo>
                  <a:lnTo>
                    <a:pt x="4355" y="13685"/>
                  </a:lnTo>
                  <a:lnTo>
                    <a:pt x="5012" y="13927"/>
                  </a:lnTo>
                  <a:lnTo>
                    <a:pt x="5703" y="14100"/>
                  </a:lnTo>
                  <a:lnTo>
                    <a:pt x="6394" y="14203"/>
                  </a:lnTo>
                  <a:lnTo>
                    <a:pt x="7119" y="14238"/>
                  </a:lnTo>
                  <a:lnTo>
                    <a:pt x="7845" y="14203"/>
                  </a:lnTo>
                  <a:lnTo>
                    <a:pt x="8571" y="14100"/>
                  </a:lnTo>
                  <a:lnTo>
                    <a:pt x="9227" y="13927"/>
                  </a:lnTo>
                  <a:lnTo>
                    <a:pt x="9884" y="13685"/>
                  </a:lnTo>
                  <a:lnTo>
                    <a:pt x="10506" y="13374"/>
                  </a:lnTo>
                  <a:lnTo>
                    <a:pt x="11093" y="13029"/>
                  </a:lnTo>
                  <a:lnTo>
                    <a:pt x="11646" y="12614"/>
                  </a:lnTo>
                  <a:lnTo>
                    <a:pt x="12165" y="12165"/>
                  </a:lnTo>
                  <a:lnTo>
                    <a:pt x="12614" y="11646"/>
                  </a:lnTo>
                  <a:lnTo>
                    <a:pt x="13029" y="11093"/>
                  </a:lnTo>
                  <a:lnTo>
                    <a:pt x="13374" y="10506"/>
                  </a:lnTo>
                  <a:lnTo>
                    <a:pt x="13685" y="9884"/>
                  </a:lnTo>
                  <a:lnTo>
                    <a:pt x="13927" y="9227"/>
                  </a:lnTo>
                  <a:lnTo>
                    <a:pt x="14100" y="8571"/>
                  </a:lnTo>
                  <a:lnTo>
                    <a:pt x="14204" y="7845"/>
                  </a:lnTo>
                  <a:lnTo>
                    <a:pt x="14238" y="7119"/>
                  </a:lnTo>
                  <a:lnTo>
                    <a:pt x="14204" y="6394"/>
                  </a:lnTo>
                  <a:lnTo>
                    <a:pt x="14100" y="5668"/>
                  </a:lnTo>
                  <a:lnTo>
                    <a:pt x="13927" y="5011"/>
                  </a:lnTo>
                  <a:lnTo>
                    <a:pt x="13685" y="4355"/>
                  </a:lnTo>
                  <a:lnTo>
                    <a:pt x="13374" y="3733"/>
                  </a:lnTo>
                  <a:lnTo>
                    <a:pt x="13029" y="3145"/>
                  </a:lnTo>
                  <a:lnTo>
                    <a:pt x="12614" y="2592"/>
                  </a:lnTo>
                  <a:lnTo>
                    <a:pt x="12165" y="2074"/>
                  </a:lnTo>
                  <a:lnTo>
                    <a:pt x="11646" y="1625"/>
                  </a:lnTo>
                  <a:lnTo>
                    <a:pt x="11093" y="1210"/>
                  </a:lnTo>
                  <a:lnTo>
                    <a:pt x="10506" y="865"/>
                  </a:lnTo>
                  <a:lnTo>
                    <a:pt x="9884" y="554"/>
                  </a:lnTo>
                  <a:lnTo>
                    <a:pt x="9227" y="312"/>
                  </a:lnTo>
                  <a:lnTo>
                    <a:pt x="8571" y="139"/>
                  </a:lnTo>
                  <a:lnTo>
                    <a:pt x="7845" y="35"/>
                  </a:lnTo>
                  <a:lnTo>
                    <a:pt x="7119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19" name="Google Shape;14117;p81">
              <a:extLst>
                <a:ext uri="{FF2B5EF4-FFF2-40B4-BE49-F238E27FC236}">
                  <a16:creationId xmlns:a16="http://schemas.microsoft.com/office/drawing/2014/main" id="{8C688324-CEEA-EEB5-2149-A177DC13A24F}"/>
                </a:ext>
              </a:extLst>
            </p:cNvPr>
            <p:cNvSpPr/>
            <p:nvPr/>
          </p:nvSpPr>
          <p:spPr>
            <a:xfrm>
              <a:off x="3809125" y="1077825"/>
              <a:ext cx="246250" cy="247100"/>
            </a:xfrm>
            <a:custGeom>
              <a:avLst/>
              <a:gdLst/>
              <a:ahLst/>
              <a:cxnLst/>
              <a:rect l="l" t="t" r="r" b="b"/>
              <a:pathLst>
                <a:path w="9850" h="9884" extrusionOk="0">
                  <a:moveTo>
                    <a:pt x="4907" y="1"/>
                  </a:moveTo>
                  <a:lnTo>
                    <a:pt x="4424" y="35"/>
                  </a:lnTo>
                  <a:lnTo>
                    <a:pt x="3940" y="104"/>
                  </a:lnTo>
                  <a:lnTo>
                    <a:pt x="3456" y="243"/>
                  </a:lnTo>
                  <a:lnTo>
                    <a:pt x="3007" y="415"/>
                  </a:lnTo>
                  <a:lnTo>
                    <a:pt x="2558" y="623"/>
                  </a:lnTo>
                  <a:lnTo>
                    <a:pt x="2178" y="865"/>
                  </a:lnTo>
                  <a:lnTo>
                    <a:pt x="1797" y="1141"/>
                  </a:lnTo>
                  <a:lnTo>
                    <a:pt x="1452" y="1452"/>
                  </a:lnTo>
                  <a:lnTo>
                    <a:pt x="1106" y="1798"/>
                  </a:lnTo>
                  <a:lnTo>
                    <a:pt x="830" y="2178"/>
                  </a:lnTo>
                  <a:lnTo>
                    <a:pt x="588" y="2593"/>
                  </a:lnTo>
                  <a:lnTo>
                    <a:pt x="381" y="3042"/>
                  </a:lnTo>
                  <a:lnTo>
                    <a:pt x="208" y="3491"/>
                  </a:lnTo>
                  <a:lnTo>
                    <a:pt x="104" y="3940"/>
                  </a:lnTo>
                  <a:lnTo>
                    <a:pt x="35" y="4424"/>
                  </a:lnTo>
                  <a:lnTo>
                    <a:pt x="0" y="4942"/>
                  </a:lnTo>
                  <a:lnTo>
                    <a:pt x="35" y="5461"/>
                  </a:lnTo>
                  <a:lnTo>
                    <a:pt x="104" y="5945"/>
                  </a:lnTo>
                  <a:lnTo>
                    <a:pt x="208" y="6394"/>
                  </a:lnTo>
                  <a:lnTo>
                    <a:pt x="381" y="6878"/>
                  </a:lnTo>
                  <a:lnTo>
                    <a:pt x="588" y="7292"/>
                  </a:lnTo>
                  <a:lnTo>
                    <a:pt x="830" y="7707"/>
                  </a:lnTo>
                  <a:lnTo>
                    <a:pt x="1106" y="8087"/>
                  </a:lnTo>
                  <a:lnTo>
                    <a:pt x="1452" y="8433"/>
                  </a:lnTo>
                  <a:lnTo>
                    <a:pt x="1797" y="8744"/>
                  </a:lnTo>
                  <a:lnTo>
                    <a:pt x="2178" y="9020"/>
                  </a:lnTo>
                  <a:lnTo>
                    <a:pt x="2558" y="9262"/>
                  </a:lnTo>
                  <a:lnTo>
                    <a:pt x="3007" y="9504"/>
                  </a:lnTo>
                  <a:lnTo>
                    <a:pt x="3456" y="9642"/>
                  </a:lnTo>
                  <a:lnTo>
                    <a:pt x="3940" y="9780"/>
                  </a:lnTo>
                  <a:lnTo>
                    <a:pt x="4424" y="9849"/>
                  </a:lnTo>
                  <a:lnTo>
                    <a:pt x="4907" y="9884"/>
                  </a:lnTo>
                  <a:lnTo>
                    <a:pt x="5426" y="9849"/>
                  </a:lnTo>
                  <a:lnTo>
                    <a:pt x="5910" y="9780"/>
                  </a:lnTo>
                  <a:lnTo>
                    <a:pt x="6393" y="9642"/>
                  </a:lnTo>
                  <a:lnTo>
                    <a:pt x="6843" y="9504"/>
                  </a:lnTo>
                  <a:lnTo>
                    <a:pt x="7257" y="9262"/>
                  </a:lnTo>
                  <a:lnTo>
                    <a:pt x="7672" y="9020"/>
                  </a:lnTo>
                  <a:lnTo>
                    <a:pt x="8052" y="8744"/>
                  </a:lnTo>
                  <a:lnTo>
                    <a:pt x="8398" y="8433"/>
                  </a:lnTo>
                  <a:lnTo>
                    <a:pt x="8709" y="8087"/>
                  </a:lnTo>
                  <a:lnTo>
                    <a:pt x="8985" y="7707"/>
                  </a:lnTo>
                  <a:lnTo>
                    <a:pt x="9227" y="7292"/>
                  </a:lnTo>
                  <a:lnTo>
                    <a:pt x="9434" y="6878"/>
                  </a:lnTo>
                  <a:lnTo>
                    <a:pt x="9607" y="6394"/>
                  </a:lnTo>
                  <a:lnTo>
                    <a:pt x="9745" y="5945"/>
                  </a:lnTo>
                  <a:lnTo>
                    <a:pt x="9814" y="5461"/>
                  </a:lnTo>
                  <a:lnTo>
                    <a:pt x="9849" y="4942"/>
                  </a:lnTo>
                  <a:lnTo>
                    <a:pt x="9814" y="4424"/>
                  </a:lnTo>
                  <a:lnTo>
                    <a:pt x="9745" y="3940"/>
                  </a:lnTo>
                  <a:lnTo>
                    <a:pt x="9607" y="3491"/>
                  </a:lnTo>
                  <a:lnTo>
                    <a:pt x="9434" y="3042"/>
                  </a:lnTo>
                  <a:lnTo>
                    <a:pt x="9227" y="2593"/>
                  </a:lnTo>
                  <a:lnTo>
                    <a:pt x="8985" y="2178"/>
                  </a:lnTo>
                  <a:lnTo>
                    <a:pt x="8709" y="1798"/>
                  </a:lnTo>
                  <a:lnTo>
                    <a:pt x="8398" y="1452"/>
                  </a:lnTo>
                  <a:lnTo>
                    <a:pt x="8052" y="1141"/>
                  </a:lnTo>
                  <a:lnTo>
                    <a:pt x="7672" y="865"/>
                  </a:lnTo>
                  <a:lnTo>
                    <a:pt x="7257" y="623"/>
                  </a:lnTo>
                  <a:lnTo>
                    <a:pt x="6843" y="415"/>
                  </a:lnTo>
                  <a:lnTo>
                    <a:pt x="6393" y="243"/>
                  </a:lnTo>
                  <a:lnTo>
                    <a:pt x="5910" y="104"/>
                  </a:lnTo>
                  <a:lnTo>
                    <a:pt x="5426" y="35"/>
                  </a:lnTo>
                  <a:lnTo>
                    <a:pt x="490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0" name="Google Shape;14118;p81">
              <a:extLst>
                <a:ext uri="{FF2B5EF4-FFF2-40B4-BE49-F238E27FC236}">
                  <a16:creationId xmlns:a16="http://schemas.microsoft.com/office/drawing/2014/main" id="{0B6C2317-82FF-2A4B-9EC9-08BE4DB63F48}"/>
                </a:ext>
              </a:extLst>
            </p:cNvPr>
            <p:cNvSpPr/>
            <p:nvPr/>
          </p:nvSpPr>
          <p:spPr>
            <a:xfrm>
              <a:off x="3867875" y="1137450"/>
              <a:ext cx="127875" cy="127875"/>
            </a:xfrm>
            <a:custGeom>
              <a:avLst/>
              <a:gdLst/>
              <a:ahLst/>
              <a:cxnLst/>
              <a:rect l="l" t="t" r="r" b="b"/>
              <a:pathLst>
                <a:path w="5115" h="5115" extrusionOk="0">
                  <a:moveTo>
                    <a:pt x="2316" y="0"/>
                  </a:moveTo>
                  <a:lnTo>
                    <a:pt x="2039" y="35"/>
                  </a:lnTo>
                  <a:lnTo>
                    <a:pt x="1797" y="104"/>
                  </a:lnTo>
                  <a:lnTo>
                    <a:pt x="1555" y="208"/>
                  </a:lnTo>
                  <a:lnTo>
                    <a:pt x="1348" y="311"/>
                  </a:lnTo>
                  <a:lnTo>
                    <a:pt x="1141" y="449"/>
                  </a:lnTo>
                  <a:lnTo>
                    <a:pt x="933" y="588"/>
                  </a:lnTo>
                  <a:lnTo>
                    <a:pt x="761" y="760"/>
                  </a:lnTo>
                  <a:lnTo>
                    <a:pt x="588" y="933"/>
                  </a:lnTo>
                  <a:lnTo>
                    <a:pt x="450" y="1141"/>
                  </a:lnTo>
                  <a:lnTo>
                    <a:pt x="311" y="1348"/>
                  </a:lnTo>
                  <a:lnTo>
                    <a:pt x="208" y="1555"/>
                  </a:lnTo>
                  <a:lnTo>
                    <a:pt x="139" y="1797"/>
                  </a:lnTo>
                  <a:lnTo>
                    <a:pt x="69" y="2039"/>
                  </a:lnTo>
                  <a:lnTo>
                    <a:pt x="35" y="2281"/>
                  </a:lnTo>
                  <a:lnTo>
                    <a:pt x="0" y="2557"/>
                  </a:lnTo>
                  <a:lnTo>
                    <a:pt x="35" y="2834"/>
                  </a:lnTo>
                  <a:lnTo>
                    <a:pt x="69" y="3076"/>
                  </a:lnTo>
                  <a:lnTo>
                    <a:pt x="139" y="3318"/>
                  </a:lnTo>
                  <a:lnTo>
                    <a:pt x="208" y="3560"/>
                  </a:lnTo>
                  <a:lnTo>
                    <a:pt x="311" y="3767"/>
                  </a:lnTo>
                  <a:lnTo>
                    <a:pt x="450" y="4009"/>
                  </a:lnTo>
                  <a:lnTo>
                    <a:pt x="588" y="4182"/>
                  </a:lnTo>
                  <a:lnTo>
                    <a:pt x="761" y="4389"/>
                  </a:lnTo>
                  <a:lnTo>
                    <a:pt x="933" y="4527"/>
                  </a:lnTo>
                  <a:lnTo>
                    <a:pt x="1141" y="4700"/>
                  </a:lnTo>
                  <a:lnTo>
                    <a:pt x="1348" y="4804"/>
                  </a:lnTo>
                  <a:lnTo>
                    <a:pt x="1555" y="4907"/>
                  </a:lnTo>
                  <a:lnTo>
                    <a:pt x="1797" y="5011"/>
                  </a:lnTo>
                  <a:lnTo>
                    <a:pt x="2039" y="5080"/>
                  </a:lnTo>
                  <a:lnTo>
                    <a:pt x="2316" y="5115"/>
                  </a:lnTo>
                  <a:lnTo>
                    <a:pt x="2834" y="5115"/>
                  </a:lnTo>
                  <a:lnTo>
                    <a:pt x="3076" y="5080"/>
                  </a:lnTo>
                  <a:lnTo>
                    <a:pt x="3318" y="5011"/>
                  </a:lnTo>
                  <a:lnTo>
                    <a:pt x="3560" y="4907"/>
                  </a:lnTo>
                  <a:lnTo>
                    <a:pt x="3801" y="4804"/>
                  </a:lnTo>
                  <a:lnTo>
                    <a:pt x="4009" y="4700"/>
                  </a:lnTo>
                  <a:lnTo>
                    <a:pt x="4182" y="4527"/>
                  </a:lnTo>
                  <a:lnTo>
                    <a:pt x="4389" y="4389"/>
                  </a:lnTo>
                  <a:lnTo>
                    <a:pt x="4527" y="4182"/>
                  </a:lnTo>
                  <a:lnTo>
                    <a:pt x="4700" y="4009"/>
                  </a:lnTo>
                  <a:lnTo>
                    <a:pt x="4804" y="3767"/>
                  </a:lnTo>
                  <a:lnTo>
                    <a:pt x="4907" y="3560"/>
                  </a:lnTo>
                  <a:lnTo>
                    <a:pt x="5011" y="3318"/>
                  </a:lnTo>
                  <a:lnTo>
                    <a:pt x="5080" y="3076"/>
                  </a:lnTo>
                  <a:lnTo>
                    <a:pt x="5115" y="2834"/>
                  </a:lnTo>
                  <a:lnTo>
                    <a:pt x="5115" y="2557"/>
                  </a:lnTo>
                  <a:lnTo>
                    <a:pt x="5115" y="2281"/>
                  </a:lnTo>
                  <a:lnTo>
                    <a:pt x="5080" y="2039"/>
                  </a:lnTo>
                  <a:lnTo>
                    <a:pt x="5011" y="1797"/>
                  </a:lnTo>
                  <a:lnTo>
                    <a:pt x="4907" y="1555"/>
                  </a:lnTo>
                  <a:lnTo>
                    <a:pt x="4804" y="1348"/>
                  </a:lnTo>
                  <a:lnTo>
                    <a:pt x="4700" y="1141"/>
                  </a:lnTo>
                  <a:lnTo>
                    <a:pt x="4527" y="933"/>
                  </a:lnTo>
                  <a:lnTo>
                    <a:pt x="4389" y="760"/>
                  </a:lnTo>
                  <a:lnTo>
                    <a:pt x="4182" y="588"/>
                  </a:lnTo>
                  <a:lnTo>
                    <a:pt x="4009" y="449"/>
                  </a:lnTo>
                  <a:lnTo>
                    <a:pt x="3801" y="311"/>
                  </a:lnTo>
                  <a:lnTo>
                    <a:pt x="3560" y="208"/>
                  </a:lnTo>
                  <a:lnTo>
                    <a:pt x="3318" y="104"/>
                  </a:lnTo>
                  <a:lnTo>
                    <a:pt x="3076" y="35"/>
                  </a:lnTo>
                  <a:lnTo>
                    <a:pt x="2834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1" name="Google Shape;14119;p81">
              <a:extLst>
                <a:ext uri="{FF2B5EF4-FFF2-40B4-BE49-F238E27FC236}">
                  <a16:creationId xmlns:a16="http://schemas.microsoft.com/office/drawing/2014/main" id="{F2829BD0-4934-ED23-CE7E-35012DD75D61}"/>
                </a:ext>
              </a:extLst>
            </p:cNvPr>
            <p:cNvSpPr/>
            <p:nvPr/>
          </p:nvSpPr>
          <p:spPr>
            <a:xfrm>
              <a:off x="2563375" y="2316675"/>
              <a:ext cx="334350" cy="120125"/>
            </a:xfrm>
            <a:custGeom>
              <a:avLst/>
              <a:gdLst/>
              <a:ahLst/>
              <a:cxnLst/>
              <a:rect l="l" t="t" r="r" b="b"/>
              <a:pathLst>
                <a:path w="13374" h="4805" extrusionOk="0">
                  <a:moveTo>
                    <a:pt x="13132" y="1"/>
                  </a:moveTo>
                  <a:lnTo>
                    <a:pt x="13062" y="35"/>
                  </a:lnTo>
                  <a:lnTo>
                    <a:pt x="12337" y="484"/>
                  </a:lnTo>
                  <a:lnTo>
                    <a:pt x="11266" y="1072"/>
                  </a:lnTo>
                  <a:lnTo>
                    <a:pt x="8570" y="2420"/>
                  </a:lnTo>
                  <a:lnTo>
                    <a:pt x="5978" y="3698"/>
                  </a:lnTo>
                  <a:lnTo>
                    <a:pt x="4596" y="4355"/>
                  </a:lnTo>
                  <a:lnTo>
                    <a:pt x="207" y="4355"/>
                  </a:lnTo>
                  <a:lnTo>
                    <a:pt x="104" y="4389"/>
                  </a:lnTo>
                  <a:lnTo>
                    <a:pt x="35" y="4424"/>
                  </a:lnTo>
                  <a:lnTo>
                    <a:pt x="0" y="4493"/>
                  </a:lnTo>
                  <a:lnTo>
                    <a:pt x="0" y="4597"/>
                  </a:lnTo>
                  <a:lnTo>
                    <a:pt x="0" y="4666"/>
                  </a:lnTo>
                  <a:lnTo>
                    <a:pt x="35" y="4735"/>
                  </a:lnTo>
                  <a:lnTo>
                    <a:pt x="104" y="4769"/>
                  </a:lnTo>
                  <a:lnTo>
                    <a:pt x="207" y="4804"/>
                  </a:lnTo>
                  <a:lnTo>
                    <a:pt x="4631" y="4804"/>
                  </a:lnTo>
                  <a:lnTo>
                    <a:pt x="4734" y="4769"/>
                  </a:lnTo>
                  <a:lnTo>
                    <a:pt x="5978" y="4182"/>
                  </a:lnTo>
                  <a:lnTo>
                    <a:pt x="8605" y="2903"/>
                  </a:lnTo>
                  <a:lnTo>
                    <a:pt x="11404" y="1452"/>
                  </a:lnTo>
                  <a:lnTo>
                    <a:pt x="12544" y="865"/>
                  </a:lnTo>
                  <a:lnTo>
                    <a:pt x="13304" y="381"/>
                  </a:lnTo>
                  <a:lnTo>
                    <a:pt x="13339" y="312"/>
                  </a:lnTo>
                  <a:lnTo>
                    <a:pt x="13373" y="243"/>
                  </a:lnTo>
                  <a:lnTo>
                    <a:pt x="13373" y="173"/>
                  </a:lnTo>
                  <a:lnTo>
                    <a:pt x="13339" y="104"/>
                  </a:lnTo>
                  <a:lnTo>
                    <a:pt x="13270" y="35"/>
                  </a:lnTo>
                  <a:lnTo>
                    <a:pt x="1320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2" name="Google Shape;14120;p81">
              <a:extLst>
                <a:ext uri="{FF2B5EF4-FFF2-40B4-BE49-F238E27FC236}">
                  <a16:creationId xmlns:a16="http://schemas.microsoft.com/office/drawing/2014/main" id="{A4673304-E177-F746-D626-4051BEA44E0D}"/>
                </a:ext>
              </a:extLst>
            </p:cNvPr>
            <p:cNvSpPr/>
            <p:nvPr/>
          </p:nvSpPr>
          <p:spPr>
            <a:xfrm>
              <a:off x="2347400" y="2406525"/>
              <a:ext cx="179700" cy="49275"/>
            </a:xfrm>
            <a:custGeom>
              <a:avLst/>
              <a:gdLst/>
              <a:ahLst/>
              <a:cxnLst/>
              <a:rect l="l" t="t" r="r" b="b"/>
              <a:pathLst>
                <a:path w="7188" h="1971" extrusionOk="0">
                  <a:moveTo>
                    <a:pt x="415" y="1"/>
                  </a:moveTo>
                  <a:lnTo>
                    <a:pt x="242" y="35"/>
                  </a:lnTo>
                  <a:lnTo>
                    <a:pt x="104" y="104"/>
                  </a:lnTo>
                  <a:lnTo>
                    <a:pt x="35" y="242"/>
                  </a:lnTo>
                  <a:lnTo>
                    <a:pt x="0" y="415"/>
                  </a:lnTo>
                  <a:lnTo>
                    <a:pt x="0" y="1590"/>
                  </a:lnTo>
                  <a:lnTo>
                    <a:pt x="35" y="1728"/>
                  </a:lnTo>
                  <a:lnTo>
                    <a:pt x="104" y="1867"/>
                  </a:lnTo>
                  <a:lnTo>
                    <a:pt x="242" y="1936"/>
                  </a:lnTo>
                  <a:lnTo>
                    <a:pt x="415" y="1970"/>
                  </a:lnTo>
                  <a:lnTo>
                    <a:pt x="6773" y="1970"/>
                  </a:lnTo>
                  <a:lnTo>
                    <a:pt x="6946" y="1936"/>
                  </a:lnTo>
                  <a:lnTo>
                    <a:pt x="7084" y="1867"/>
                  </a:lnTo>
                  <a:lnTo>
                    <a:pt x="7153" y="1728"/>
                  </a:lnTo>
                  <a:lnTo>
                    <a:pt x="7188" y="1590"/>
                  </a:lnTo>
                  <a:lnTo>
                    <a:pt x="7188" y="415"/>
                  </a:lnTo>
                  <a:lnTo>
                    <a:pt x="7153" y="242"/>
                  </a:lnTo>
                  <a:lnTo>
                    <a:pt x="7084" y="104"/>
                  </a:lnTo>
                  <a:lnTo>
                    <a:pt x="6946" y="35"/>
                  </a:lnTo>
                  <a:lnTo>
                    <a:pt x="6773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3" name="Google Shape;14121;p81">
              <a:extLst>
                <a:ext uri="{FF2B5EF4-FFF2-40B4-BE49-F238E27FC236}">
                  <a16:creationId xmlns:a16="http://schemas.microsoft.com/office/drawing/2014/main" id="{D285D52F-1517-B7D0-31A4-DF07FAB866D5}"/>
                </a:ext>
              </a:extLst>
            </p:cNvPr>
            <p:cNvSpPr/>
            <p:nvPr/>
          </p:nvSpPr>
          <p:spPr>
            <a:xfrm>
              <a:off x="2347400" y="2406525"/>
              <a:ext cx="179700" cy="49275"/>
            </a:xfrm>
            <a:custGeom>
              <a:avLst/>
              <a:gdLst/>
              <a:ahLst/>
              <a:cxnLst/>
              <a:rect l="l" t="t" r="r" b="b"/>
              <a:pathLst>
                <a:path w="7188" h="1971" fill="none" extrusionOk="0">
                  <a:moveTo>
                    <a:pt x="6773" y="1"/>
                  </a:moveTo>
                  <a:lnTo>
                    <a:pt x="415" y="1"/>
                  </a:lnTo>
                  <a:lnTo>
                    <a:pt x="415" y="1"/>
                  </a:lnTo>
                  <a:lnTo>
                    <a:pt x="242" y="35"/>
                  </a:lnTo>
                  <a:lnTo>
                    <a:pt x="104" y="104"/>
                  </a:lnTo>
                  <a:lnTo>
                    <a:pt x="35" y="242"/>
                  </a:lnTo>
                  <a:lnTo>
                    <a:pt x="0" y="415"/>
                  </a:lnTo>
                  <a:lnTo>
                    <a:pt x="0" y="1590"/>
                  </a:lnTo>
                  <a:lnTo>
                    <a:pt x="0" y="1590"/>
                  </a:lnTo>
                  <a:lnTo>
                    <a:pt x="35" y="1728"/>
                  </a:lnTo>
                  <a:lnTo>
                    <a:pt x="104" y="1867"/>
                  </a:lnTo>
                  <a:lnTo>
                    <a:pt x="242" y="1936"/>
                  </a:lnTo>
                  <a:lnTo>
                    <a:pt x="415" y="1970"/>
                  </a:lnTo>
                  <a:lnTo>
                    <a:pt x="6773" y="1970"/>
                  </a:lnTo>
                  <a:lnTo>
                    <a:pt x="6773" y="1970"/>
                  </a:lnTo>
                  <a:lnTo>
                    <a:pt x="6946" y="1936"/>
                  </a:lnTo>
                  <a:lnTo>
                    <a:pt x="7084" y="1867"/>
                  </a:lnTo>
                  <a:lnTo>
                    <a:pt x="7153" y="1728"/>
                  </a:lnTo>
                  <a:lnTo>
                    <a:pt x="7188" y="1590"/>
                  </a:lnTo>
                  <a:lnTo>
                    <a:pt x="7188" y="415"/>
                  </a:lnTo>
                  <a:lnTo>
                    <a:pt x="7188" y="415"/>
                  </a:lnTo>
                  <a:lnTo>
                    <a:pt x="7153" y="242"/>
                  </a:lnTo>
                  <a:lnTo>
                    <a:pt x="7084" y="104"/>
                  </a:lnTo>
                  <a:lnTo>
                    <a:pt x="6946" y="35"/>
                  </a:lnTo>
                  <a:lnTo>
                    <a:pt x="677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4" name="Google Shape;14122;p81">
              <a:extLst>
                <a:ext uri="{FF2B5EF4-FFF2-40B4-BE49-F238E27FC236}">
                  <a16:creationId xmlns:a16="http://schemas.microsoft.com/office/drawing/2014/main" id="{91EFD6DE-F776-C58D-48F7-937E53D3DA45}"/>
                </a:ext>
              </a:extLst>
            </p:cNvPr>
            <p:cNvSpPr/>
            <p:nvPr/>
          </p:nvSpPr>
          <p:spPr>
            <a:xfrm>
              <a:off x="2078725" y="2406525"/>
              <a:ext cx="109725" cy="49275"/>
            </a:xfrm>
            <a:custGeom>
              <a:avLst/>
              <a:gdLst/>
              <a:ahLst/>
              <a:cxnLst/>
              <a:rect l="l" t="t" r="r" b="b"/>
              <a:pathLst>
                <a:path w="4389" h="1971" extrusionOk="0">
                  <a:moveTo>
                    <a:pt x="242" y="1"/>
                  </a:moveTo>
                  <a:lnTo>
                    <a:pt x="138" y="35"/>
                  </a:lnTo>
                  <a:lnTo>
                    <a:pt x="69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69" y="1867"/>
                  </a:lnTo>
                  <a:lnTo>
                    <a:pt x="138" y="1970"/>
                  </a:lnTo>
                  <a:lnTo>
                    <a:pt x="4250" y="1970"/>
                  </a:lnTo>
                  <a:lnTo>
                    <a:pt x="4320" y="1867"/>
                  </a:lnTo>
                  <a:lnTo>
                    <a:pt x="4354" y="1763"/>
                  </a:lnTo>
                  <a:lnTo>
                    <a:pt x="4389" y="1625"/>
                  </a:lnTo>
                  <a:lnTo>
                    <a:pt x="4389" y="346"/>
                  </a:lnTo>
                  <a:lnTo>
                    <a:pt x="4354" y="208"/>
                  </a:lnTo>
                  <a:lnTo>
                    <a:pt x="4320" y="104"/>
                  </a:lnTo>
                  <a:lnTo>
                    <a:pt x="4250" y="35"/>
                  </a:lnTo>
                  <a:lnTo>
                    <a:pt x="4147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5" name="Google Shape;14123;p81">
              <a:extLst>
                <a:ext uri="{FF2B5EF4-FFF2-40B4-BE49-F238E27FC236}">
                  <a16:creationId xmlns:a16="http://schemas.microsoft.com/office/drawing/2014/main" id="{A6944970-2A9C-EBD2-1A3F-7BC60E566CE8}"/>
                </a:ext>
              </a:extLst>
            </p:cNvPr>
            <p:cNvSpPr/>
            <p:nvPr/>
          </p:nvSpPr>
          <p:spPr>
            <a:xfrm>
              <a:off x="2078725" y="2406525"/>
              <a:ext cx="109725" cy="49275"/>
            </a:xfrm>
            <a:custGeom>
              <a:avLst/>
              <a:gdLst/>
              <a:ahLst/>
              <a:cxnLst/>
              <a:rect l="l" t="t" r="r" b="b"/>
              <a:pathLst>
                <a:path w="4389" h="1971" fill="none" extrusionOk="0">
                  <a:moveTo>
                    <a:pt x="4147" y="1"/>
                  </a:moveTo>
                  <a:lnTo>
                    <a:pt x="242" y="1"/>
                  </a:lnTo>
                  <a:lnTo>
                    <a:pt x="242" y="1"/>
                  </a:lnTo>
                  <a:lnTo>
                    <a:pt x="138" y="35"/>
                  </a:lnTo>
                  <a:lnTo>
                    <a:pt x="69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69" y="1867"/>
                  </a:lnTo>
                  <a:lnTo>
                    <a:pt x="138" y="1970"/>
                  </a:lnTo>
                  <a:lnTo>
                    <a:pt x="242" y="1970"/>
                  </a:lnTo>
                  <a:lnTo>
                    <a:pt x="4147" y="1970"/>
                  </a:lnTo>
                  <a:lnTo>
                    <a:pt x="4147" y="1970"/>
                  </a:lnTo>
                  <a:lnTo>
                    <a:pt x="4250" y="1970"/>
                  </a:lnTo>
                  <a:lnTo>
                    <a:pt x="4320" y="1867"/>
                  </a:lnTo>
                  <a:lnTo>
                    <a:pt x="4354" y="1763"/>
                  </a:lnTo>
                  <a:lnTo>
                    <a:pt x="4389" y="1625"/>
                  </a:lnTo>
                  <a:lnTo>
                    <a:pt x="4389" y="346"/>
                  </a:lnTo>
                  <a:lnTo>
                    <a:pt x="4389" y="346"/>
                  </a:lnTo>
                  <a:lnTo>
                    <a:pt x="4354" y="208"/>
                  </a:lnTo>
                  <a:lnTo>
                    <a:pt x="4320" y="104"/>
                  </a:lnTo>
                  <a:lnTo>
                    <a:pt x="4250" y="35"/>
                  </a:lnTo>
                  <a:lnTo>
                    <a:pt x="414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6" name="Google Shape;14124;p81">
              <a:extLst>
                <a:ext uri="{FF2B5EF4-FFF2-40B4-BE49-F238E27FC236}">
                  <a16:creationId xmlns:a16="http://schemas.microsoft.com/office/drawing/2014/main" id="{07022E34-905D-F9ED-4808-3099F5A99D4D}"/>
                </a:ext>
              </a:extLst>
            </p:cNvPr>
            <p:cNvSpPr/>
            <p:nvPr/>
          </p:nvSpPr>
          <p:spPr>
            <a:xfrm>
              <a:off x="2210900" y="2406525"/>
              <a:ext cx="102825" cy="49275"/>
            </a:xfrm>
            <a:custGeom>
              <a:avLst/>
              <a:gdLst/>
              <a:ahLst/>
              <a:cxnLst/>
              <a:rect l="l" t="t" r="r" b="b"/>
              <a:pathLst>
                <a:path w="4113" h="1971" extrusionOk="0">
                  <a:moveTo>
                    <a:pt x="380" y="1"/>
                  </a:moveTo>
                  <a:lnTo>
                    <a:pt x="242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104" y="1867"/>
                  </a:lnTo>
                  <a:lnTo>
                    <a:pt x="242" y="1970"/>
                  </a:lnTo>
                  <a:lnTo>
                    <a:pt x="3905" y="1970"/>
                  </a:lnTo>
                  <a:lnTo>
                    <a:pt x="4009" y="1867"/>
                  </a:lnTo>
                  <a:lnTo>
                    <a:pt x="4078" y="1763"/>
                  </a:lnTo>
                  <a:lnTo>
                    <a:pt x="4112" y="1625"/>
                  </a:lnTo>
                  <a:lnTo>
                    <a:pt x="4112" y="346"/>
                  </a:lnTo>
                  <a:lnTo>
                    <a:pt x="4078" y="208"/>
                  </a:lnTo>
                  <a:lnTo>
                    <a:pt x="4009" y="104"/>
                  </a:lnTo>
                  <a:lnTo>
                    <a:pt x="3905" y="35"/>
                  </a:lnTo>
                  <a:lnTo>
                    <a:pt x="3767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7" name="Google Shape;14125;p81">
              <a:extLst>
                <a:ext uri="{FF2B5EF4-FFF2-40B4-BE49-F238E27FC236}">
                  <a16:creationId xmlns:a16="http://schemas.microsoft.com/office/drawing/2014/main" id="{ABFF4AD9-D644-4437-F7A7-E0D66F2A8FCD}"/>
                </a:ext>
              </a:extLst>
            </p:cNvPr>
            <p:cNvSpPr/>
            <p:nvPr/>
          </p:nvSpPr>
          <p:spPr>
            <a:xfrm>
              <a:off x="2210900" y="2406525"/>
              <a:ext cx="102825" cy="49275"/>
            </a:xfrm>
            <a:custGeom>
              <a:avLst/>
              <a:gdLst/>
              <a:ahLst/>
              <a:cxnLst/>
              <a:rect l="l" t="t" r="r" b="b"/>
              <a:pathLst>
                <a:path w="4113" h="1971" fill="none" extrusionOk="0">
                  <a:moveTo>
                    <a:pt x="3767" y="1"/>
                  </a:moveTo>
                  <a:lnTo>
                    <a:pt x="380" y="1"/>
                  </a:lnTo>
                  <a:lnTo>
                    <a:pt x="380" y="1"/>
                  </a:lnTo>
                  <a:lnTo>
                    <a:pt x="242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104" y="1867"/>
                  </a:lnTo>
                  <a:lnTo>
                    <a:pt x="242" y="1970"/>
                  </a:lnTo>
                  <a:lnTo>
                    <a:pt x="380" y="1970"/>
                  </a:lnTo>
                  <a:lnTo>
                    <a:pt x="3767" y="1970"/>
                  </a:lnTo>
                  <a:lnTo>
                    <a:pt x="3767" y="1970"/>
                  </a:lnTo>
                  <a:lnTo>
                    <a:pt x="3905" y="1970"/>
                  </a:lnTo>
                  <a:lnTo>
                    <a:pt x="4009" y="1867"/>
                  </a:lnTo>
                  <a:lnTo>
                    <a:pt x="4078" y="1763"/>
                  </a:lnTo>
                  <a:lnTo>
                    <a:pt x="4112" y="1625"/>
                  </a:lnTo>
                  <a:lnTo>
                    <a:pt x="4112" y="346"/>
                  </a:lnTo>
                  <a:lnTo>
                    <a:pt x="4112" y="346"/>
                  </a:lnTo>
                  <a:lnTo>
                    <a:pt x="4078" y="208"/>
                  </a:lnTo>
                  <a:lnTo>
                    <a:pt x="4009" y="104"/>
                  </a:lnTo>
                  <a:lnTo>
                    <a:pt x="3905" y="35"/>
                  </a:lnTo>
                  <a:lnTo>
                    <a:pt x="376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8" name="Google Shape;14126;p81">
              <a:extLst>
                <a:ext uri="{FF2B5EF4-FFF2-40B4-BE49-F238E27FC236}">
                  <a16:creationId xmlns:a16="http://schemas.microsoft.com/office/drawing/2014/main" id="{7D86822A-E948-1F46-E67F-BA89A37F7AF7}"/>
                </a:ext>
              </a:extLst>
            </p:cNvPr>
            <p:cNvSpPr/>
            <p:nvPr/>
          </p:nvSpPr>
          <p:spPr>
            <a:xfrm>
              <a:off x="3308050" y="1624700"/>
              <a:ext cx="127900" cy="193525"/>
            </a:xfrm>
            <a:custGeom>
              <a:avLst/>
              <a:gdLst/>
              <a:ahLst/>
              <a:cxnLst/>
              <a:rect l="l" t="t" r="r" b="b"/>
              <a:pathLst>
                <a:path w="5116" h="7741" extrusionOk="0">
                  <a:moveTo>
                    <a:pt x="243" y="0"/>
                  </a:moveTo>
                  <a:lnTo>
                    <a:pt x="139" y="35"/>
                  </a:lnTo>
                  <a:lnTo>
                    <a:pt x="70" y="69"/>
                  </a:lnTo>
                  <a:lnTo>
                    <a:pt x="35" y="138"/>
                  </a:lnTo>
                  <a:lnTo>
                    <a:pt x="1" y="207"/>
                  </a:lnTo>
                  <a:lnTo>
                    <a:pt x="35" y="276"/>
                  </a:lnTo>
                  <a:lnTo>
                    <a:pt x="70" y="346"/>
                  </a:lnTo>
                  <a:lnTo>
                    <a:pt x="139" y="415"/>
                  </a:lnTo>
                  <a:lnTo>
                    <a:pt x="208" y="415"/>
                  </a:lnTo>
                  <a:lnTo>
                    <a:pt x="2696" y="587"/>
                  </a:lnTo>
                  <a:lnTo>
                    <a:pt x="3249" y="2488"/>
                  </a:lnTo>
                  <a:lnTo>
                    <a:pt x="3906" y="4769"/>
                  </a:lnTo>
                  <a:lnTo>
                    <a:pt x="4700" y="7568"/>
                  </a:lnTo>
                  <a:lnTo>
                    <a:pt x="4735" y="7637"/>
                  </a:lnTo>
                  <a:lnTo>
                    <a:pt x="4770" y="7706"/>
                  </a:lnTo>
                  <a:lnTo>
                    <a:pt x="4839" y="7741"/>
                  </a:lnTo>
                  <a:lnTo>
                    <a:pt x="4942" y="7741"/>
                  </a:lnTo>
                  <a:lnTo>
                    <a:pt x="5046" y="7706"/>
                  </a:lnTo>
                  <a:lnTo>
                    <a:pt x="5081" y="7637"/>
                  </a:lnTo>
                  <a:lnTo>
                    <a:pt x="5115" y="7568"/>
                  </a:lnTo>
                  <a:lnTo>
                    <a:pt x="5115" y="7464"/>
                  </a:lnTo>
                  <a:lnTo>
                    <a:pt x="4286" y="4561"/>
                  </a:lnTo>
                  <a:lnTo>
                    <a:pt x="3595" y="2177"/>
                  </a:lnTo>
                  <a:lnTo>
                    <a:pt x="3042" y="311"/>
                  </a:lnTo>
                  <a:lnTo>
                    <a:pt x="2973" y="207"/>
                  </a:lnTo>
                  <a:lnTo>
                    <a:pt x="2834" y="173"/>
                  </a:lnTo>
                  <a:lnTo>
                    <a:pt x="243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9" name="Google Shape;14127;p81">
              <a:extLst>
                <a:ext uri="{FF2B5EF4-FFF2-40B4-BE49-F238E27FC236}">
                  <a16:creationId xmlns:a16="http://schemas.microsoft.com/office/drawing/2014/main" id="{4769F390-14B5-4E00-D9E6-259DA7586987}"/>
                </a:ext>
              </a:extLst>
            </p:cNvPr>
            <p:cNvSpPr/>
            <p:nvPr/>
          </p:nvSpPr>
          <p:spPr>
            <a:xfrm>
              <a:off x="3462700" y="1795750"/>
              <a:ext cx="85550" cy="41475"/>
            </a:xfrm>
            <a:custGeom>
              <a:avLst/>
              <a:gdLst/>
              <a:ahLst/>
              <a:cxnLst/>
              <a:rect l="l" t="t" r="r" b="b"/>
              <a:pathLst>
                <a:path w="3422" h="1659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35" y="1452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11" y="1659"/>
                  </a:lnTo>
                  <a:lnTo>
                    <a:pt x="3145" y="1659"/>
                  </a:lnTo>
                  <a:lnTo>
                    <a:pt x="3249" y="1624"/>
                  </a:lnTo>
                  <a:lnTo>
                    <a:pt x="3352" y="1555"/>
                  </a:lnTo>
                  <a:lnTo>
                    <a:pt x="3421" y="1452"/>
                  </a:lnTo>
                  <a:lnTo>
                    <a:pt x="3421" y="1348"/>
                  </a:lnTo>
                  <a:lnTo>
                    <a:pt x="3421" y="311"/>
                  </a:lnTo>
                  <a:lnTo>
                    <a:pt x="3421" y="173"/>
                  </a:lnTo>
                  <a:lnTo>
                    <a:pt x="3352" y="69"/>
                  </a:lnTo>
                  <a:lnTo>
                    <a:pt x="3249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0" name="Google Shape;14128;p81">
              <a:extLst>
                <a:ext uri="{FF2B5EF4-FFF2-40B4-BE49-F238E27FC236}">
                  <a16:creationId xmlns:a16="http://schemas.microsoft.com/office/drawing/2014/main" id="{019A8B65-B79C-0864-FFED-1BAA67DDA078}"/>
                </a:ext>
              </a:extLst>
            </p:cNvPr>
            <p:cNvSpPr/>
            <p:nvPr/>
          </p:nvSpPr>
          <p:spPr>
            <a:xfrm>
              <a:off x="3462700" y="1795750"/>
              <a:ext cx="85550" cy="41475"/>
            </a:xfrm>
            <a:custGeom>
              <a:avLst/>
              <a:gdLst/>
              <a:ahLst/>
              <a:cxnLst/>
              <a:rect l="l" t="t" r="r" b="b"/>
              <a:pathLst>
                <a:path w="3422" h="1659" fill="none" extrusionOk="0">
                  <a:moveTo>
                    <a:pt x="3145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0" y="1348"/>
                  </a:lnTo>
                  <a:lnTo>
                    <a:pt x="35" y="1452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11" y="1659"/>
                  </a:lnTo>
                  <a:lnTo>
                    <a:pt x="3145" y="1659"/>
                  </a:lnTo>
                  <a:lnTo>
                    <a:pt x="3145" y="1659"/>
                  </a:lnTo>
                  <a:lnTo>
                    <a:pt x="3249" y="1624"/>
                  </a:lnTo>
                  <a:lnTo>
                    <a:pt x="3352" y="1555"/>
                  </a:lnTo>
                  <a:lnTo>
                    <a:pt x="3421" y="1452"/>
                  </a:lnTo>
                  <a:lnTo>
                    <a:pt x="3421" y="1348"/>
                  </a:lnTo>
                  <a:lnTo>
                    <a:pt x="3421" y="311"/>
                  </a:lnTo>
                  <a:lnTo>
                    <a:pt x="3421" y="311"/>
                  </a:lnTo>
                  <a:lnTo>
                    <a:pt x="3421" y="173"/>
                  </a:lnTo>
                  <a:lnTo>
                    <a:pt x="3352" y="69"/>
                  </a:lnTo>
                  <a:lnTo>
                    <a:pt x="3249" y="0"/>
                  </a:lnTo>
                  <a:lnTo>
                    <a:pt x="314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1" name="Google Shape;14129;p81">
              <a:extLst>
                <a:ext uri="{FF2B5EF4-FFF2-40B4-BE49-F238E27FC236}">
                  <a16:creationId xmlns:a16="http://schemas.microsoft.com/office/drawing/2014/main" id="{9DEB48E7-DB6B-1CEF-BEE7-99E4296C54C8}"/>
                </a:ext>
              </a:extLst>
            </p:cNvPr>
            <p:cNvSpPr/>
            <p:nvPr/>
          </p:nvSpPr>
          <p:spPr>
            <a:xfrm>
              <a:off x="3576725" y="1794025"/>
              <a:ext cx="149500" cy="41475"/>
            </a:xfrm>
            <a:custGeom>
              <a:avLst/>
              <a:gdLst/>
              <a:ahLst/>
              <a:cxnLst/>
              <a:rect l="l" t="t" r="r" b="b"/>
              <a:pathLst>
                <a:path w="5980" h="1659" extrusionOk="0">
                  <a:moveTo>
                    <a:pt x="346" y="0"/>
                  </a:moveTo>
                  <a:lnTo>
                    <a:pt x="208" y="35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13"/>
                  </a:lnTo>
                  <a:lnTo>
                    <a:pt x="35" y="1451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46" y="1659"/>
                  </a:lnTo>
                  <a:lnTo>
                    <a:pt x="5633" y="1659"/>
                  </a:lnTo>
                  <a:lnTo>
                    <a:pt x="5772" y="1624"/>
                  </a:lnTo>
                  <a:lnTo>
                    <a:pt x="5875" y="1555"/>
                  </a:lnTo>
                  <a:lnTo>
                    <a:pt x="5944" y="1451"/>
                  </a:lnTo>
                  <a:lnTo>
                    <a:pt x="5979" y="1313"/>
                  </a:lnTo>
                  <a:lnTo>
                    <a:pt x="5979" y="346"/>
                  </a:lnTo>
                  <a:lnTo>
                    <a:pt x="5944" y="207"/>
                  </a:lnTo>
                  <a:lnTo>
                    <a:pt x="5875" y="104"/>
                  </a:lnTo>
                  <a:lnTo>
                    <a:pt x="5772" y="35"/>
                  </a:lnTo>
                  <a:lnTo>
                    <a:pt x="563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2" name="Google Shape;14130;p81">
              <a:extLst>
                <a:ext uri="{FF2B5EF4-FFF2-40B4-BE49-F238E27FC236}">
                  <a16:creationId xmlns:a16="http://schemas.microsoft.com/office/drawing/2014/main" id="{40D882D8-AF1E-AA06-C74D-B37DB5014D27}"/>
                </a:ext>
              </a:extLst>
            </p:cNvPr>
            <p:cNvSpPr/>
            <p:nvPr/>
          </p:nvSpPr>
          <p:spPr>
            <a:xfrm>
              <a:off x="3576725" y="1794025"/>
              <a:ext cx="149500" cy="41475"/>
            </a:xfrm>
            <a:custGeom>
              <a:avLst/>
              <a:gdLst/>
              <a:ahLst/>
              <a:cxnLst/>
              <a:rect l="l" t="t" r="r" b="b"/>
              <a:pathLst>
                <a:path w="5980" h="1659" fill="none" extrusionOk="0">
                  <a:moveTo>
                    <a:pt x="5633" y="0"/>
                  </a:moveTo>
                  <a:lnTo>
                    <a:pt x="346" y="0"/>
                  </a:lnTo>
                  <a:lnTo>
                    <a:pt x="346" y="0"/>
                  </a:lnTo>
                  <a:lnTo>
                    <a:pt x="208" y="35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35" y="1451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46" y="1659"/>
                  </a:lnTo>
                  <a:lnTo>
                    <a:pt x="5633" y="1659"/>
                  </a:lnTo>
                  <a:lnTo>
                    <a:pt x="5633" y="1659"/>
                  </a:lnTo>
                  <a:lnTo>
                    <a:pt x="5772" y="1624"/>
                  </a:lnTo>
                  <a:lnTo>
                    <a:pt x="5875" y="1555"/>
                  </a:lnTo>
                  <a:lnTo>
                    <a:pt x="5944" y="1451"/>
                  </a:lnTo>
                  <a:lnTo>
                    <a:pt x="5979" y="1313"/>
                  </a:lnTo>
                  <a:lnTo>
                    <a:pt x="5979" y="346"/>
                  </a:lnTo>
                  <a:lnTo>
                    <a:pt x="5979" y="346"/>
                  </a:lnTo>
                  <a:lnTo>
                    <a:pt x="5944" y="207"/>
                  </a:lnTo>
                  <a:lnTo>
                    <a:pt x="5875" y="104"/>
                  </a:lnTo>
                  <a:lnTo>
                    <a:pt x="5772" y="35"/>
                  </a:lnTo>
                  <a:lnTo>
                    <a:pt x="563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3" name="Google Shape;14131;p81">
              <a:extLst>
                <a:ext uri="{FF2B5EF4-FFF2-40B4-BE49-F238E27FC236}">
                  <a16:creationId xmlns:a16="http://schemas.microsoft.com/office/drawing/2014/main" id="{1FD3666F-C4AD-10F2-74F0-677F722A8E7A}"/>
                </a:ext>
              </a:extLst>
            </p:cNvPr>
            <p:cNvSpPr/>
            <p:nvPr/>
          </p:nvSpPr>
          <p:spPr>
            <a:xfrm>
              <a:off x="3784075" y="1794025"/>
              <a:ext cx="137375" cy="41475"/>
            </a:xfrm>
            <a:custGeom>
              <a:avLst/>
              <a:gdLst/>
              <a:ahLst/>
              <a:cxnLst/>
              <a:rect l="l" t="t" r="r" b="b"/>
              <a:pathLst>
                <a:path w="5495" h="1659" extrusionOk="0">
                  <a:moveTo>
                    <a:pt x="311" y="0"/>
                  </a:moveTo>
                  <a:lnTo>
                    <a:pt x="173" y="35"/>
                  </a:lnTo>
                  <a:lnTo>
                    <a:pt x="69" y="104"/>
                  </a:lnTo>
                  <a:lnTo>
                    <a:pt x="35" y="207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35" y="1486"/>
                  </a:lnTo>
                  <a:lnTo>
                    <a:pt x="69" y="1590"/>
                  </a:lnTo>
                  <a:lnTo>
                    <a:pt x="173" y="1624"/>
                  </a:lnTo>
                  <a:lnTo>
                    <a:pt x="311" y="1659"/>
                  </a:lnTo>
                  <a:lnTo>
                    <a:pt x="5218" y="1659"/>
                  </a:lnTo>
                  <a:lnTo>
                    <a:pt x="5322" y="1624"/>
                  </a:lnTo>
                  <a:lnTo>
                    <a:pt x="5426" y="1590"/>
                  </a:lnTo>
                  <a:lnTo>
                    <a:pt x="5495" y="1486"/>
                  </a:lnTo>
                  <a:lnTo>
                    <a:pt x="5495" y="1348"/>
                  </a:lnTo>
                  <a:lnTo>
                    <a:pt x="5495" y="311"/>
                  </a:lnTo>
                  <a:lnTo>
                    <a:pt x="5495" y="207"/>
                  </a:lnTo>
                  <a:lnTo>
                    <a:pt x="5426" y="104"/>
                  </a:lnTo>
                  <a:lnTo>
                    <a:pt x="5322" y="35"/>
                  </a:lnTo>
                  <a:lnTo>
                    <a:pt x="5218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4" name="Google Shape;14132;p81">
              <a:extLst>
                <a:ext uri="{FF2B5EF4-FFF2-40B4-BE49-F238E27FC236}">
                  <a16:creationId xmlns:a16="http://schemas.microsoft.com/office/drawing/2014/main" id="{8320DCDE-3358-CFF9-2936-D032FD31BFB9}"/>
                </a:ext>
              </a:extLst>
            </p:cNvPr>
            <p:cNvSpPr/>
            <p:nvPr/>
          </p:nvSpPr>
          <p:spPr>
            <a:xfrm>
              <a:off x="3784075" y="1794025"/>
              <a:ext cx="137375" cy="41475"/>
            </a:xfrm>
            <a:custGeom>
              <a:avLst/>
              <a:gdLst/>
              <a:ahLst/>
              <a:cxnLst/>
              <a:rect l="l" t="t" r="r" b="b"/>
              <a:pathLst>
                <a:path w="5495" h="1659" fill="none" extrusionOk="0">
                  <a:moveTo>
                    <a:pt x="5218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173" y="35"/>
                  </a:lnTo>
                  <a:lnTo>
                    <a:pt x="69" y="104"/>
                  </a:lnTo>
                  <a:lnTo>
                    <a:pt x="35" y="207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0" y="1348"/>
                  </a:lnTo>
                  <a:lnTo>
                    <a:pt x="35" y="1486"/>
                  </a:lnTo>
                  <a:lnTo>
                    <a:pt x="69" y="1590"/>
                  </a:lnTo>
                  <a:lnTo>
                    <a:pt x="173" y="1624"/>
                  </a:lnTo>
                  <a:lnTo>
                    <a:pt x="311" y="1659"/>
                  </a:lnTo>
                  <a:lnTo>
                    <a:pt x="5218" y="1659"/>
                  </a:lnTo>
                  <a:lnTo>
                    <a:pt x="5218" y="1659"/>
                  </a:lnTo>
                  <a:lnTo>
                    <a:pt x="5322" y="1624"/>
                  </a:lnTo>
                  <a:lnTo>
                    <a:pt x="5426" y="1590"/>
                  </a:lnTo>
                  <a:lnTo>
                    <a:pt x="5495" y="1486"/>
                  </a:lnTo>
                  <a:lnTo>
                    <a:pt x="5495" y="1348"/>
                  </a:lnTo>
                  <a:lnTo>
                    <a:pt x="5495" y="311"/>
                  </a:lnTo>
                  <a:lnTo>
                    <a:pt x="5495" y="311"/>
                  </a:lnTo>
                  <a:lnTo>
                    <a:pt x="5495" y="207"/>
                  </a:lnTo>
                  <a:lnTo>
                    <a:pt x="5426" y="104"/>
                  </a:lnTo>
                  <a:lnTo>
                    <a:pt x="5322" y="35"/>
                  </a:lnTo>
                  <a:lnTo>
                    <a:pt x="521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5" name="Google Shape;14133;p81">
              <a:extLst>
                <a:ext uri="{FF2B5EF4-FFF2-40B4-BE49-F238E27FC236}">
                  <a16:creationId xmlns:a16="http://schemas.microsoft.com/office/drawing/2014/main" id="{63A5E4A9-9809-E957-4160-427075C42576}"/>
                </a:ext>
              </a:extLst>
            </p:cNvPr>
            <p:cNvSpPr/>
            <p:nvPr/>
          </p:nvSpPr>
          <p:spPr>
            <a:xfrm>
              <a:off x="2479575" y="3152075"/>
              <a:ext cx="228950" cy="151225"/>
            </a:xfrm>
            <a:custGeom>
              <a:avLst/>
              <a:gdLst/>
              <a:ahLst/>
              <a:cxnLst/>
              <a:rect l="l" t="t" r="r" b="b"/>
              <a:pathLst>
                <a:path w="9158" h="6049" extrusionOk="0">
                  <a:moveTo>
                    <a:pt x="208" y="1"/>
                  </a:moveTo>
                  <a:lnTo>
                    <a:pt x="104" y="35"/>
                  </a:lnTo>
                  <a:lnTo>
                    <a:pt x="35" y="70"/>
                  </a:lnTo>
                  <a:lnTo>
                    <a:pt x="0" y="139"/>
                  </a:lnTo>
                  <a:lnTo>
                    <a:pt x="0" y="208"/>
                  </a:lnTo>
                  <a:lnTo>
                    <a:pt x="0" y="312"/>
                  </a:lnTo>
                  <a:lnTo>
                    <a:pt x="35" y="381"/>
                  </a:lnTo>
                  <a:lnTo>
                    <a:pt x="104" y="415"/>
                  </a:lnTo>
                  <a:lnTo>
                    <a:pt x="5045" y="415"/>
                  </a:lnTo>
                  <a:lnTo>
                    <a:pt x="8778" y="5944"/>
                  </a:lnTo>
                  <a:lnTo>
                    <a:pt x="8881" y="6014"/>
                  </a:lnTo>
                  <a:lnTo>
                    <a:pt x="8950" y="6048"/>
                  </a:lnTo>
                  <a:lnTo>
                    <a:pt x="9089" y="6014"/>
                  </a:lnTo>
                  <a:lnTo>
                    <a:pt x="9158" y="5944"/>
                  </a:lnTo>
                  <a:lnTo>
                    <a:pt x="9158" y="5875"/>
                  </a:lnTo>
                  <a:lnTo>
                    <a:pt x="9158" y="5806"/>
                  </a:lnTo>
                  <a:lnTo>
                    <a:pt x="9158" y="5703"/>
                  </a:lnTo>
                  <a:lnTo>
                    <a:pt x="5356" y="104"/>
                  </a:lnTo>
                  <a:lnTo>
                    <a:pt x="5287" y="35"/>
                  </a:lnTo>
                  <a:lnTo>
                    <a:pt x="518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6" name="Google Shape;14134;p81">
              <a:extLst>
                <a:ext uri="{FF2B5EF4-FFF2-40B4-BE49-F238E27FC236}">
                  <a16:creationId xmlns:a16="http://schemas.microsoft.com/office/drawing/2014/main" id="{2E95FFBE-79E9-A952-78A1-5AD44A8E0910}"/>
                </a:ext>
              </a:extLst>
            </p:cNvPr>
            <p:cNvSpPr/>
            <p:nvPr/>
          </p:nvSpPr>
          <p:spPr>
            <a:xfrm>
              <a:off x="2011325" y="3137400"/>
              <a:ext cx="144300" cy="39750"/>
            </a:xfrm>
            <a:custGeom>
              <a:avLst/>
              <a:gdLst/>
              <a:ahLst/>
              <a:cxnLst/>
              <a:rect l="l" t="t" r="r" b="b"/>
              <a:pathLst>
                <a:path w="5772" h="1590" extrusionOk="0">
                  <a:moveTo>
                    <a:pt x="346" y="0"/>
                  </a:moveTo>
                  <a:lnTo>
                    <a:pt x="208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1" y="346"/>
                  </a:lnTo>
                  <a:lnTo>
                    <a:pt x="1" y="1279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208" y="1590"/>
                  </a:lnTo>
                  <a:lnTo>
                    <a:pt x="5564" y="1590"/>
                  </a:lnTo>
                  <a:lnTo>
                    <a:pt x="5668" y="1521"/>
                  </a:lnTo>
                  <a:lnTo>
                    <a:pt x="5737" y="1417"/>
                  </a:lnTo>
                  <a:lnTo>
                    <a:pt x="5772" y="1279"/>
                  </a:lnTo>
                  <a:lnTo>
                    <a:pt x="5772" y="346"/>
                  </a:lnTo>
                  <a:lnTo>
                    <a:pt x="5737" y="208"/>
                  </a:lnTo>
                  <a:lnTo>
                    <a:pt x="5668" y="104"/>
                  </a:lnTo>
                  <a:lnTo>
                    <a:pt x="5564" y="35"/>
                  </a:lnTo>
                  <a:lnTo>
                    <a:pt x="5461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7" name="Google Shape;14135;p81">
              <a:extLst>
                <a:ext uri="{FF2B5EF4-FFF2-40B4-BE49-F238E27FC236}">
                  <a16:creationId xmlns:a16="http://schemas.microsoft.com/office/drawing/2014/main" id="{E7F0A755-B25B-96B0-14C1-5BABF5AA174E}"/>
                </a:ext>
              </a:extLst>
            </p:cNvPr>
            <p:cNvSpPr/>
            <p:nvPr/>
          </p:nvSpPr>
          <p:spPr>
            <a:xfrm>
              <a:off x="2011325" y="3137400"/>
              <a:ext cx="144300" cy="39750"/>
            </a:xfrm>
            <a:custGeom>
              <a:avLst/>
              <a:gdLst/>
              <a:ahLst/>
              <a:cxnLst/>
              <a:rect l="l" t="t" r="r" b="b"/>
              <a:pathLst>
                <a:path w="5772" h="1590" fill="none" extrusionOk="0">
                  <a:moveTo>
                    <a:pt x="5461" y="0"/>
                  </a:moveTo>
                  <a:lnTo>
                    <a:pt x="346" y="0"/>
                  </a:lnTo>
                  <a:lnTo>
                    <a:pt x="346" y="0"/>
                  </a:lnTo>
                  <a:lnTo>
                    <a:pt x="208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1" y="346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208" y="1590"/>
                  </a:lnTo>
                  <a:lnTo>
                    <a:pt x="346" y="1590"/>
                  </a:lnTo>
                  <a:lnTo>
                    <a:pt x="5461" y="1590"/>
                  </a:lnTo>
                  <a:lnTo>
                    <a:pt x="5461" y="1590"/>
                  </a:lnTo>
                  <a:lnTo>
                    <a:pt x="5564" y="1590"/>
                  </a:lnTo>
                  <a:lnTo>
                    <a:pt x="5668" y="1521"/>
                  </a:lnTo>
                  <a:lnTo>
                    <a:pt x="5737" y="1417"/>
                  </a:lnTo>
                  <a:lnTo>
                    <a:pt x="5772" y="1279"/>
                  </a:lnTo>
                  <a:lnTo>
                    <a:pt x="5772" y="346"/>
                  </a:lnTo>
                  <a:lnTo>
                    <a:pt x="5772" y="346"/>
                  </a:lnTo>
                  <a:lnTo>
                    <a:pt x="5737" y="208"/>
                  </a:lnTo>
                  <a:lnTo>
                    <a:pt x="5668" y="104"/>
                  </a:lnTo>
                  <a:lnTo>
                    <a:pt x="5564" y="35"/>
                  </a:lnTo>
                  <a:lnTo>
                    <a:pt x="546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8" name="Google Shape;14136;p81">
              <a:extLst>
                <a:ext uri="{FF2B5EF4-FFF2-40B4-BE49-F238E27FC236}">
                  <a16:creationId xmlns:a16="http://schemas.microsoft.com/office/drawing/2014/main" id="{11A1E395-2CED-E6D6-B400-6BD7320C834F}"/>
                </a:ext>
              </a:extLst>
            </p:cNvPr>
            <p:cNvSpPr/>
            <p:nvPr/>
          </p:nvSpPr>
          <p:spPr>
            <a:xfrm>
              <a:off x="2207425" y="3137400"/>
              <a:ext cx="132225" cy="39750"/>
            </a:xfrm>
            <a:custGeom>
              <a:avLst/>
              <a:gdLst/>
              <a:ahLst/>
              <a:cxnLst/>
              <a:rect l="l" t="t" r="r" b="b"/>
              <a:pathLst>
                <a:path w="5289" h="1590" extrusionOk="0">
                  <a:moveTo>
                    <a:pt x="277" y="0"/>
                  </a:moveTo>
                  <a:lnTo>
                    <a:pt x="174" y="35"/>
                  </a:lnTo>
                  <a:lnTo>
                    <a:pt x="70" y="104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417"/>
                  </a:lnTo>
                  <a:lnTo>
                    <a:pt x="70" y="1521"/>
                  </a:lnTo>
                  <a:lnTo>
                    <a:pt x="174" y="1590"/>
                  </a:lnTo>
                  <a:lnTo>
                    <a:pt x="5115" y="1590"/>
                  </a:lnTo>
                  <a:lnTo>
                    <a:pt x="5219" y="1521"/>
                  </a:lnTo>
                  <a:lnTo>
                    <a:pt x="5288" y="1417"/>
                  </a:lnTo>
                  <a:lnTo>
                    <a:pt x="5288" y="1313"/>
                  </a:lnTo>
                  <a:lnTo>
                    <a:pt x="5288" y="311"/>
                  </a:lnTo>
                  <a:lnTo>
                    <a:pt x="5288" y="173"/>
                  </a:lnTo>
                  <a:lnTo>
                    <a:pt x="5219" y="104"/>
                  </a:lnTo>
                  <a:lnTo>
                    <a:pt x="5115" y="35"/>
                  </a:lnTo>
                  <a:lnTo>
                    <a:pt x="5012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39" name="Google Shape;14137;p81">
              <a:extLst>
                <a:ext uri="{FF2B5EF4-FFF2-40B4-BE49-F238E27FC236}">
                  <a16:creationId xmlns:a16="http://schemas.microsoft.com/office/drawing/2014/main" id="{14B9FCB1-4782-53D2-D9DD-159F769A9933}"/>
                </a:ext>
              </a:extLst>
            </p:cNvPr>
            <p:cNvSpPr/>
            <p:nvPr/>
          </p:nvSpPr>
          <p:spPr>
            <a:xfrm>
              <a:off x="2207425" y="3137400"/>
              <a:ext cx="132225" cy="39750"/>
            </a:xfrm>
            <a:custGeom>
              <a:avLst/>
              <a:gdLst/>
              <a:ahLst/>
              <a:cxnLst/>
              <a:rect l="l" t="t" r="r" b="b"/>
              <a:pathLst>
                <a:path w="5289" h="1590" fill="none" extrusionOk="0">
                  <a:moveTo>
                    <a:pt x="5012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4" y="35"/>
                  </a:lnTo>
                  <a:lnTo>
                    <a:pt x="70" y="104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1" y="1417"/>
                  </a:lnTo>
                  <a:lnTo>
                    <a:pt x="70" y="1521"/>
                  </a:lnTo>
                  <a:lnTo>
                    <a:pt x="174" y="1590"/>
                  </a:lnTo>
                  <a:lnTo>
                    <a:pt x="277" y="1590"/>
                  </a:lnTo>
                  <a:lnTo>
                    <a:pt x="5012" y="1590"/>
                  </a:lnTo>
                  <a:lnTo>
                    <a:pt x="5012" y="1590"/>
                  </a:lnTo>
                  <a:lnTo>
                    <a:pt x="5115" y="1590"/>
                  </a:lnTo>
                  <a:lnTo>
                    <a:pt x="5219" y="1521"/>
                  </a:lnTo>
                  <a:lnTo>
                    <a:pt x="5288" y="1417"/>
                  </a:lnTo>
                  <a:lnTo>
                    <a:pt x="5288" y="1313"/>
                  </a:lnTo>
                  <a:lnTo>
                    <a:pt x="5288" y="311"/>
                  </a:lnTo>
                  <a:lnTo>
                    <a:pt x="5288" y="311"/>
                  </a:lnTo>
                  <a:lnTo>
                    <a:pt x="5288" y="173"/>
                  </a:lnTo>
                  <a:lnTo>
                    <a:pt x="5219" y="104"/>
                  </a:lnTo>
                  <a:lnTo>
                    <a:pt x="5115" y="35"/>
                  </a:lnTo>
                  <a:lnTo>
                    <a:pt x="501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0" name="Google Shape;14138;p81">
              <a:extLst>
                <a:ext uri="{FF2B5EF4-FFF2-40B4-BE49-F238E27FC236}">
                  <a16:creationId xmlns:a16="http://schemas.microsoft.com/office/drawing/2014/main" id="{E007C323-C525-B063-C46F-1417E859B0F4}"/>
                </a:ext>
              </a:extLst>
            </p:cNvPr>
            <p:cNvSpPr/>
            <p:nvPr/>
          </p:nvSpPr>
          <p:spPr>
            <a:xfrm>
              <a:off x="2354300" y="313740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extrusionOk="0">
                  <a:moveTo>
                    <a:pt x="312" y="0"/>
                  </a:moveTo>
                  <a:lnTo>
                    <a:pt x="173" y="35"/>
                  </a:lnTo>
                  <a:lnTo>
                    <a:pt x="104" y="104"/>
                  </a:lnTo>
                  <a:lnTo>
                    <a:pt x="35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173" y="1590"/>
                  </a:lnTo>
                  <a:lnTo>
                    <a:pt x="3111" y="1590"/>
                  </a:lnTo>
                  <a:lnTo>
                    <a:pt x="3214" y="1521"/>
                  </a:lnTo>
                  <a:lnTo>
                    <a:pt x="3283" y="1417"/>
                  </a:lnTo>
                  <a:lnTo>
                    <a:pt x="3318" y="1313"/>
                  </a:lnTo>
                  <a:lnTo>
                    <a:pt x="3318" y="311"/>
                  </a:lnTo>
                  <a:lnTo>
                    <a:pt x="3283" y="173"/>
                  </a:lnTo>
                  <a:lnTo>
                    <a:pt x="3214" y="104"/>
                  </a:lnTo>
                  <a:lnTo>
                    <a:pt x="3111" y="35"/>
                  </a:lnTo>
                  <a:lnTo>
                    <a:pt x="3007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1" name="Google Shape;14139;p81">
              <a:extLst>
                <a:ext uri="{FF2B5EF4-FFF2-40B4-BE49-F238E27FC236}">
                  <a16:creationId xmlns:a16="http://schemas.microsoft.com/office/drawing/2014/main" id="{B2F08024-B37A-0DA7-3D46-F28932B615D4}"/>
                </a:ext>
              </a:extLst>
            </p:cNvPr>
            <p:cNvSpPr/>
            <p:nvPr/>
          </p:nvSpPr>
          <p:spPr>
            <a:xfrm>
              <a:off x="2354300" y="313740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fill="none" extrusionOk="0">
                  <a:moveTo>
                    <a:pt x="3007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3" y="35"/>
                  </a:lnTo>
                  <a:lnTo>
                    <a:pt x="104" y="104"/>
                  </a:lnTo>
                  <a:lnTo>
                    <a:pt x="35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173" y="1590"/>
                  </a:lnTo>
                  <a:lnTo>
                    <a:pt x="312" y="1590"/>
                  </a:lnTo>
                  <a:lnTo>
                    <a:pt x="3007" y="1590"/>
                  </a:lnTo>
                  <a:lnTo>
                    <a:pt x="3007" y="1590"/>
                  </a:lnTo>
                  <a:lnTo>
                    <a:pt x="3111" y="1590"/>
                  </a:lnTo>
                  <a:lnTo>
                    <a:pt x="3214" y="1521"/>
                  </a:lnTo>
                  <a:lnTo>
                    <a:pt x="3283" y="1417"/>
                  </a:lnTo>
                  <a:lnTo>
                    <a:pt x="3318" y="1313"/>
                  </a:lnTo>
                  <a:lnTo>
                    <a:pt x="3318" y="311"/>
                  </a:lnTo>
                  <a:lnTo>
                    <a:pt x="3318" y="311"/>
                  </a:lnTo>
                  <a:lnTo>
                    <a:pt x="3283" y="173"/>
                  </a:lnTo>
                  <a:lnTo>
                    <a:pt x="3214" y="104"/>
                  </a:lnTo>
                  <a:lnTo>
                    <a:pt x="3111" y="35"/>
                  </a:lnTo>
                  <a:lnTo>
                    <a:pt x="30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2" name="Google Shape;14140;p81">
              <a:extLst>
                <a:ext uri="{FF2B5EF4-FFF2-40B4-BE49-F238E27FC236}">
                  <a16:creationId xmlns:a16="http://schemas.microsoft.com/office/drawing/2014/main" id="{5AA8740E-6EB1-99B6-2A53-D47D6149E1C8}"/>
                </a:ext>
              </a:extLst>
            </p:cNvPr>
            <p:cNvSpPr/>
            <p:nvPr/>
          </p:nvSpPr>
          <p:spPr>
            <a:xfrm>
              <a:off x="3341750" y="3169350"/>
              <a:ext cx="82950" cy="254875"/>
            </a:xfrm>
            <a:custGeom>
              <a:avLst/>
              <a:gdLst/>
              <a:ahLst/>
              <a:cxnLst/>
              <a:rect l="l" t="t" r="r" b="b"/>
              <a:pathLst>
                <a:path w="3318" h="10195" extrusionOk="0">
                  <a:moveTo>
                    <a:pt x="208" y="1"/>
                  </a:moveTo>
                  <a:lnTo>
                    <a:pt x="139" y="35"/>
                  </a:lnTo>
                  <a:lnTo>
                    <a:pt x="70" y="70"/>
                  </a:lnTo>
                  <a:lnTo>
                    <a:pt x="35" y="139"/>
                  </a:lnTo>
                  <a:lnTo>
                    <a:pt x="0" y="243"/>
                  </a:lnTo>
                  <a:lnTo>
                    <a:pt x="70" y="3145"/>
                  </a:lnTo>
                  <a:lnTo>
                    <a:pt x="173" y="6325"/>
                  </a:lnTo>
                  <a:lnTo>
                    <a:pt x="277" y="9988"/>
                  </a:lnTo>
                  <a:lnTo>
                    <a:pt x="311" y="10057"/>
                  </a:lnTo>
                  <a:lnTo>
                    <a:pt x="346" y="10126"/>
                  </a:lnTo>
                  <a:lnTo>
                    <a:pt x="415" y="10160"/>
                  </a:lnTo>
                  <a:lnTo>
                    <a:pt x="519" y="10195"/>
                  </a:lnTo>
                  <a:lnTo>
                    <a:pt x="3111" y="10195"/>
                  </a:lnTo>
                  <a:lnTo>
                    <a:pt x="3180" y="10160"/>
                  </a:lnTo>
                  <a:lnTo>
                    <a:pt x="3249" y="10126"/>
                  </a:lnTo>
                  <a:lnTo>
                    <a:pt x="3318" y="10057"/>
                  </a:lnTo>
                  <a:lnTo>
                    <a:pt x="3318" y="9953"/>
                  </a:lnTo>
                  <a:lnTo>
                    <a:pt x="3318" y="9884"/>
                  </a:lnTo>
                  <a:lnTo>
                    <a:pt x="3249" y="9815"/>
                  </a:lnTo>
                  <a:lnTo>
                    <a:pt x="3180" y="9780"/>
                  </a:lnTo>
                  <a:lnTo>
                    <a:pt x="3111" y="9746"/>
                  </a:lnTo>
                  <a:lnTo>
                    <a:pt x="692" y="9746"/>
                  </a:lnTo>
                  <a:lnTo>
                    <a:pt x="588" y="5703"/>
                  </a:lnTo>
                  <a:lnTo>
                    <a:pt x="450" y="208"/>
                  </a:lnTo>
                  <a:lnTo>
                    <a:pt x="415" y="139"/>
                  </a:lnTo>
                  <a:lnTo>
                    <a:pt x="381" y="70"/>
                  </a:lnTo>
                  <a:lnTo>
                    <a:pt x="311" y="35"/>
                  </a:lnTo>
                  <a:lnTo>
                    <a:pt x="208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3" name="Google Shape;14141;p81">
              <a:extLst>
                <a:ext uri="{FF2B5EF4-FFF2-40B4-BE49-F238E27FC236}">
                  <a16:creationId xmlns:a16="http://schemas.microsoft.com/office/drawing/2014/main" id="{E9490AC5-B180-9519-8FF9-683BBACA0087}"/>
                </a:ext>
              </a:extLst>
            </p:cNvPr>
            <p:cNvSpPr/>
            <p:nvPr/>
          </p:nvSpPr>
          <p:spPr>
            <a:xfrm>
              <a:off x="3703725" y="3394850"/>
              <a:ext cx="141700" cy="43200"/>
            </a:xfrm>
            <a:custGeom>
              <a:avLst/>
              <a:gdLst/>
              <a:ahLst/>
              <a:cxnLst/>
              <a:rect l="l" t="t" r="r" b="b"/>
              <a:pathLst>
                <a:path w="5668" h="1728" extrusionOk="0">
                  <a:moveTo>
                    <a:pt x="242" y="0"/>
                  </a:move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48"/>
                  </a:lnTo>
                  <a:lnTo>
                    <a:pt x="35" y="1486"/>
                  </a:lnTo>
                  <a:lnTo>
                    <a:pt x="104" y="1624"/>
                  </a:lnTo>
                  <a:lnTo>
                    <a:pt x="242" y="1693"/>
                  </a:lnTo>
                  <a:lnTo>
                    <a:pt x="381" y="1728"/>
                  </a:lnTo>
                  <a:lnTo>
                    <a:pt x="5668" y="1728"/>
                  </a:lnTo>
                  <a:lnTo>
                    <a:pt x="5322" y="1313"/>
                  </a:lnTo>
                  <a:lnTo>
                    <a:pt x="5011" y="899"/>
                  </a:lnTo>
                  <a:lnTo>
                    <a:pt x="4424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4" name="Google Shape;14142;p81">
              <a:extLst>
                <a:ext uri="{FF2B5EF4-FFF2-40B4-BE49-F238E27FC236}">
                  <a16:creationId xmlns:a16="http://schemas.microsoft.com/office/drawing/2014/main" id="{55C1F4E7-FCB3-A1F3-5C3D-FE2451E64BE4}"/>
                </a:ext>
              </a:extLst>
            </p:cNvPr>
            <p:cNvSpPr/>
            <p:nvPr/>
          </p:nvSpPr>
          <p:spPr>
            <a:xfrm>
              <a:off x="3703725" y="3394850"/>
              <a:ext cx="141700" cy="43200"/>
            </a:xfrm>
            <a:custGeom>
              <a:avLst/>
              <a:gdLst/>
              <a:ahLst/>
              <a:cxnLst/>
              <a:rect l="l" t="t" r="r" b="b"/>
              <a:pathLst>
                <a:path w="5668" h="1728" fill="none" extrusionOk="0">
                  <a:moveTo>
                    <a:pt x="4424" y="0"/>
                  </a:moveTo>
                  <a:lnTo>
                    <a:pt x="381" y="0"/>
                  </a:lnTo>
                  <a:lnTo>
                    <a:pt x="381" y="0"/>
                  </a:lnTo>
                  <a:lnTo>
                    <a:pt x="242" y="0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48"/>
                  </a:lnTo>
                  <a:lnTo>
                    <a:pt x="1" y="1348"/>
                  </a:lnTo>
                  <a:lnTo>
                    <a:pt x="35" y="1486"/>
                  </a:lnTo>
                  <a:lnTo>
                    <a:pt x="104" y="1624"/>
                  </a:lnTo>
                  <a:lnTo>
                    <a:pt x="242" y="1693"/>
                  </a:lnTo>
                  <a:lnTo>
                    <a:pt x="381" y="1728"/>
                  </a:lnTo>
                  <a:lnTo>
                    <a:pt x="5668" y="1728"/>
                  </a:lnTo>
                  <a:lnTo>
                    <a:pt x="5668" y="1728"/>
                  </a:lnTo>
                  <a:lnTo>
                    <a:pt x="5322" y="1313"/>
                  </a:lnTo>
                  <a:lnTo>
                    <a:pt x="5011" y="899"/>
                  </a:lnTo>
                  <a:lnTo>
                    <a:pt x="44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5" name="Google Shape;14143;p81">
              <a:extLst>
                <a:ext uri="{FF2B5EF4-FFF2-40B4-BE49-F238E27FC236}">
                  <a16:creationId xmlns:a16="http://schemas.microsoft.com/office/drawing/2014/main" id="{AA6F2D4A-4174-7BDB-CC80-0D46B8F0A0E4}"/>
                </a:ext>
              </a:extLst>
            </p:cNvPr>
            <p:cNvSpPr/>
            <p:nvPr/>
          </p:nvSpPr>
          <p:spPr>
            <a:xfrm>
              <a:off x="3470475" y="3394850"/>
              <a:ext cx="95050" cy="43200"/>
            </a:xfrm>
            <a:custGeom>
              <a:avLst/>
              <a:gdLst/>
              <a:ahLst/>
              <a:cxnLst/>
              <a:rect l="l" t="t" r="r" b="b"/>
              <a:pathLst>
                <a:path w="3802" h="1728" extrusionOk="0">
                  <a:moveTo>
                    <a:pt x="104" y="0"/>
                  </a:moveTo>
                  <a:lnTo>
                    <a:pt x="35" y="69"/>
                  </a:lnTo>
                  <a:lnTo>
                    <a:pt x="0" y="173"/>
                  </a:lnTo>
                  <a:lnTo>
                    <a:pt x="0" y="311"/>
                  </a:lnTo>
                  <a:lnTo>
                    <a:pt x="0" y="1417"/>
                  </a:lnTo>
                  <a:lnTo>
                    <a:pt x="0" y="1521"/>
                  </a:lnTo>
                  <a:lnTo>
                    <a:pt x="35" y="1624"/>
                  </a:lnTo>
                  <a:lnTo>
                    <a:pt x="104" y="1693"/>
                  </a:lnTo>
                  <a:lnTo>
                    <a:pt x="208" y="1728"/>
                  </a:lnTo>
                  <a:lnTo>
                    <a:pt x="3594" y="1728"/>
                  </a:lnTo>
                  <a:lnTo>
                    <a:pt x="3663" y="1693"/>
                  </a:lnTo>
                  <a:lnTo>
                    <a:pt x="3732" y="1624"/>
                  </a:lnTo>
                  <a:lnTo>
                    <a:pt x="3802" y="1521"/>
                  </a:lnTo>
                  <a:lnTo>
                    <a:pt x="3802" y="1417"/>
                  </a:lnTo>
                  <a:lnTo>
                    <a:pt x="3802" y="311"/>
                  </a:lnTo>
                  <a:lnTo>
                    <a:pt x="3802" y="173"/>
                  </a:lnTo>
                  <a:lnTo>
                    <a:pt x="3732" y="69"/>
                  </a:lnTo>
                  <a:lnTo>
                    <a:pt x="366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6" name="Google Shape;14144;p81">
              <a:extLst>
                <a:ext uri="{FF2B5EF4-FFF2-40B4-BE49-F238E27FC236}">
                  <a16:creationId xmlns:a16="http://schemas.microsoft.com/office/drawing/2014/main" id="{60512F77-42D6-A28B-17E1-B35D67C4CC49}"/>
                </a:ext>
              </a:extLst>
            </p:cNvPr>
            <p:cNvSpPr/>
            <p:nvPr/>
          </p:nvSpPr>
          <p:spPr>
            <a:xfrm>
              <a:off x="3470475" y="3394850"/>
              <a:ext cx="95050" cy="43200"/>
            </a:xfrm>
            <a:custGeom>
              <a:avLst/>
              <a:gdLst/>
              <a:ahLst/>
              <a:cxnLst/>
              <a:rect l="l" t="t" r="r" b="b"/>
              <a:pathLst>
                <a:path w="3802" h="1728" fill="none" extrusionOk="0">
                  <a:moveTo>
                    <a:pt x="3594" y="0"/>
                  </a:moveTo>
                  <a:lnTo>
                    <a:pt x="208" y="0"/>
                  </a:lnTo>
                  <a:lnTo>
                    <a:pt x="208" y="0"/>
                  </a:lnTo>
                  <a:lnTo>
                    <a:pt x="104" y="0"/>
                  </a:lnTo>
                  <a:lnTo>
                    <a:pt x="35" y="69"/>
                  </a:lnTo>
                  <a:lnTo>
                    <a:pt x="0" y="173"/>
                  </a:lnTo>
                  <a:lnTo>
                    <a:pt x="0" y="311"/>
                  </a:lnTo>
                  <a:lnTo>
                    <a:pt x="0" y="1417"/>
                  </a:lnTo>
                  <a:lnTo>
                    <a:pt x="0" y="1417"/>
                  </a:lnTo>
                  <a:lnTo>
                    <a:pt x="0" y="1521"/>
                  </a:lnTo>
                  <a:lnTo>
                    <a:pt x="35" y="1624"/>
                  </a:lnTo>
                  <a:lnTo>
                    <a:pt x="104" y="1693"/>
                  </a:lnTo>
                  <a:lnTo>
                    <a:pt x="208" y="1728"/>
                  </a:lnTo>
                  <a:lnTo>
                    <a:pt x="3594" y="1728"/>
                  </a:lnTo>
                  <a:lnTo>
                    <a:pt x="3594" y="1728"/>
                  </a:lnTo>
                  <a:lnTo>
                    <a:pt x="3663" y="1693"/>
                  </a:lnTo>
                  <a:lnTo>
                    <a:pt x="3732" y="1624"/>
                  </a:lnTo>
                  <a:lnTo>
                    <a:pt x="3802" y="1521"/>
                  </a:lnTo>
                  <a:lnTo>
                    <a:pt x="3802" y="1417"/>
                  </a:lnTo>
                  <a:lnTo>
                    <a:pt x="3802" y="311"/>
                  </a:lnTo>
                  <a:lnTo>
                    <a:pt x="3802" y="311"/>
                  </a:lnTo>
                  <a:lnTo>
                    <a:pt x="3802" y="173"/>
                  </a:lnTo>
                  <a:lnTo>
                    <a:pt x="3732" y="69"/>
                  </a:lnTo>
                  <a:lnTo>
                    <a:pt x="3663" y="0"/>
                  </a:lnTo>
                  <a:lnTo>
                    <a:pt x="359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7" name="Google Shape;14145;p81">
              <a:extLst>
                <a:ext uri="{FF2B5EF4-FFF2-40B4-BE49-F238E27FC236}">
                  <a16:creationId xmlns:a16="http://schemas.microsoft.com/office/drawing/2014/main" id="{3C819D1A-92EB-9390-90C9-EF3FF78BF569}"/>
                </a:ext>
              </a:extLst>
            </p:cNvPr>
            <p:cNvSpPr/>
            <p:nvPr/>
          </p:nvSpPr>
          <p:spPr>
            <a:xfrm>
              <a:off x="3585375" y="3394850"/>
              <a:ext cx="89875" cy="43200"/>
            </a:xfrm>
            <a:custGeom>
              <a:avLst/>
              <a:gdLst/>
              <a:ahLst/>
              <a:cxnLst/>
              <a:rect l="l" t="t" r="r" b="b"/>
              <a:pathLst>
                <a:path w="3595" h="1728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82"/>
                  </a:lnTo>
                  <a:lnTo>
                    <a:pt x="35" y="1521"/>
                  </a:lnTo>
                  <a:lnTo>
                    <a:pt x="104" y="1624"/>
                  </a:lnTo>
                  <a:lnTo>
                    <a:pt x="208" y="1693"/>
                  </a:lnTo>
                  <a:lnTo>
                    <a:pt x="311" y="1728"/>
                  </a:lnTo>
                  <a:lnTo>
                    <a:pt x="3249" y="1728"/>
                  </a:lnTo>
                  <a:lnTo>
                    <a:pt x="3387" y="1693"/>
                  </a:lnTo>
                  <a:lnTo>
                    <a:pt x="3491" y="1624"/>
                  </a:lnTo>
                  <a:lnTo>
                    <a:pt x="3560" y="1521"/>
                  </a:lnTo>
                  <a:lnTo>
                    <a:pt x="3594" y="1382"/>
                  </a:lnTo>
                  <a:lnTo>
                    <a:pt x="3594" y="311"/>
                  </a:lnTo>
                  <a:lnTo>
                    <a:pt x="3560" y="173"/>
                  </a:lnTo>
                  <a:lnTo>
                    <a:pt x="3491" y="69"/>
                  </a:lnTo>
                  <a:lnTo>
                    <a:pt x="3387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8" name="Google Shape;14146;p81">
              <a:extLst>
                <a:ext uri="{FF2B5EF4-FFF2-40B4-BE49-F238E27FC236}">
                  <a16:creationId xmlns:a16="http://schemas.microsoft.com/office/drawing/2014/main" id="{21D66B97-C04C-0D61-C948-ABD457B3B26A}"/>
                </a:ext>
              </a:extLst>
            </p:cNvPr>
            <p:cNvSpPr/>
            <p:nvPr/>
          </p:nvSpPr>
          <p:spPr>
            <a:xfrm>
              <a:off x="3585375" y="3394850"/>
              <a:ext cx="89875" cy="43200"/>
            </a:xfrm>
            <a:custGeom>
              <a:avLst/>
              <a:gdLst/>
              <a:ahLst/>
              <a:cxnLst/>
              <a:rect l="l" t="t" r="r" b="b"/>
              <a:pathLst>
                <a:path w="3595" h="1728" fill="none" extrusionOk="0">
                  <a:moveTo>
                    <a:pt x="3249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82"/>
                  </a:lnTo>
                  <a:lnTo>
                    <a:pt x="0" y="1382"/>
                  </a:lnTo>
                  <a:lnTo>
                    <a:pt x="35" y="1521"/>
                  </a:lnTo>
                  <a:lnTo>
                    <a:pt x="104" y="1624"/>
                  </a:lnTo>
                  <a:lnTo>
                    <a:pt x="208" y="1693"/>
                  </a:lnTo>
                  <a:lnTo>
                    <a:pt x="311" y="1728"/>
                  </a:lnTo>
                  <a:lnTo>
                    <a:pt x="3249" y="1728"/>
                  </a:lnTo>
                  <a:lnTo>
                    <a:pt x="3249" y="1728"/>
                  </a:lnTo>
                  <a:lnTo>
                    <a:pt x="3387" y="1693"/>
                  </a:lnTo>
                  <a:lnTo>
                    <a:pt x="3491" y="1624"/>
                  </a:lnTo>
                  <a:lnTo>
                    <a:pt x="3560" y="1521"/>
                  </a:lnTo>
                  <a:lnTo>
                    <a:pt x="3594" y="1382"/>
                  </a:lnTo>
                  <a:lnTo>
                    <a:pt x="3594" y="311"/>
                  </a:lnTo>
                  <a:lnTo>
                    <a:pt x="3594" y="311"/>
                  </a:lnTo>
                  <a:lnTo>
                    <a:pt x="3560" y="173"/>
                  </a:lnTo>
                  <a:lnTo>
                    <a:pt x="3491" y="69"/>
                  </a:lnTo>
                  <a:lnTo>
                    <a:pt x="3387" y="0"/>
                  </a:lnTo>
                  <a:lnTo>
                    <a:pt x="324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49" name="Google Shape;14147;p81">
              <a:extLst>
                <a:ext uri="{FF2B5EF4-FFF2-40B4-BE49-F238E27FC236}">
                  <a16:creationId xmlns:a16="http://schemas.microsoft.com/office/drawing/2014/main" id="{30D031F7-A8A9-99BC-047E-78EC4F63B4D2}"/>
                </a:ext>
              </a:extLst>
            </p:cNvPr>
            <p:cNvSpPr/>
            <p:nvPr/>
          </p:nvSpPr>
          <p:spPr>
            <a:xfrm>
              <a:off x="2139175" y="3630675"/>
              <a:ext cx="415575" cy="415575"/>
            </a:xfrm>
            <a:custGeom>
              <a:avLst/>
              <a:gdLst/>
              <a:ahLst/>
              <a:cxnLst/>
              <a:rect l="l" t="t" r="r" b="b"/>
              <a:pathLst>
                <a:path w="16623" h="16623" extrusionOk="0">
                  <a:moveTo>
                    <a:pt x="8294" y="2489"/>
                  </a:moveTo>
                  <a:lnTo>
                    <a:pt x="8882" y="2524"/>
                  </a:lnTo>
                  <a:lnTo>
                    <a:pt x="9469" y="2627"/>
                  </a:lnTo>
                  <a:lnTo>
                    <a:pt x="10022" y="2765"/>
                  </a:lnTo>
                  <a:lnTo>
                    <a:pt x="10575" y="2973"/>
                  </a:lnTo>
                  <a:lnTo>
                    <a:pt x="11059" y="3215"/>
                  </a:lnTo>
                  <a:lnTo>
                    <a:pt x="11543" y="3491"/>
                  </a:lnTo>
                  <a:lnTo>
                    <a:pt x="11992" y="3837"/>
                  </a:lnTo>
                  <a:lnTo>
                    <a:pt x="12407" y="4217"/>
                  </a:lnTo>
                  <a:lnTo>
                    <a:pt x="12787" y="4632"/>
                  </a:lnTo>
                  <a:lnTo>
                    <a:pt x="13132" y="5081"/>
                  </a:lnTo>
                  <a:lnTo>
                    <a:pt x="13409" y="5565"/>
                  </a:lnTo>
                  <a:lnTo>
                    <a:pt x="13651" y="6048"/>
                  </a:lnTo>
                  <a:lnTo>
                    <a:pt x="13858" y="6601"/>
                  </a:lnTo>
                  <a:lnTo>
                    <a:pt x="13996" y="7154"/>
                  </a:lnTo>
                  <a:lnTo>
                    <a:pt x="14065" y="7707"/>
                  </a:lnTo>
                  <a:lnTo>
                    <a:pt x="14100" y="8329"/>
                  </a:lnTo>
                  <a:lnTo>
                    <a:pt x="14065" y="8917"/>
                  </a:lnTo>
                  <a:lnTo>
                    <a:pt x="13996" y="9469"/>
                  </a:lnTo>
                  <a:lnTo>
                    <a:pt x="13858" y="10057"/>
                  </a:lnTo>
                  <a:lnTo>
                    <a:pt x="13651" y="10575"/>
                  </a:lnTo>
                  <a:lnTo>
                    <a:pt x="13409" y="11094"/>
                  </a:lnTo>
                  <a:lnTo>
                    <a:pt x="13132" y="11577"/>
                  </a:lnTo>
                  <a:lnTo>
                    <a:pt x="12787" y="11992"/>
                  </a:lnTo>
                  <a:lnTo>
                    <a:pt x="12407" y="12407"/>
                  </a:lnTo>
                  <a:lnTo>
                    <a:pt x="11992" y="12787"/>
                  </a:lnTo>
                  <a:lnTo>
                    <a:pt x="11543" y="13132"/>
                  </a:lnTo>
                  <a:lnTo>
                    <a:pt x="11059" y="13409"/>
                  </a:lnTo>
                  <a:lnTo>
                    <a:pt x="10575" y="13651"/>
                  </a:lnTo>
                  <a:lnTo>
                    <a:pt x="10022" y="13858"/>
                  </a:lnTo>
                  <a:lnTo>
                    <a:pt x="9469" y="13996"/>
                  </a:lnTo>
                  <a:lnTo>
                    <a:pt x="8882" y="14100"/>
                  </a:lnTo>
                  <a:lnTo>
                    <a:pt x="8294" y="14135"/>
                  </a:lnTo>
                  <a:lnTo>
                    <a:pt x="7707" y="14100"/>
                  </a:lnTo>
                  <a:lnTo>
                    <a:pt x="7120" y="13996"/>
                  </a:lnTo>
                  <a:lnTo>
                    <a:pt x="6567" y="13858"/>
                  </a:lnTo>
                  <a:lnTo>
                    <a:pt x="6048" y="13651"/>
                  </a:lnTo>
                  <a:lnTo>
                    <a:pt x="5530" y="13409"/>
                  </a:lnTo>
                  <a:lnTo>
                    <a:pt x="5046" y="13132"/>
                  </a:lnTo>
                  <a:lnTo>
                    <a:pt x="4597" y="12787"/>
                  </a:lnTo>
                  <a:lnTo>
                    <a:pt x="4182" y="12407"/>
                  </a:lnTo>
                  <a:lnTo>
                    <a:pt x="3837" y="11992"/>
                  </a:lnTo>
                  <a:lnTo>
                    <a:pt x="3491" y="11577"/>
                  </a:lnTo>
                  <a:lnTo>
                    <a:pt x="3180" y="11094"/>
                  </a:lnTo>
                  <a:lnTo>
                    <a:pt x="2938" y="10575"/>
                  </a:lnTo>
                  <a:lnTo>
                    <a:pt x="2765" y="10057"/>
                  </a:lnTo>
                  <a:lnTo>
                    <a:pt x="2627" y="9469"/>
                  </a:lnTo>
                  <a:lnTo>
                    <a:pt x="2524" y="8917"/>
                  </a:lnTo>
                  <a:lnTo>
                    <a:pt x="2489" y="8329"/>
                  </a:lnTo>
                  <a:lnTo>
                    <a:pt x="2524" y="7707"/>
                  </a:lnTo>
                  <a:lnTo>
                    <a:pt x="2627" y="7154"/>
                  </a:lnTo>
                  <a:lnTo>
                    <a:pt x="2765" y="6601"/>
                  </a:lnTo>
                  <a:lnTo>
                    <a:pt x="2938" y="6048"/>
                  </a:lnTo>
                  <a:lnTo>
                    <a:pt x="3180" y="5565"/>
                  </a:lnTo>
                  <a:lnTo>
                    <a:pt x="3491" y="5081"/>
                  </a:lnTo>
                  <a:lnTo>
                    <a:pt x="3837" y="4632"/>
                  </a:lnTo>
                  <a:lnTo>
                    <a:pt x="4182" y="4217"/>
                  </a:lnTo>
                  <a:lnTo>
                    <a:pt x="4597" y="3837"/>
                  </a:lnTo>
                  <a:lnTo>
                    <a:pt x="5046" y="3491"/>
                  </a:lnTo>
                  <a:lnTo>
                    <a:pt x="5530" y="3215"/>
                  </a:lnTo>
                  <a:lnTo>
                    <a:pt x="6048" y="2973"/>
                  </a:lnTo>
                  <a:lnTo>
                    <a:pt x="6567" y="2765"/>
                  </a:lnTo>
                  <a:lnTo>
                    <a:pt x="7120" y="2627"/>
                  </a:lnTo>
                  <a:lnTo>
                    <a:pt x="7707" y="2524"/>
                  </a:lnTo>
                  <a:lnTo>
                    <a:pt x="8294" y="2489"/>
                  </a:lnTo>
                  <a:close/>
                  <a:moveTo>
                    <a:pt x="7880" y="1"/>
                  </a:moveTo>
                  <a:lnTo>
                    <a:pt x="7465" y="36"/>
                  </a:lnTo>
                  <a:lnTo>
                    <a:pt x="7050" y="105"/>
                  </a:lnTo>
                  <a:lnTo>
                    <a:pt x="6636" y="174"/>
                  </a:lnTo>
                  <a:lnTo>
                    <a:pt x="5841" y="381"/>
                  </a:lnTo>
                  <a:lnTo>
                    <a:pt x="5081" y="658"/>
                  </a:lnTo>
                  <a:lnTo>
                    <a:pt x="4355" y="1003"/>
                  </a:lnTo>
                  <a:lnTo>
                    <a:pt x="3664" y="1418"/>
                  </a:lnTo>
                  <a:lnTo>
                    <a:pt x="3007" y="1902"/>
                  </a:lnTo>
                  <a:lnTo>
                    <a:pt x="2420" y="2454"/>
                  </a:lnTo>
                  <a:lnTo>
                    <a:pt x="1902" y="3042"/>
                  </a:lnTo>
                  <a:lnTo>
                    <a:pt x="1418" y="3664"/>
                  </a:lnTo>
                  <a:lnTo>
                    <a:pt x="1003" y="4355"/>
                  </a:lnTo>
                  <a:lnTo>
                    <a:pt x="658" y="5081"/>
                  </a:lnTo>
                  <a:lnTo>
                    <a:pt x="381" y="5841"/>
                  </a:lnTo>
                  <a:lnTo>
                    <a:pt x="174" y="6636"/>
                  </a:lnTo>
                  <a:lnTo>
                    <a:pt x="105" y="7050"/>
                  </a:lnTo>
                  <a:lnTo>
                    <a:pt x="36" y="7465"/>
                  </a:lnTo>
                  <a:lnTo>
                    <a:pt x="1" y="7880"/>
                  </a:lnTo>
                  <a:lnTo>
                    <a:pt x="1" y="8329"/>
                  </a:lnTo>
                  <a:lnTo>
                    <a:pt x="1" y="8744"/>
                  </a:lnTo>
                  <a:lnTo>
                    <a:pt x="36" y="9158"/>
                  </a:lnTo>
                  <a:lnTo>
                    <a:pt x="105" y="9573"/>
                  </a:lnTo>
                  <a:lnTo>
                    <a:pt x="174" y="9988"/>
                  </a:lnTo>
                  <a:lnTo>
                    <a:pt x="381" y="10783"/>
                  </a:lnTo>
                  <a:lnTo>
                    <a:pt x="658" y="11543"/>
                  </a:lnTo>
                  <a:lnTo>
                    <a:pt x="1003" y="12269"/>
                  </a:lnTo>
                  <a:lnTo>
                    <a:pt x="1418" y="12960"/>
                  </a:lnTo>
                  <a:lnTo>
                    <a:pt x="1902" y="13582"/>
                  </a:lnTo>
                  <a:lnTo>
                    <a:pt x="2420" y="14204"/>
                  </a:lnTo>
                  <a:lnTo>
                    <a:pt x="3007" y="14722"/>
                  </a:lnTo>
                  <a:lnTo>
                    <a:pt x="3664" y="15206"/>
                  </a:lnTo>
                  <a:lnTo>
                    <a:pt x="4355" y="15620"/>
                  </a:lnTo>
                  <a:lnTo>
                    <a:pt x="5081" y="15966"/>
                  </a:lnTo>
                  <a:lnTo>
                    <a:pt x="5841" y="16242"/>
                  </a:lnTo>
                  <a:lnTo>
                    <a:pt x="6636" y="16450"/>
                  </a:lnTo>
                  <a:lnTo>
                    <a:pt x="7050" y="16519"/>
                  </a:lnTo>
                  <a:lnTo>
                    <a:pt x="7465" y="16588"/>
                  </a:lnTo>
                  <a:lnTo>
                    <a:pt x="7880" y="16623"/>
                  </a:lnTo>
                  <a:lnTo>
                    <a:pt x="8744" y="16623"/>
                  </a:lnTo>
                  <a:lnTo>
                    <a:pt x="9158" y="16588"/>
                  </a:lnTo>
                  <a:lnTo>
                    <a:pt x="9573" y="16519"/>
                  </a:lnTo>
                  <a:lnTo>
                    <a:pt x="9988" y="16450"/>
                  </a:lnTo>
                  <a:lnTo>
                    <a:pt x="10783" y="16242"/>
                  </a:lnTo>
                  <a:lnTo>
                    <a:pt x="11543" y="15966"/>
                  </a:lnTo>
                  <a:lnTo>
                    <a:pt x="12268" y="15620"/>
                  </a:lnTo>
                  <a:lnTo>
                    <a:pt x="12960" y="15206"/>
                  </a:lnTo>
                  <a:lnTo>
                    <a:pt x="13582" y="14722"/>
                  </a:lnTo>
                  <a:lnTo>
                    <a:pt x="14169" y="14204"/>
                  </a:lnTo>
                  <a:lnTo>
                    <a:pt x="14722" y="13582"/>
                  </a:lnTo>
                  <a:lnTo>
                    <a:pt x="15206" y="12960"/>
                  </a:lnTo>
                  <a:lnTo>
                    <a:pt x="15620" y="12269"/>
                  </a:lnTo>
                  <a:lnTo>
                    <a:pt x="15966" y="11543"/>
                  </a:lnTo>
                  <a:lnTo>
                    <a:pt x="16242" y="10783"/>
                  </a:lnTo>
                  <a:lnTo>
                    <a:pt x="16450" y="9988"/>
                  </a:lnTo>
                  <a:lnTo>
                    <a:pt x="16519" y="9573"/>
                  </a:lnTo>
                  <a:lnTo>
                    <a:pt x="16553" y="9158"/>
                  </a:lnTo>
                  <a:lnTo>
                    <a:pt x="16588" y="8744"/>
                  </a:lnTo>
                  <a:lnTo>
                    <a:pt x="16623" y="8329"/>
                  </a:lnTo>
                  <a:lnTo>
                    <a:pt x="16588" y="7880"/>
                  </a:lnTo>
                  <a:lnTo>
                    <a:pt x="16553" y="7465"/>
                  </a:lnTo>
                  <a:lnTo>
                    <a:pt x="16519" y="7050"/>
                  </a:lnTo>
                  <a:lnTo>
                    <a:pt x="16450" y="6636"/>
                  </a:lnTo>
                  <a:lnTo>
                    <a:pt x="16242" y="5841"/>
                  </a:lnTo>
                  <a:lnTo>
                    <a:pt x="15966" y="5081"/>
                  </a:lnTo>
                  <a:lnTo>
                    <a:pt x="15620" y="4355"/>
                  </a:lnTo>
                  <a:lnTo>
                    <a:pt x="15206" y="3664"/>
                  </a:lnTo>
                  <a:lnTo>
                    <a:pt x="14722" y="3042"/>
                  </a:lnTo>
                  <a:lnTo>
                    <a:pt x="14169" y="2454"/>
                  </a:lnTo>
                  <a:lnTo>
                    <a:pt x="13582" y="1902"/>
                  </a:lnTo>
                  <a:lnTo>
                    <a:pt x="12960" y="1418"/>
                  </a:lnTo>
                  <a:lnTo>
                    <a:pt x="12268" y="1003"/>
                  </a:lnTo>
                  <a:lnTo>
                    <a:pt x="11543" y="658"/>
                  </a:lnTo>
                  <a:lnTo>
                    <a:pt x="10783" y="381"/>
                  </a:lnTo>
                  <a:lnTo>
                    <a:pt x="9988" y="174"/>
                  </a:lnTo>
                  <a:lnTo>
                    <a:pt x="9573" y="105"/>
                  </a:lnTo>
                  <a:lnTo>
                    <a:pt x="9158" y="36"/>
                  </a:lnTo>
                  <a:lnTo>
                    <a:pt x="8744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0" name="Google Shape;14148;p81">
              <a:extLst>
                <a:ext uri="{FF2B5EF4-FFF2-40B4-BE49-F238E27FC236}">
                  <a16:creationId xmlns:a16="http://schemas.microsoft.com/office/drawing/2014/main" id="{18650154-716D-6BDC-D975-2C2BBD51D51A}"/>
                </a:ext>
              </a:extLst>
            </p:cNvPr>
            <p:cNvSpPr/>
            <p:nvPr/>
          </p:nvSpPr>
          <p:spPr>
            <a:xfrm>
              <a:off x="2614325" y="1158175"/>
              <a:ext cx="958100" cy="2681600"/>
            </a:xfrm>
            <a:custGeom>
              <a:avLst/>
              <a:gdLst/>
              <a:ahLst/>
              <a:cxnLst/>
              <a:rect l="l" t="t" r="r" b="b"/>
              <a:pathLst>
                <a:path w="38324" h="107264" extrusionOk="0">
                  <a:moveTo>
                    <a:pt x="29996" y="1"/>
                  </a:moveTo>
                  <a:lnTo>
                    <a:pt x="28026" y="70"/>
                  </a:lnTo>
                  <a:lnTo>
                    <a:pt x="26195" y="208"/>
                  </a:lnTo>
                  <a:lnTo>
                    <a:pt x="24467" y="381"/>
                  </a:lnTo>
                  <a:lnTo>
                    <a:pt x="22808" y="588"/>
                  </a:lnTo>
                  <a:lnTo>
                    <a:pt x="21288" y="899"/>
                  </a:lnTo>
                  <a:lnTo>
                    <a:pt x="19836" y="1245"/>
                  </a:lnTo>
                  <a:lnTo>
                    <a:pt x="18489" y="1659"/>
                  </a:lnTo>
                  <a:lnTo>
                    <a:pt x="17832" y="1867"/>
                  </a:lnTo>
                  <a:lnTo>
                    <a:pt x="17210" y="2109"/>
                  </a:lnTo>
                  <a:lnTo>
                    <a:pt x="16623" y="2350"/>
                  </a:lnTo>
                  <a:lnTo>
                    <a:pt x="16035" y="2627"/>
                  </a:lnTo>
                  <a:lnTo>
                    <a:pt x="15482" y="2903"/>
                  </a:lnTo>
                  <a:lnTo>
                    <a:pt x="14964" y="3214"/>
                  </a:lnTo>
                  <a:lnTo>
                    <a:pt x="14446" y="3525"/>
                  </a:lnTo>
                  <a:lnTo>
                    <a:pt x="13927" y="3871"/>
                  </a:lnTo>
                  <a:lnTo>
                    <a:pt x="13478" y="4216"/>
                  </a:lnTo>
                  <a:lnTo>
                    <a:pt x="13029" y="4562"/>
                  </a:lnTo>
                  <a:lnTo>
                    <a:pt x="12579" y="4942"/>
                  </a:lnTo>
                  <a:lnTo>
                    <a:pt x="12165" y="5322"/>
                  </a:lnTo>
                  <a:lnTo>
                    <a:pt x="11577" y="5910"/>
                  </a:lnTo>
                  <a:lnTo>
                    <a:pt x="11059" y="6532"/>
                  </a:lnTo>
                  <a:lnTo>
                    <a:pt x="10575" y="7188"/>
                  </a:lnTo>
                  <a:lnTo>
                    <a:pt x="10126" y="7879"/>
                  </a:lnTo>
                  <a:lnTo>
                    <a:pt x="9711" y="8605"/>
                  </a:lnTo>
                  <a:lnTo>
                    <a:pt x="9331" y="9365"/>
                  </a:lnTo>
                  <a:lnTo>
                    <a:pt x="8986" y="10160"/>
                  </a:lnTo>
                  <a:lnTo>
                    <a:pt x="8709" y="10990"/>
                  </a:lnTo>
                  <a:lnTo>
                    <a:pt x="8433" y="11853"/>
                  </a:lnTo>
                  <a:lnTo>
                    <a:pt x="8225" y="12752"/>
                  </a:lnTo>
                  <a:lnTo>
                    <a:pt x="8053" y="13685"/>
                  </a:lnTo>
                  <a:lnTo>
                    <a:pt x="7914" y="14652"/>
                  </a:lnTo>
                  <a:lnTo>
                    <a:pt x="7811" y="15655"/>
                  </a:lnTo>
                  <a:lnTo>
                    <a:pt x="7742" y="16691"/>
                  </a:lnTo>
                  <a:lnTo>
                    <a:pt x="7707" y="17763"/>
                  </a:lnTo>
                  <a:lnTo>
                    <a:pt x="7742" y="18868"/>
                  </a:lnTo>
                  <a:lnTo>
                    <a:pt x="7776" y="19559"/>
                  </a:lnTo>
                  <a:lnTo>
                    <a:pt x="7845" y="20216"/>
                  </a:lnTo>
                  <a:lnTo>
                    <a:pt x="7983" y="20873"/>
                  </a:lnTo>
                  <a:lnTo>
                    <a:pt x="8122" y="21495"/>
                  </a:lnTo>
                  <a:lnTo>
                    <a:pt x="8329" y="22117"/>
                  </a:lnTo>
                  <a:lnTo>
                    <a:pt x="8536" y="22704"/>
                  </a:lnTo>
                  <a:lnTo>
                    <a:pt x="8813" y="23292"/>
                  </a:lnTo>
                  <a:lnTo>
                    <a:pt x="9089" y="23879"/>
                  </a:lnTo>
                  <a:lnTo>
                    <a:pt x="9435" y="24432"/>
                  </a:lnTo>
                  <a:lnTo>
                    <a:pt x="9780" y="24950"/>
                  </a:lnTo>
                  <a:lnTo>
                    <a:pt x="10161" y="25503"/>
                  </a:lnTo>
                  <a:lnTo>
                    <a:pt x="10575" y="25987"/>
                  </a:lnTo>
                  <a:lnTo>
                    <a:pt x="11024" y="26505"/>
                  </a:lnTo>
                  <a:lnTo>
                    <a:pt x="11474" y="26989"/>
                  </a:lnTo>
                  <a:lnTo>
                    <a:pt x="11957" y="27473"/>
                  </a:lnTo>
                  <a:lnTo>
                    <a:pt x="12476" y="27922"/>
                  </a:lnTo>
                  <a:lnTo>
                    <a:pt x="13547" y="28855"/>
                  </a:lnTo>
                  <a:lnTo>
                    <a:pt x="14687" y="29719"/>
                  </a:lnTo>
                  <a:lnTo>
                    <a:pt x="15897" y="30548"/>
                  </a:lnTo>
                  <a:lnTo>
                    <a:pt x="17141" y="31378"/>
                  </a:lnTo>
                  <a:lnTo>
                    <a:pt x="18420" y="32138"/>
                  </a:lnTo>
                  <a:lnTo>
                    <a:pt x="19733" y="32933"/>
                  </a:lnTo>
                  <a:lnTo>
                    <a:pt x="22394" y="34453"/>
                  </a:lnTo>
                  <a:lnTo>
                    <a:pt x="25193" y="36043"/>
                  </a:lnTo>
                  <a:lnTo>
                    <a:pt x="26540" y="36838"/>
                  </a:lnTo>
                  <a:lnTo>
                    <a:pt x="27853" y="37667"/>
                  </a:lnTo>
                  <a:lnTo>
                    <a:pt x="29132" y="38496"/>
                  </a:lnTo>
                  <a:lnTo>
                    <a:pt x="30307" y="39326"/>
                  </a:lnTo>
                  <a:lnTo>
                    <a:pt x="31413" y="40224"/>
                  </a:lnTo>
                  <a:lnTo>
                    <a:pt x="31897" y="40673"/>
                  </a:lnTo>
                  <a:lnTo>
                    <a:pt x="32415" y="41123"/>
                  </a:lnTo>
                  <a:lnTo>
                    <a:pt x="32864" y="41572"/>
                  </a:lnTo>
                  <a:lnTo>
                    <a:pt x="33313" y="42056"/>
                  </a:lnTo>
                  <a:lnTo>
                    <a:pt x="33728" y="42539"/>
                  </a:lnTo>
                  <a:lnTo>
                    <a:pt x="34074" y="43058"/>
                  </a:lnTo>
                  <a:lnTo>
                    <a:pt x="34419" y="43542"/>
                  </a:lnTo>
                  <a:lnTo>
                    <a:pt x="34730" y="44095"/>
                  </a:lnTo>
                  <a:lnTo>
                    <a:pt x="35007" y="44613"/>
                  </a:lnTo>
                  <a:lnTo>
                    <a:pt x="35248" y="45166"/>
                  </a:lnTo>
                  <a:lnTo>
                    <a:pt x="35456" y="45719"/>
                  </a:lnTo>
                  <a:lnTo>
                    <a:pt x="35594" y="46306"/>
                  </a:lnTo>
                  <a:lnTo>
                    <a:pt x="35732" y="46928"/>
                  </a:lnTo>
                  <a:lnTo>
                    <a:pt x="35801" y="47516"/>
                  </a:lnTo>
                  <a:lnTo>
                    <a:pt x="35836" y="48138"/>
                  </a:lnTo>
                  <a:lnTo>
                    <a:pt x="35801" y="48794"/>
                  </a:lnTo>
                  <a:lnTo>
                    <a:pt x="35767" y="49485"/>
                  </a:lnTo>
                  <a:lnTo>
                    <a:pt x="35629" y="50142"/>
                  </a:lnTo>
                  <a:lnTo>
                    <a:pt x="35525" y="50591"/>
                  </a:lnTo>
                  <a:lnTo>
                    <a:pt x="35387" y="50971"/>
                  </a:lnTo>
                  <a:lnTo>
                    <a:pt x="35248" y="51386"/>
                  </a:lnTo>
                  <a:lnTo>
                    <a:pt x="35041" y="51731"/>
                  </a:lnTo>
                  <a:lnTo>
                    <a:pt x="34834" y="52112"/>
                  </a:lnTo>
                  <a:lnTo>
                    <a:pt x="34557" y="52457"/>
                  </a:lnTo>
                  <a:lnTo>
                    <a:pt x="34281" y="52768"/>
                  </a:lnTo>
                  <a:lnTo>
                    <a:pt x="34004" y="53114"/>
                  </a:lnTo>
                  <a:lnTo>
                    <a:pt x="33659" y="53390"/>
                  </a:lnTo>
                  <a:lnTo>
                    <a:pt x="33313" y="53701"/>
                  </a:lnTo>
                  <a:lnTo>
                    <a:pt x="32933" y="53978"/>
                  </a:lnTo>
                  <a:lnTo>
                    <a:pt x="32519" y="54254"/>
                  </a:lnTo>
                  <a:lnTo>
                    <a:pt x="31655" y="54772"/>
                  </a:lnTo>
                  <a:lnTo>
                    <a:pt x="30722" y="55222"/>
                  </a:lnTo>
                  <a:lnTo>
                    <a:pt x="29719" y="55671"/>
                  </a:lnTo>
                  <a:lnTo>
                    <a:pt x="28648" y="56086"/>
                  </a:lnTo>
                  <a:lnTo>
                    <a:pt x="27508" y="56466"/>
                  </a:lnTo>
                  <a:lnTo>
                    <a:pt x="26333" y="56811"/>
                  </a:lnTo>
                  <a:lnTo>
                    <a:pt x="25123" y="57157"/>
                  </a:lnTo>
                  <a:lnTo>
                    <a:pt x="23879" y="57502"/>
                  </a:lnTo>
                  <a:lnTo>
                    <a:pt x="21322" y="58159"/>
                  </a:lnTo>
                  <a:lnTo>
                    <a:pt x="18454" y="58919"/>
                  </a:lnTo>
                  <a:lnTo>
                    <a:pt x="17037" y="59299"/>
                  </a:lnTo>
                  <a:lnTo>
                    <a:pt x="15620" y="59714"/>
                  </a:lnTo>
                  <a:lnTo>
                    <a:pt x="14273" y="60163"/>
                  </a:lnTo>
                  <a:lnTo>
                    <a:pt x="12925" y="60647"/>
                  </a:lnTo>
                  <a:lnTo>
                    <a:pt x="11646" y="61165"/>
                  </a:lnTo>
                  <a:lnTo>
                    <a:pt x="10437" y="61718"/>
                  </a:lnTo>
                  <a:lnTo>
                    <a:pt x="9746" y="62098"/>
                  </a:lnTo>
                  <a:lnTo>
                    <a:pt x="9089" y="62479"/>
                  </a:lnTo>
                  <a:lnTo>
                    <a:pt x="8502" y="62859"/>
                  </a:lnTo>
                  <a:lnTo>
                    <a:pt x="7914" y="63273"/>
                  </a:lnTo>
                  <a:lnTo>
                    <a:pt x="7396" y="63688"/>
                  </a:lnTo>
                  <a:lnTo>
                    <a:pt x="6878" y="64137"/>
                  </a:lnTo>
                  <a:lnTo>
                    <a:pt x="6428" y="64586"/>
                  </a:lnTo>
                  <a:lnTo>
                    <a:pt x="6014" y="65070"/>
                  </a:lnTo>
                  <a:lnTo>
                    <a:pt x="5634" y="65554"/>
                  </a:lnTo>
                  <a:lnTo>
                    <a:pt x="5288" y="66038"/>
                  </a:lnTo>
                  <a:lnTo>
                    <a:pt x="4977" y="66556"/>
                  </a:lnTo>
                  <a:lnTo>
                    <a:pt x="4701" y="67075"/>
                  </a:lnTo>
                  <a:lnTo>
                    <a:pt x="4459" y="67627"/>
                  </a:lnTo>
                  <a:lnTo>
                    <a:pt x="4286" y="68215"/>
                  </a:lnTo>
                  <a:lnTo>
                    <a:pt x="4113" y="68768"/>
                  </a:lnTo>
                  <a:lnTo>
                    <a:pt x="3975" y="69390"/>
                  </a:lnTo>
                  <a:lnTo>
                    <a:pt x="3906" y="69908"/>
                  </a:lnTo>
                  <a:lnTo>
                    <a:pt x="3871" y="70461"/>
                  </a:lnTo>
                  <a:lnTo>
                    <a:pt x="3837" y="70979"/>
                  </a:lnTo>
                  <a:lnTo>
                    <a:pt x="3837" y="71498"/>
                  </a:lnTo>
                  <a:lnTo>
                    <a:pt x="3871" y="72051"/>
                  </a:lnTo>
                  <a:lnTo>
                    <a:pt x="3940" y="72569"/>
                  </a:lnTo>
                  <a:lnTo>
                    <a:pt x="4044" y="73053"/>
                  </a:lnTo>
                  <a:lnTo>
                    <a:pt x="4148" y="73571"/>
                  </a:lnTo>
                  <a:lnTo>
                    <a:pt x="4321" y="74089"/>
                  </a:lnTo>
                  <a:lnTo>
                    <a:pt x="4493" y="74608"/>
                  </a:lnTo>
                  <a:lnTo>
                    <a:pt x="4701" y="75092"/>
                  </a:lnTo>
                  <a:lnTo>
                    <a:pt x="4943" y="75610"/>
                  </a:lnTo>
                  <a:lnTo>
                    <a:pt x="5219" y="76094"/>
                  </a:lnTo>
                  <a:lnTo>
                    <a:pt x="5530" y="76578"/>
                  </a:lnTo>
                  <a:lnTo>
                    <a:pt x="5841" y="77096"/>
                  </a:lnTo>
                  <a:lnTo>
                    <a:pt x="6221" y="77580"/>
                  </a:lnTo>
                  <a:lnTo>
                    <a:pt x="6878" y="78374"/>
                  </a:lnTo>
                  <a:lnTo>
                    <a:pt x="7569" y="79169"/>
                  </a:lnTo>
                  <a:lnTo>
                    <a:pt x="8329" y="79930"/>
                  </a:lnTo>
                  <a:lnTo>
                    <a:pt x="9124" y="80690"/>
                  </a:lnTo>
                  <a:lnTo>
                    <a:pt x="9953" y="81415"/>
                  </a:lnTo>
                  <a:lnTo>
                    <a:pt x="10817" y="82107"/>
                  </a:lnTo>
                  <a:lnTo>
                    <a:pt x="12510" y="83523"/>
                  </a:lnTo>
                  <a:lnTo>
                    <a:pt x="13962" y="84698"/>
                  </a:lnTo>
                  <a:lnTo>
                    <a:pt x="15344" y="85839"/>
                  </a:lnTo>
                  <a:lnTo>
                    <a:pt x="16001" y="86426"/>
                  </a:lnTo>
                  <a:lnTo>
                    <a:pt x="16623" y="87014"/>
                  </a:lnTo>
                  <a:lnTo>
                    <a:pt x="17210" y="87636"/>
                  </a:lnTo>
                  <a:lnTo>
                    <a:pt x="17763" y="88223"/>
                  </a:lnTo>
                  <a:lnTo>
                    <a:pt x="18281" y="88845"/>
                  </a:lnTo>
                  <a:lnTo>
                    <a:pt x="18731" y="89467"/>
                  </a:lnTo>
                  <a:lnTo>
                    <a:pt x="19111" y="90124"/>
                  </a:lnTo>
                  <a:lnTo>
                    <a:pt x="19456" y="90780"/>
                  </a:lnTo>
                  <a:lnTo>
                    <a:pt x="19733" y="91437"/>
                  </a:lnTo>
                  <a:lnTo>
                    <a:pt x="19940" y="92162"/>
                  </a:lnTo>
                  <a:lnTo>
                    <a:pt x="20044" y="92854"/>
                  </a:lnTo>
                  <a:lnTo>
                    <a:pt x="20078" y="93234"/>
                  </a:lnTo>
                  <a:lnTo>
                    <a:pt x="20078" y="93579"/>
                  </a:lnTo>
                  <a:lnTo>
                    <a:pt x="20078" y="94063"/>
                  </a:lnTo>
                  <a:lnTo>
                    <a:pt x="20044" y="94547"/>
                  </a:lnTo>
                  <a:lnTo>
                    <a:pt x="19975" y="94996"/>
                  </a:lnTo>
                  <a:lnTo>
                    <a:pt x="19905" y="95445"/>
                  </a:lnTo>
                  <a:lnTo>
                    <a:pt x="19802" y="95895"/>
                  </a:lnTo>
                  <a:lnTo>
                    <a:pt x="19664" y="96344"/>
                  </a:lnTo>
                  <a:lnTo>
                    <a:pt x="19491" y="96758"/>
                  </a:lnTo>
                  <a:lnTo>
                    <a:pt x="19318" y="97173"/>
                  </a:lnTo>
                  <a:lnTo>
                    <a:pt x="19111" y="97588"/>
                  </a:lnTo>
                  <a:lnTo>
                    <a:pt x="18869" y="97968"/>
                  </a:lnTo>
                  <a:lnTo>
                    <a:pt x="18627" y="98383"/>
                  </a:lnTo>
                  <a:lnTo>
                    <a:pt x="18350" y="98763"/>
                  </a:lnTo>
                  <a:lnTo>
                    <a:pt x="18039" y="99143"/>
                  </a:lnTo>
                  <a:lnTo>
                    <a:pt x="17728" y="99488"/>
                  </a:lnTo>
                  <a:lnTo>
                    <a:pt x="17383" y="99869"/>
                  </a:lnTo>
                  <a:lnTo>
                    <a:pt x="17003" y="100214"/>
                  </a:lnTo>
                  <a:lnTo>
                    <a:pt x="16208" y="100871"/>
                  </a:lnTo>
                  <a:lnTo>
                    <a:pt x="15379" y="101458"/>
                  </a:lnTo>
                  <a:lnTo>
                    <a:pt x="14480" y="102011"/>
                  </a:lnTo>
                  <a:lnTo>
                    <a:pt x="13513" y="102495"/>
                  </a:lnTo>
                  <a:lnTo>
                    <a:pt x="12545" y="102944"/>
                  </a:lnTo>
                  <a:lnTo>
                    <a:pt x="11508" y="103324"/>
                  </a:lnTo>
                  <a:lnTo>
                    <a:pt x="10472" y="103670"/>
                  </a:lnTo>
                  <a:lnTo>
                    <a:pt x="9400" y="103981"/>
                  </a:lnTo>
                  <a:lnTo>
                    <a:pt x="8364" y="104223"/>
                  </a:lnTo>
                  <a:lnTo>
                    <a:pt x="7292" y="104430"/>
                  </a:lnTo>
                  <a:lnTo>
                    <a:pt x="6256" y="104568"/>
                  </a:lnTo>
                  <a:lnTo>
                    <a:pt x="5219" y="104706"/>
                  </a:lnTo>
                  <a:lnTo>
                    <a:pt x="4182" y="104741"/>
                  </a:lnTo>
                  <a:lnTo>
                    <a:pt x="3215" y="104776"/>
                  </a:lnTo>
                  <a:lnTo>
                    <a:pt x="2282" y="104741"/>
                  </a:lnTo>
                  <a:lnTo>
                    <a:pt x="1383" y="104672"/>
                  </a:lnTo>
                  <a:lnTo>
                    <a:pt x="1141" y="104672"/>
                  </a:lnTo>
                  <a:lnTo>
                    <a:pt x="899" y="104706"/>
                  </a:lnTo>
                  <a:lnTo>
                    <a:pt x="692" y="104810"/>
                  </a:lnTo>
                  <a:lnTo>
                    <a:pt x="485" y="104948"/>
                  </a:lnTo>
                  <a:lnTo>
                    <a:pt x="312" y="105121"/>
                  </a:lnTo>
                  <a:lnTo>
                    <a:pt x="174" y="105294"/>
                  </a:lnTo>
                  <a:lnTo>
                    <a:pt x="70" y="105536"/>
                  </a:lnTo>
                  <a:lnTo>
                    <a:pt x="1" y="105778"/>
                  </a:lnTo>
                  <a:lnTo>
                    <a:pt x="1" y="106020"/>
                  </a:lnTo>
                  <a:lnTo>
                    <a:pt x="70" y="106261"/>
                  </a:lnTo>
                  <a:lnTo>
                    <a:pt x="139" y="106503"/>
                  </a:lnTo>
                  <a:lnTo>
                    <a:pt x="277" y="106711"/>
                  </a:lnTo>
                  <a:lnTo>
                    <a:pt x="450" y="106884"/>
                  </a:lnTo>
                  <a:lnTo>
                    <a:pt x="658" y="107022"/>
                  </a:lnTo>
                  <a:lnTo>
                    <a:pt x="865" y="107091"/>
                  </a:lnTo>
                  <a:lnTo>
                    <a:pt x="1107" y="107160"/>
                  </a:lnTo>
                  <a:lnTo>
                    <a:pt x="2213" y="107229"/>
                  </a:lnTo>
                  <a:lnTo>
                    <a:pt x="3353" y="107264"/>
                  </a:lnTo>
                  <a:lnTo>
                    <a:pt x="4321" y="107264"/>
                  </a:lnTo>
                  <a:lnTo>
                    <a:pt x="5288" y="107195"/>
                  </a:lnTo>
                  <a:lnTo>
                    <a:pt x="6290" y="107091"/>
                  </a:lnTo>
                  <a:lnTo>
                    <a:pt x="7327" y="106953"/>
                  </a:lnTo>
                  <a:lnTo>
                    <a:pt x="8329" y="106780"/>
                  </a:lnTo>
                  <a:lnTo>
                    <a:pt x="9366" y="106573"/>
                  </a:lnTo>
                  <a:lnTo>
                    <a:pt x="10402" y="106296"/>
                  </a:lnTo>
                  <a:lnTo>
                    <a:pt x="11405" y="106020"/>
                  </a:lnTo>
                  <a:lnTo>
                    <a:pt x="12407" y="105674"/>
                  </a:lnTo>
                  <a:lnTo>
                    <a:pt x="13409" y="105294"/>
                  </a:lnTo>
                  <a:lnTo>
                    <a:pt x="14376" y="104845"/>
                  </a:lnTo>
                  <a:lnTo>
                    <a:pt x="15309" y="104395"/>
                  </a:lnTo>
                  <a:lnTo>
                    <a:pt x="16208" y="103877"/>
                  </a:lnTo>
                  <a:lnTo>
                    <a:pt x="17072" y="103324"/>
                  </a:lnTo>
                  <a:lnTo>
                    <a:pt x="17901" y="102702"/>
                  </a:lnTo>
                  <a:lnTo>
                    <a:pt x="18661" y="102080"/>
                  </a:lnTo>
                  <a:lnTo>
                    <a:pt x="19145" y="101631"/>
                  </a:lnTo>
                  <a:lnTo>
                    <a:pt x="19594" y="101182"/>
                  </a:lnTo>
                  <a:lnTo>
                    <a:pt x="20009" y="100698"/>
                  </a:lnTo>
                  <a:lnTo>
                    <a:pt x="20389" y="100214"/>
                  </a:lnTo>
                  <a:lnTo>
                    <a:pt x="20735" y="99730"/>
                  </a:lnTo>
                  <a:lnTo>
                    <a:pt x="21046" y="99247"/>
                  </a:lnTo>
                  <a:lnTo>
                    <a:pt x="21357" y="98728"/>
                  </a:lnTo>
                  <a:lnTo>
                    <a:pt x="21599" y="98210"/>
                  </a:lnTo>
                  <a:lnTo>
                    <a:pt x="21841" y="97657"/>
                  </a:lnTo>
                  <a:lnTo>
                    <a:pt x="22048" y="97104"/>
                  </a:lnTo>
                  <a:lnTo>
                    <a:pt x="22221" y="96551"/>
                  </a:lnTo>
                  <a:lnTo>
                    <a:pt x="22359" y="95998"/>
                  </a:lnTo>
                  <a:lnTo>
                    <a:pt x="22463" y="95411"/>
                  </a:lnTo>
                  <a:lnTo>
                    <a:pt x="22532" y="94823"/>
                  </a:lnTo>
                  <a:lnTo>
                    <a:pt x="22566" y="94201"/>
                  </a:lnTo>
                  <a:lnTo>
                    <a:pt x="22601" y="93579"/>
                  </a:lnTo>
                  <a:lnTo>
                    <a:pt x="22566" y="93130"/>
                  </a:lnTo>
                  <a:lnTo>
                    <a:pt x="22532" y="92646"/>
                  </a:lnTo>
                  <a:lnTo>
                    <a:pt x="22463" y="92197"/>
                  </a:lnTo>
                  <a:lnTo>
                    <a:pt x="22394" y="91713"/>
                  </a:lnTo>
                  <a:lnTo>
                    <a:pt x="22290" y="91299"/>
                  </a:lnTo>
                  <a:lnTo>
                    <a:pt x="22152" y="90849"/>
                  </a:lnTo>
                  <a:lnTo>
                    <a:pt x="22013" y="90435"/>
                  </a:lnTo>
                  <a:lnTo>
                    <a:pt x="21841" y="89985"/>
                  </a:lnTo>
                  <a:lnTo>
                    <a:pt x="21460" y="89191"/>
                  </a:lnTo>
                  <a:lnTo>
                    <a:pt x="21011" y="88396"/>
                  </a:lnTo>
                  <a:lnTo>
                    <a:pt x="20493" y="87636"/>
                  </a:lnTo>
                  <a:lnTo>
                    <a:pt x="19905" y="86910"/>
                  </a:lnTo>
                  <a:lnTo>
                    <a:pt x="19283" y="86184"/>
                  </a:lnTo>
                  <a:lnTo>
                    <a:pt x="18627" y="85493"/>
                  </a:lnTo>
                  <a:lnTo>
                    <a:pt x="17901" y="84802"/>
                  </a:lnTo>
                  <a:lnTo>
                    <a:pt x="17175" y="84145"/>
                  </a:lnTo>
                  <a:lnTo>
                    <a:pt x="15655" y="82832"/>
                  </a:lnTo>
                  <a:lnTo>
                    <a:pt x="14100" y="81554"/>
                  </a:lnTo>
                  <a:lnTo>
                    <a:pt x="12476" y="80241"/>
                  </a:lnTo>
                  <a:lnTo>
                    <a:pt x="11681" y="79584"/>
                  </a:lnTo>
                  <a:lnTo>
                    <a:pt x="10921" y="78927"/>
                  </a:lnTo>
                  <a:lnTo>
                    <a:pt x="10195" y="78271"/>
                  </a:lnTo>
                  <a:lnTo>
                    <a:pt x="9539" y="77614"/>
                  </a:lnTo>
                  <a:lnTo>
                    <a:pt x="8882" y="76923"/>
                  </a:lnTo>
                  <a:lnTo>
                    <a:pt x="8329" y="76197"/>
                  </a:lnTo>
                  <a:lnTo>
                    <a:pt x="7811" y="75506"/>
                  </a:lnTo>
                  <a:lnTo>
                    <a:pt x="7327" y="74781"/>
                  </a:lnTo>
                  <a:lnTo>
                    <a:pt x="6981" y="74020"/>
                  </a:lnTo>
                  <a:lnTo>
                    <a:pt x="6809" y="73606"/>
                  </a:lnTo>
                  <a:lnTo>
                    <a:pt x="6670" y="73226"/>
                  </a:lnTo>
                  <a:lnTo>
                    <a:pt x="6567" y="72811"/>
                  </a:lnTo>
                  <a:lnTo>
                    <a:pt x="6463" y="72431"/>
                  </a:lnTo>
                  <a:lnTo>
                    <a:pt x="6394" y="72016"/>
                  </a:lnTo>
                  <a:lnTo>
                    <a:pt x="6359" y="71567"/>
                  </a:lnTo>
                  <a:lnTo>
                    <a:pt x="6325" y="71152"/>
                  </a:lnTo>
                  <a:lnTo>
                    <a:pt x="6359" y="70703"/>
                  </a:lnTo>
                  <a:lnTo>
                    <a:pt x="6394" y="70254"/>
                  </a:lnTo>
                  <a:lnTo>
                    <a:pt x="6463" y="69804"/>
                  </a:lnTo>
                  <a:lnTo>
                    <a:pt x="6532" y="69355"/>
                  </a:lnTo>
                  <a:lnTo>
                    <a:pt x="6670" y="68906"/>
                  </a:lnTo>
                  <a:lnTo>
                    <a:pt x="6809" y="68491"/>
                  </a:lnTo>
                  <a:lnTo>
                    <a:pt x="7016" y="68077"/>
                  </a:lnTo>
                  <a:lnTo>
                    <a:pt x="7223" y="67697"/>
                  </a:lnTo>
                  <a:lnTo>
                    <a:pt x="7465" y="67282"/>
                  </a:lnTo>
                  <a:lnTo>
                    <a:pt x="7707" y="66902"/>
                  </a:lnTo>
                  <a:lnTo>
                    <a:pt x="8018" y="66556"/>
                  </a:lnTo>
                  <a:lnTo>
                    <a:pt x="8364" y="66211"/>
                  </a:lnTo>
                  <a:lnTo>
                    <a:pt x="8709" y="65865"/>
                  </a:lnTo>
                  <a:lnTo>
                    <a:pt x="9124" y="65519"/>
                  </a:lnTo>
                  <a:lnTo>
                    <a:pt x="9539" y="65174"/>
                  </a:lnTo>
                  <a:lnTo>
                    <a:pt x="9988" y="64863"/>
                  </a:lnTo>
                  <a:lnTo>
                    <a:pt x="10472" y="64552"/>
                  </a:lnTo>
                  <a:lnTo>
                    <a:pt x="11024" y="64275"/>
                  </a:lnTo>
                  <a:lnTo>
                    <a:pt x="11577" y="63964"/>
                  </a:lnTo>
                  <a:lnTo>
                    <a:pt x="12683" y="63446"/>
                  </a:lnTo>
                  <a:lnTo>
                    <a:pt x="13893" y="62962"/>
                  </a:lnTo>
                  <a:lnTo>
                    <a:pt x="15137" y="62513"/>
                  </a:lnTo>
                  <a:lnTo>
                    <a:pt x="16450" y="62098"/>
                  </a:lnTo>
                  <a:lnTo>
                    <a:pt x="17798" y="61684"/>
                  </a:lnTo>
                  <a:lnTo>
                    <a:pt x="19180" y="61304"/>
                  </a:lnTo>
                  <a:lnTo>
                    <a:pt x="21944" y="60578"/>
                  </a:lnTo>
                  <a:lnTo>
                    <a:pt x="24709" y="59887"/>
                  </a:lnTo>
                  <a:lnTo>
                    <a:pt x="26056" y="59507"/>
                  </a:lnTo>
                  <a:lnTo>
                    <a:pt x="27404" y="59127"/>
                  </a:lnTo>
                  <a:lnTo>
                    <a:pt x="28683" y="58677"/>
                  </a:lnTo>
                  <a:lnTo>
                    <a:pt x="29961" y="58228"/>
                  </a:lnTo>
                  <a:lnTo>
                    <a:pt x="31171" y="57744"/>
                  </a:lnTo>
                  <a:lnTo>
                    <a:pt x="32311" y="57226"/>
                  </a:lnTo>
                  <a:lnTo>
                    <a:pt x="32864" y="56950"/>
                  </a:lnTo>
                  <a:lnTo>
                    <a:pt x="33382" y="56639"/>
                  </a:lnTo>
                  <a:lnTo>
                    <a:pt x="33901" y="56327"/>
                  </a:lnTo>
                  <a:lnTo>
                    <a:pt x="34385" y="55982"/>
                  </a:lnTo>
                  <a:lnTo>
                    <a:pt x="34834" y="55636"/>
                  </a:lnTo>
                  <a:lnTo>
                    <a:pt x="35283" y="55291"/>
                  </a:lnTo>
                  <a:lnTo>
                    <a:pt x="35698" y="54911"/>
                  </a:lnTo>
                  <a:lnTo>
                    <a:pt x="36078" y="54531"/>
                  </a:lnTo>
                  <a:lnTo>
                    <a:pt x="36458" y="54116"/>
                  </a:lnTo>
                  <a:lnTo>
                    <a:pt x="36769" y="53667"/>
                  </a:lnTo>
                  <a:lnTo>
                    <a:pt x="37080" y="53217"/>
                  </a:lnTo>
                  <a:lnTo>
                    <a:pt x="37356" y="52768"/>
                  </a:lnTo>
                  <a:lnTo>
                    <a:pt x="37598" y="52250"/>
                  </a:lnTo>
                  <a:lnTo>
                    <a:pt x="37806" y="51731"/>
                  </a:lnTo>
                  <a:lnTo>
                    <a:pt x="37944" y="51213"/>
                  </a:lnTo>
                  <a:lnTo>
                    <a:pt x="38082" y="50626"/>
                  </a:lnTo>
                  <a:lnTo>
                    <a:pt x="38220" y="49865"/>
                  </a:lnTo>
                  <a:lnTo>
                    <a:pt x="38289" y="49105"/>
                  </a:lnTo>
                  <a:lnTo>
                    <a:pt x="38324" y="48345"/>
                  </a:lnTo>
                  <a:lnTo>
                    <a:pt x="38324" y="47619"/>
                  </a:lnTo>
                  <a:lnTo>
                    <a:pt x="38255" y="46894"/>
                  </a:lnTo>
                  <a:lnTo>
                    <a:pt x="38151" y="46168"/>
                  </a:lnTo>
                  <a:lnTo>
                    <a:pt x="37978" y="45442"/>
                  </a:lnTo>
                  <a:lnTo>
                    <a:pt x="37771" y="44751"/>
                  </a:lnTo>
                  <a:lnTo>
                    <a:pt x="37529" y="44060"/>
                  </a:lnTo>
                  <a:lnTo>
                    <a:pt x="37218" y="43403"/>
                  </a:lnTo>
                  <a:lnTo>
                    <a:pt x="36873" y="42712"/>
                  </a:lnTo>
                  <a:lnTo>
                    <a:pt x="36458" y="42056"/>
                  </a:lnTo>
                  <a:lnTo>
                    <a:pt x="36009" y="41399"/>
                  </a:lnTo>
                  <a:lnTo>
                    <a:pt x="35490" y="40777"/>
                  </a:lnTo>
                  <a:lnTo>
                    <a:pt x="34937" y="40121"/>
                  </a:lnTo>
                  <a:lnTo>
                    <a:pt x="34350" y="39499"/>
                  </a:lnTo>
                  <a:lnTo>
                    <a:pt x="33797" y="38980"/>
                  </a:lnTo>
                  <a:lnTo>
                    <a:pt x="33210" y="38496"/>
                  </a:lnTo>
                  <a:lnTo>
                    <a:pt x="32622" y="37978"/>
                  </a:lnTo>
                  <a:lnTo>
                    <a:pt x="32035" y="37494"/>
                  </a:lnTo>
                  <a:lnTo>
                    <a:pt x="30722" y="36561"/>
                  </a:lnTo>
                  <a:lnTo>
                    <a:pt x="29374" y="35663"/>
                  </a:lnTo>
                  <a:lnTo>
                    <a:pt x="27992" y="34764"/>
                  </a:lnTo>
                  <a:lnTo>
                    <a:pt x="26540" y="33935"/>
                  </a:lnTo>
                  <a:lnTo>
                    <a:pt x="23638" y="32276"/>
                  </a:lnTo>
                  <a:lnTo>
                    <a:pt x="21115" y="30825"/>
                  </a:lnTo>
                  <a:lnTo>
                    <a:pt x="19871" y="30099"/>
                  </a:lnTo>
                  <a:lnTo>
                    <a:pt x="18696" y="29374"/>
                  </a:lnTo>
                  <a:lnTo>
                    <a:pt x="17521" y="28648"/>
                  </a:lnTo>
                  <a:lnTo>
                    <a:pt x="16450" y="27888"/>
                  </a:lnTo>
                  <a:lnTo>
                    <a:pt x="15413" y="27127"/>
                  </a:lnTo>
                  <a:lnTo>
                    <a:pt x="14446" y="26333"/>
                  </a:lnTo>
                  <a:lnTo>
                    <a:pt x="13547" y="25538"/>
                  </a:lnTo>
                  <a:lnTo>
                    <a:pt x="13132" y="25123"/>
                  </a:lnTo>
                  <a:lnTo>
                    <a:pt x="12752" y="24674"/>
                  </a:lnTo>
                  <a:lnTo>
                    <a:pt x="12372" y="24259"/>
                  </a:lnTo>
                  <a:lnTo>
                    <a:pt x="12027" y="23810"/>
                  </a:lnTo>
                  <a:lnTo>
                    <a:pt x="11716" y="23361"/>
                  </a:lnTo>
                  <a:lnTo>
                    <a:pt x="11439" y="22911"/>
                  </a:lnTo>
                  <a:lnTo>
                    <a:pt x="11163" y="22428"/>
                  </a:lnTo>
                  <a:lnTo>
                    <a:pt x="10955" y="21944"/>
                  </a:lnTo>
                  <a:lnTo>
                    <a:pt x="10748" y="21460"/>
                  </a:lnTo>
                  <a:lnTo>
                    <a:pt x="10575" y="20942"/>
                  </a:lnTo>
                  <a:lnTo>
                    <a:pt x="10437" y="20423"/>
                  </a:lnTo>
                  <a:lnTo>
                    <a:pt x="10333" y="19905"/>
                  </a:lnTo>
                  <a:lnTo>
                    <a:pt x="10264" y="19352"/>
                  </a:lnTo>
                  <a:lnTo>
                    <a:pt x="10230" y="18799"/>
                  </a:lnTo>
                  <a:lnTo>
                    <a:pt x="10230" y="17832"/>
                  </a:lnTo>
                  <a:lnTo>
                    <a:pt x="10230" y="16899"/>
                  </a:lnTo>
                  <a:lnTo>
                    <a:pt x="10299" y="15966"/>
                  </a:lnTo>
                  <a:lnTo>
                    <a:pt x="10368" y="15102"/>
                  </a:lnTo>
                  <a:lnTo>
                    <a:pt x="10472" y="14272"/>
                  </a:lnTo>
                  <a:lnTo>
                    <a:pt x="10644" y="13443"/>
                  </a:lnTo>
                  <a:lnTo>
                    <a:pt x="10817" y="12683"/>
                  </a:lnTo>
                  <a:lnTo>
                    <a:pt x="11024" y="11923"/>
                  </a:lnTo>
                  <a:lnTo>
                    <a:pt x="11266" y="11231"/>
                  </a:lnTo>
                  <a:lnTo>
                    <a:pt x="11543" y="10540"/>
                  </a:lnTo>
                  <a:lnTo>
                    <a:pt x="11854" y="9884"/>
                  </a:lnTo>
                  <a:lnTo>
                    <a:pt x="12199" y="9262"/>
                  </a:lnTo>
                  <a:lnTo>
                    <a:pt x="12579" y="8674"/>
                  </a:lnTo>
                  <a:lnTo>
                    <a:pt x="12994" y="8121"/>
                  </a:lnTo>
                  <a:lnTo>
                    <a:pt x="13443" y="7603"/>
                  </a:lnTo>
                  <a:lnTo>
                    <a:pt x="13893" y="7119"/>
                  </a:lnTo>
                  <a:lnTo>
                    <a:pt x="14273" y="6774"/>
                  </a:lnTo>
                  <a:lnTo>
                    <a:pt x="14653" y="6428"/>
                  </a:lnTo>
                  <a:lnTo>
                    <a:pt x="15068" y="6117"/>
                  </a:lnTo>
                  <a:lnTo>
                    <a:pt x="15482" y="5841"/>
                  </a:lnTo>
                  <a:lnTo>
                    <a:pt x="15931" y="5530"/>
                  </a:lnTo>
                  <a:lnTo>
                    <a:pt x="16381" y="5253"/>
                  </a:lnTo>
                  <a:lnTo>
                    <a:pt x="16864" y="5011"/>
                  </a:lnTo>
                  <a:lnTo>
                    <a:pt x="17383" y="4769"/>
                  </a:lnTo>
                  <a:lnTo>
                    <a:pt x="18454" y="4320"/>
                  </a:lnTo>
                  <a:lnTo>
                    <a:pt x="19594" y="3905"/>
                  </a:lnTo>
                  <a:lnTo>
                    <a:pt x="20838" y="3560"/>
                  </a:lnTo>
                  <a:lnTo>
                    <a:pt x="22152" y="3249"/>
                  </a:lnTo>
                  <a:lnTo>
                    <a:pt x="23603" y="3007"/>
                  </a:lnTo>
                  <a:lnTo>
                    <a:pt x="25089" y="2800"/>
                  </a:lnTo>
                  <a:lnTo>
                    <a:pt x="26713" y="2661"/>
                  </a:lnTo>
                  <a:lnTo>
                    <a:pt x="28441" y="2558"/>
                  </a:lnTo>
                  <a:lnTo>
                    <a:pt x="30238" y="2489"/>
                  </a:lnTo>
                  <a:lnTo>
                    <a:pt x="32173" y="2489"/>
                  </a:lnTo>
                  <a:lnTo>
                    <a:pt x="34212" y="2558"/>
                  </a:lnTo>
                  <a:lnTo>
                    <a:pt x="36354" y="2627"/>
                  </a:lnTo>
                  <a:lnTo>
                    <a:pt x="36596" y="2627"/>
                  </a:lnTo>
                  <a:lnTo>
                    <a:pt x="36838" y="2558"/>
                  </a:lnTo>
                  <a:lnTo>
                    <a:pt x="37045" y="2454"/>
                  </a:lnTo>
                  <a:lnTo>
                    <a:pt x="37253" y="2316"/>
                  </a:lnTo>
                  <a:lnTo>
                    <a:pt x="37426" y="2143"/>
                  </a:lnTo>
                  <a:lnTo>
                    <a:pt x="37529" y="1936"/>
                  </a:lnTo>
                  <a:lnTo>
                    <a:pt x="37633" y="1694"/>
                  </a:lnTo>
                  <a:lnTo>
                    <a:pt x="37667" y="1452"/>
                  </a:lnTo>
                  <a:lnTo>
                    <a:pt x="37667" y="1210"/>
                  </a:lnTo>
                  <a:lnTo>
                    <a:pt x="37598" y="968"/>
                  </a:lnTo>
                  <a:lnTo>
                    <a:pt x="37495" y="726"/>
                  </a:lnTo>
                  <a:lnTo>
                    <a:pt x="37356" y="553"/>
                  </a:lnTo>
                  <a:lnTo>
                    <a:pt x="37184" y="381"/>
                  </a:lnTo>
                  <a:lnTo>
                    <a:pt x="36976" y="277"/>
                  </a:lnTo>
                  <a:lnTo>
                    <a:pt x="36734" y="173"/>
                  </a:lnTo>
                  <a:lnTo>
                    <a:pt x="36493" y="139"/>
                  </a:lnTo>
                  <a:lnTo>
                    <a:pt x="34212" y="35"/>
                  </a:lnTo>
                  <a:lnTo>
                    <a:pt x="32035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1" name="Google Shape;14149;p81">
              <a:extLst>
                <a:ext uri="{FF2B5EF4-FFF2-40B4-BE49-F238E27FC236}">
                  <a16:creationId xmlns:a16="http://schemas.microsoft.com/office/drawing/2014/main" id="{A9CB8CF4-F57D-112D-FC91-6D7B1F74693D}"/>
                </a:ext>
              </a:extLst>
            </p:cNvPr>
            <p:cNvSpPr/>
            <p:nvPr/>
          </p:nvSpPr>
          <p:spPr>
            <a:xfrm>
              <a:off x="2582375" y="3288575"/>
              <a:ext cx="286850" cy="267850"/>
            </a:xfrm>
            <a:custGeom>
              <a:avLst/>
              <a:gdLst/>
              <a:ahLst/>
              <a:cxnLst/>
              <a:rect l="l" t="t" r="r" b="b"/>
              <a:pathLst>
                <a:path w="11474" h="10714" extrusionOk="0">
                  <a:moveTo>
                    <a:pt x="1279" y="1"/>
                  </a:moveTo>
                  <a:lnTo>
                    <a:pt x="1037" y="35"/>
                  </a:lnTo>
                  <a:lnTo>
                    <a:pt x="795" y="104"/>
                  </a:lnTo>
                  <a:lnTo>
                    <a:pt x="553" y="208"/>
                  </a:lnTo>
                  <a:lnTo>
                    <a:pt x="346" y="381"/>
                  </a:lnTo>
                  <a:lnTo>
                    <a:pt x="208" y="588"/>
                  </a:lnTo>
                  <a:lnTo>
                    <a:pt x="70" y="795"/>
                  </a:lnTo>
                  <a:lnTo>
                    <a:pt x="0" y="1037"/>
                  </a:lnTo>
                  <a:lnTo>
                    <a:pt x="0" y="1279"/>
                  </a:lnTo>
                  <a:lnTo>
                    <a:pt x="0" y="1521"/>
                  </a:lnTo>
                  <a:lnTo>
                    <a:pt x="70" y="1763"/>
                  </a:lnTo>
                  <a:lnTo>
                    <a:pt x="208" y="2005"/>
                  </a:lnTo>
                  <a:lnTo>
                    <a:pt x="346" y="2178"/>
                  </a:lnTo>
                  <a:lnTo>
                    <a:pt x="1590" y="3422"/>
                  </a:lnTo>
                  <a:lnTo>
                    <a:pt x="4354" y="6083"/>
                  </a:lnTo>
                  <a:lnTo>
                    <a:pt x="5806" y="7465"/>
                  </a:lnTo>
                  <a:lnTo>
                    <a:pt x="6946" y="8502"/>
                  </a:lnTo>
                  <a:lnTo>
                    <a:pt x="7845" y="9296"/>
                  </a:lnTo>
                  <a:lnTo>
                    <a:pt x="8501" y="9849"/>
                  </a:lnTo>
                  <a:lnTo>
                    <a:pt x="8985" y="10195"/>
                  </a:lnTo>
                  <a:lnTo>
                    <a:pt x="9331" y="10437"/>
                  </a:lnTo>
                  <a:lnTo>
                    <a:pt x="9538" y="10540"/>
                  </a:lnTo>
                  <a:lnTo>
                    <a:pt x="9711" y="10609"/>
                  </a:lnTo>
                  <a:lnTo>
                    <a:pt x="9953" y="10679"/>
                  </a:lnTo>
                  <a:lnTo>
                    <a:pt x="10195" y="10713"/>
                  </a:lnTo>
                  <a:lnTo>
                    <a:pt x="10367" y="10679"/>
                  </a:lnTo>
                  <a:lnTo>
                    <a:pt x="10575" y="10644"/>
                  </a:lnTo>
                  <a:lnTo>
                    <a:pt x="10747" y="10575"/>
                  </a:lnTo>
                  <a:lnTo>
                    <a:pt x="10886" y="10506"/>
                  </a:lnTo>
                  <a:lnTo>
                    <a:pt x="11058" y="10368"/>
                  </a:lnTo>
                  <a:lnTo>
                    <a:pt x="11162" y="10229"/>
                  </a:lnTo>
                  <a:lnTo>
                    <a:pt x="11300" y="10091"/>
                  </a:lnTo>
                  <a:lnTo>
                    <a:pt x="11369" y="9884"/>
                  </a:lnTo>
                  <a:lnTo>
                    <a:pt x="11439" y="9642"/>
                  </a:lnTo>
                  <a:lnTo>
                    <a:pt x="11473" y="9400"/>
                  </a:lnTo>
                  <a:lnTo>
                    <a:pt x="11439" y="9158"/>
                  </a:lnTo>
                  <a:lnTo>
                    <a:pt x="11369" y="8916"/>
                  </a:lnTo>
                  <a:lnTo>
                    <a:pt x="11266" y="8709"/>
                  </a:lnTo>
                  <a:lnTo>
                    <a:pt x="11093" y="8536"/>
                  </a:lnTo>
                  <a:lnTo>
                    <a:pt x="10920" y="8363"/>
                  </a:lnTo>
                  <a:lnTo>
                    <a:pt x="10678" y="8260"/>
                  </a:lnTo>
                  <a:lnTo>
                    <a:pt x="10471" y="8121"/>
                  </a:lnTo>
                  <a:lnTo>
                    <a:pt x="10229" y="7914"/>
                  </a:lnTo>
                  <a:lnTo>
                    <a:pt x="9503" y="7327"/>
                  </a:lnTo>
                  <a:lnTo>
                    <a:pt x="8536" y="6497"/>
                  </a:lnTo>
                  <a:lnTo>
                    <a:pt x="7430" y="5495"/>
                  </a:lnTo>
                  <a:lnTo>
                    <a:pt x="4873" y="3042"/>
                  </a:lnTo>
                  <a:lnTo>
                    <a:pt x="2177" y="381"/>
                  </a:lnTo>
                  <a:lnTo>
                    <a:pt x="1970" y="208"/>
                  </a:lnTo>
                  <a:lnTo>
                    <a:pt x="1763" y="104"/>
                  </a:lnTo>
                  <a:lnTo>
                    <a:pt x="1521" y="35"/>
                  </a:lnTo>
                  <a:lnTo>
                    <a:pt x="1279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2" name="Google Shape;14150;p81">
              <a:extLst>
                <a:ext uri="{FF2B5EF4-FFF2-40B4-BE49-F238E27FC236}">
                  <a16:creationId xmlns:a16="http://schemas.microsoft.com/office/drawing/2014/main" id="{8405B648-7C97-5EEA-176D-27CDCCFDB91D}"/>
                </a:ext>
              </a:extLst>
            </p:cNvPr>
            <p:cNvSpPr/>
            <p:nvPr/>
          </p:nvSpPr>
          <p:spPr>
            <a:xfrm>
              <a:off x="2575450" y="3304125"/>
              <a:ext cx="307600" cy="245375"/>
            </a:xfrm>
            <a:custGeom>
              <a:avLst/>
              <a:gdLst/>
              <a:ahLst/>
              <a:cxnLst/>
              <a:rect l="l" t="t" r="r" b="b"/>
              <a:pathLst>
                <a:path w="12304" h="9815" extrusionOk="0">
                  <a:moveTo>
                    <a:pt x="10921" y="1"/>
                  </a:moveTo>
                  <a:lnTo>
                    <a:pt x="10506" y="70"/>
                  </a:lnTo>
                  <a:lnTo>
                    <a:pt x="10091" y="139"/>
                  </a:lnTo>
                  <a:lnTo>
                    <a:pt x="9677" y="243"/>
                  </a:lnTo>
                  <a:lnTo>
                    <a:pt x="9262" y="346"/>
                  </a:lnTo>
                  <a:lnTo>
                    <a:pt x="8467" y="657"/>
                  </a:lnTo>
                  <a:lnTo>
                    <a:pt x="7672" y="1037"/>
                  </a:lnTo>
                  <a:lnTo>
                    <a:pt x="6878" y="1452"/>
                  </a:lnTo>
                  <a:lnTo>
                    <a:pt x="6152" y="1970"/>
                  </a:lnTo>
                  <a:lnTo>
                    <a:pt x="5426" y="2489"/>
                  </a:lnTo>
                  <a:lnTo>
                    <a:pt x="4735" y="3076"/>
                  </a:lnTo>
                  <a:lnTo>
                    <a:pt x="4044" y="3664"/>
                  </a:lnTo>
                  <a:lnTo>
                    <a:pt x="3422" y="4251"/>
                  </a:lnTo>
                  <a:lnTo>
                    <a:pt x="2800" y="4873"/>
                  </a:lnTo>
                  <a:lnTo>
                    <a:pt x="2213" y="5495"/>
                  </a:lnTo>
                  <a:lnTo>
                    <a:pt x="1176" y="6670"/>
                  </a:lnTo>
                  <a:lnTo>
                    <a:pt x="312" y="7707"/>
                  </a:lnTo>
                  <a:lnTo>
                    <a:pt x="139" y="7949"/>
                  </a:lnTo>
                  <a:lnTo>
                    <a:pt x="70" y="8156"/>
                  </a:lnTo>
                  <a:lnTo>
                    <a:pt x="1" y="8398"/>
                  </a:lnTo>
                  <a:lnTo>
                    <a:pt x="1" y="8640"/>
                  </a:lnTo>
                  <a:lnTo>
                    <a:pt x="35" y="8882"/>
                  </a:lnTo>
                  <a:lnTo>
                    <a:pt x="139" y="9124"/>
                  </a:lnTo>
                  <a:lnTo>
                    <a:pt x="277" y="9331"/>
                  </a:lnTo>
                  <a:lnTo>
                    <a:pt x="450" y="9504"/>
                  </a:lnTo>
                  <a:lnTo>
                    <a:pt x="658" y="9642"/>
                  </a:lnTo>
                  <a:lnTo>
                    <a:pt x="865" y="9746"/>
                  </a:lnTo>
                  <a:lnTo>
                    <a:pt x="1072" y="9815"/>
                  </a:lnTo>
                  <a:lnTo>
                    <a:pt x="1280" y="9815"/>
                  </a:lnTo>
                  <a:lnTo>
                    <a:pt x="1556" y="9780"/>
                  </a:lnTo>
                  <a:lnTo>
                    <a:pt x="1798" y="9711"/>
                  </a:lnTo>
                  <a:lnTo>
                    <a:pt x="2040" y="9573"/>
                  </a:lnTo>
                  <a:lnTo>
                    <a:pt x="2247" y="9365"/>
                  </a:lnTo>
                  <a:lnTo>
                    <a:pt x="3042" y="8432"/>
                  </a:lnTo>
                  <a:lnTo>
                    <a:pt x="3975" y="7396"/>
                  </a:lnTo>
                  <a:lnTo>
                    <a:pt x="5012" y="6290"/>
                  </a:lnTo>
                  <a:lnTo>
                    <a:pt x="5565" y="5737"/>
                  </a:lnTo>
                  <a:lnTo>
                    <a:pt x="6117" y="5219"/>
                  </a:lnTo>
                  <a:lnTo>
                    <a:pt x="6705" y="4735"/>
                  </a:lnTo>
                  <a:lnTo>
                    <a:pt x="7327" y="4251"/>
                  </a:lnTo>
                  <a:lnTo>
                    <a:pt x="7949" y="3802"/>
                  </a:lnTo>
                  <a:lnTo>
                    <a:pt x="8571" y="3422"/>
                  </a:lnTo>
                  <a:lnTo>
                    <a:pt x="9227" y="3111"/>
                  </a:lnTo>
                  <a:lnTo>
                    <a:pt x="9850" y="2834"/>
                  </a:lnTo>
                  <a:lnTo>
                    <a:pt x="10506" y="2662"/>
                  </a:lnTo>
                  <a:lnTo>
                    <a:pt x="10852" y="2592"/>
                  </a:lnTo>
                  <a:lnTo>
                    <a:pt x="11163" y="2558"/>
                  </a:lnTo>
                  <a:lnTo>
                    <a:pt x="11405" y="2489"/>
                  </a:lnTo>
                  <a:lnTo>
                    <a:pt x="11646" y="2420"/>
                  </a:lnTo>
                  <a:lnTo>
                    <a:pt x="11854" y="2281"/>
                  </a:lnTo>
                  <a:lnTo>
                    <a:pt x="12027" y="2109"/>
                  </a:lnTo>
                  <a:lnTo>
                    <a:pt x="12165" y="1901"/>
                  </a:lnTo>
                  <a:lnTo>
                    <a:pt x="12268" y="1659"/>
                  </a:lnTo>
                  <a:lnTo>
                    <a:pt x="12303" y="1417"/>
                  </a:lnTo>
                  <a:lnTo>
                    <a:pt x="12303" y="1176"/>
                  </a:lnTo>
                  <a:lnTo>
                    <a:pt x="12268" y="899"/>
                  </a:lnTo>
                  <a:lnTo>
                    <a:pt x="12165" y="692"/>
                  </a:lnTo>
                  <a:lnTo>
                    <a:pt x="12027" y="484"/>
                  </a:lnTo>
                  <a:lnTo>
                    <a:pt x="11854" y="312"/>
                  </a:lnTo>
                  <a:lnTo>
                    <a:pt x="11646" y="173"/>
                  </a:lnTo>
                  <a:lnTo>
                    <a:pt x="11439" y="70"/>
                  </a:lnTo>
                  <a:lnTo>
                    <a:pt x="11197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" name="Google Shape;14151;p81">
              <a:extLst>
                <a:ext uri="{FF2B5EF4-FFF2-40B4-BE49-F238E27FC236}">
                  <a16:creationId xmlns:a16="http://schemas.microsoft.com/office/drawing/2014/main" id="{93452158-70DC-4A09-19B6-6D57DCFD953D}"/>
                </a:ext>
              </a:extLst>
            </p:cNvPr>
            <p:cNvSpPr/>
            <p:nvPr/>
          </p:nvSpPr>
          <p:spPr>
            <a:xfrm>
              <a:off x="2291225" y="1164225"/>
              <a:ext cx="229825" cy="150350"/>
            </a:xfrm>
            <a:custGeom>
              <a:avLst/>
              <a:gdLst/>
              <a:ahLst/>
              <a:cxnLst/>
              <a:rect l="l" t="t" r="r" b="b"/>
              <a:pathLst>
                <a:path w="9193" h="6014" extrusionOk="0">
                  <a:moveTo>
                    <a:pt x="139" y="0"/>
                  </a:moveTo>
                  <a:lnTo>
                    <a:pt x="70" y="35"/>
                  </a:lnTo>
                  <a:lnTo>
                    <a:pt x="1" y="104"/>
                  </a:lnTo>
                  <a:lnTo>
                    <a:pt x="1" y="208"/>
                  </a:lnTo>
                  <a:lnTo>
                    <a:pt x="1" y="277"/>
                  </a:lnTo>
                  <a:lnTo>
                    <a:pt x="70" y="346"/>
                  </a:lnTo>
                  <a:lnTo>
                    <a:pt x="139" y="381"/>
                  </a:lnTo>
                  <a:lnTo>
                    <a:pt x="208" y="415"/>
                  </a:lnTo>
                  <a:lnTo>
                    <a:pt x="5081" y="415"/>
                  </a:lnTo>
                  <a:lnTo>
                    <a:pt x="8813" y="5944"/>
                  </a:lnTo>
                  <a:lnTo>
                    <a:pt x="8882" y="6013"/>
                  </a:lnTo>
                  <a:lnTo>
                    <a:pt x="8986" y="6013"/>
                  </a:lnTo>
                  <a:lnTo>
                    <a:pt x="9089" y="5979"/>
                  </a:lnTo>
                  <a:lnTo>
                    <a:pt x="9158" y="5944"/>
                  </a:lnTo>
                  <a:lnTo>
                    <a:pt x="9193" y="5840"/>
                  </a:lnTo>
                  <a:lnTo>
                    <a:pt x="9193" y="5771"/>
                  </a:lnTo>
                  <a:lnTo>
                    <a:pt x="9158" y="5702"/>
                  </a:lnTo>
                  <a:lnTo>
                    <a:pt x="5357" y="70"/>
                  </a:lnTo>
                  <a:lnTo>
                    <a:pt x="5288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" name="Google Shape;14152;p81">
              <a:extLst>
                <a:ext uri="{FF2B5EF4-FFF2-40B4-BE49-F238E27FC236}">
                  <a16:creationId xmlns:a16="http://schemas.microsoft.com/office/drawing/2014/main" id="{3F1043E6-9D84-955E-727B-9D14AEB223EB}"/>
                </a:ext>
              </a:extLst>
            </p:cNvPr>
            <p:cNvSpPr/>
            <p:nvPr/>
          </p:nvSpPr>
          <p:spPr>
            <a:xfrm>
              <a:off x="1823850" y="1149550"/>
              <a:ext cx="143450" cy="39750"/>
            </a:xfrm>
            <a:custGeom>
              <a:avLst/>
              <a:gdLst/>
              <a:ahLst/>
              <a:cxnLst/>
              <a:rect l="l" t="t" r="r" b="b"/>
              <a:pathLst>
                <a:path w="5738" h="1590" extrusionOk="0">
                  <a:moveTo>
                    <a:pt x="174" y="0"/>
                  </a:moveTo>
                  <a:lnTo>
                    <a:pt x="70" y="69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244"/>
                  </a:lnTo>
                  <a:lnTo>
                    <a:pt x="1" y="1382"/>
                  </a:lnTo>
                  <a:lnTo>
                    <a:pt x="70" y="1486"/>
                  </a:lnTo>
                  <a:lnTo>
                    <a:pt x="174" y="1555"/>
                  </a:lnTo>
                  <a:lnTo>
                    <a:pt x="312" y="1590"/>
                  </a:lnTo>
                  <a:lnTo>
                    <a:pt x="5426" y="1590"/>
                  </a:lnTo>
                  <a:lnTo>
                    <a:pt x="5564" y="1555"/>
                  </a:lnTo>
                  <a:lnTo>
                    <a:pt x="5668" y="1486"/>
                  </a:lnTo>
                  <a:lnTo>
                    <a:pt x="5737" y="1382"/>
                  </a:lnTo>
                  <a:lnTo>
                    <a:pt x="5737" y="1244"/>
                  </a:lnTo>
                  <a:lnTo>
                    <a:pt x="5737" y="311"/>
                  </a:lnTo>
                  <a:lnTo>
                    <a:pt x="5737" y="173"/>
                  </a:lnTo>
                  <a:lnTo>
                    <a:pt x="5668" y="69"/>
                  </a:lnTo>
                  <a:lnTo>
                    <a:pt x="5564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" name="Google Shape;14153;p81">
              <a:extLst>
                <a:ext uri="{FF2B5EF4-FFF2-40B4-BE49-F238E27FC236}">
                  <a16:creationId xmlns:a16="http://schemas.microsoft.com/office/drawing/2014/main" id="{630FA748-6F6C-8952-D037-4E0FDAA1D162}"/>
                </a:ext>
              </a:extLst>
            </p:cNvPr>
            <p:cNvSpPr/>
            <p:nvPr/>
          </p:nvSpPr>
          <p:spPr>
            <a:xfrm>
              <a:off x="1823850" y="1149550"/>
              <a:ext cx="143450" cy="39750"/>
            </a:xfrm>
            <a:custGeom>
              <a:avLst/>
              <a:gdLst/>
              <a:ahLst/>
              <a:cxnLst/>
              <a:rect l="l" t="t" r="r" b="b"/>
              <a:pathLst>
                <a:path w="5738" h="1590" fill="none" extrusionOk="0">
                  <a:moveTo>
                    <a:pt x="5426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4" y="0"/>
                  </a:lnTo>
                  <a:lnTo>
                    <a:pt x="70" y="69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244"/>
                  </a:lnTo>
                  <a:lnTo>
                    <a:pt x="1" y="1244"/>
                  </a:lnTo>
                  <a:lnTo>
                    <a:pt x="1" y="1382"/>
                  </a:lnTo>
                  <a:lnTo>
                    <a:pt x="70" y="1486"/>
                  </a:lnTo>
                  <a:lnTo>
                    <a:pt x="174" y="1555"/>
                  </a:lnTo>
                  <a:lnTo>
                    <a:pt x="312" y="1590"/>
                  </a:lnTo>
                  <a:lnTo>
                    <a:pt x="5426" y="1590"/>
                  </a:lnTo>
                  <a:lnTo>
                    <a:pt x="5426" y="1590"/>
                  </a:lnTo>
                  <a:lnTo>
                    <a:pt x="5564" y="1555"/>
                  </a:lnTo>
                  <a:lnTo>
                    <a:pt x="5668" y="1486"/>
                  </a:lnTo>
                  <a:lnTo>
                    <a:pt x="5737" y="1382"/>
                  </a:lnTo>
                  <a:lnTo>
                    <a:pt x="5737" y="1244"/>
                  </a:lnTo>
                  <a:lnTo>
                    <a:pt x="5737" y="311"/>
                  </a:lnTo>
                  <a:lnTo>
                    <a:pt x="5737" y="311"/>
                  </a:lnTo>
                  <a:lnTo>
                    <a:pt x="5737" y="173"/>
                  </a:lnTo>
                  <a:lnTo>
                    <a:pt x="5668" y="69"/>
                  </a:lnTo>
                  <a:lnTo>
                    <a:pt x="5564" y="0"/>
                  </a:lnTo>
                  <a:lnTo>
                    <a:pt x="542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" name="Google Shape;14154;p81">
              <a:extLst>
                <a:ext uri="{FF2B5EF4-FFF2-40B4-BE49-F238E27FC236}">
                  <a16:creationId xmlns:a16="http://schemas.microsoft.com/office/drawing/2014/main" id="{57FE0288-2C5B-01FD-DF9D-9020B19504E4}"/>
                </a:ext>
              </a:extLst>
            </p:cNvPr>
            <p:cNvSpPr/>
            <p:nvPr/>
          </p:nvSpPr>
          <p:spPr>
            <a:xfrm>
              <a:off x="2019100" y="1149550"/>
              <a:ext cx="133075" cy="39750"/>
            </a:xfrm>
            <a:custGeom>
              <a:avLst/>
              <a:gdLst/>
              <a:ahLst/>
              <a:cxnLst/>
              <a:rect l="l" t="t" r="r" b="b"/>
              <a:pathLst>
                <a:path w="5323" h="1590" extrusionOk="0">
                  <a:moveTo>
                    <a:pt x="173" y="0"/>
                  </a:moveTo>
                  <a:lnTo>
                    <a:pt x="70" y="69"/>
                  </a:lnTo>
                  <a:lnTo>
                    <a:pt x="1" y="173"/>
                  </a:lnTo>
                  <a:lnTo>
                    <a:pt x="1" y="276"/>
                  </a:lnTo>
                  <a:lnTo>
                    <a:pt x="1" y="1279"/>
                  </a:lnTo>
                  <a:lnTo>
                    <a:pt x="1" y="1417"/>
                  </a:lnTo>
                  <a:lnTo>
                    <a:pt x="70" y="1486"/>
                  </a:lnTo>
                  <a:lnTo>
                    <a:pt x="173" y="1555"/>
                  </a:lnTo>
                  <a:lnTo>
                    <a:pt x="277" y="1590"/>
                  </a:lnTo>
                  <a:lnTo>
                    <a:pt x="5011" y="1590"/>
                  </a:lnTo>
                  <a:lnTo>
                    <a:pt x="5115" y="1555"/>
                  </a:lnTo>
                  <a:lnTo>
                    <a:pt x="5219" y="1486"/>
                  </a:lnTo>
                  <a:lnTo>
                    <a:pt x="5288" y="1417"/>
                  </a:lnTo>
                  <a:lnTo>
                    <a:pt x="5322" y="1279"/>
                  </a:lnTo>
                  <a:lnTo>
                    <a:pt x="5322" y="276"/>
                  </a:lnTo>
                  <a:lnTo>
                    <a:pt x="5288" y="173"/>
                  </a:lnTo>
                  <a:lnTo>
                    <a:pt x="5219" y="69"/>
                  </a:lnTo>
                  <a:lnTo>
                    <a:pt x="5115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" name="Google Shape;14155;p81">
              <a:extLst>
                <a:ext uri="{FF2B5EF4-FFF2-40B4-BE49-F238E27FC236}">
                  <a16:creationId xmlns:a16="http://schemas.microsoft.com/office/drawing/2014/main" id="{8B20629B-B89A-771D-1E0B-334BEB514122}"/>
                </a:ext>
              </a:extLst>
            </p:cNvPr>
            <p:cNvSpPr/>
            <p:nvPr/>
          </p:nvSpPr>
          <p:spPr>
            <a:xfrm>
              <a:off x="2019100" y="1149550"/>
              <a:ext cx="133075" cy="39750"/>
            </a:xfrm>
            <a:custGeom>
              <a:avLst/>
              <a:gdLst/>
              <a:ahLst/>
              <a:cxnLst/>
              <a:rect l="l" t="t" r="r" b="b"/>
              <a:pathLst>
                <a:path w="5323" h="1590" fill="none" extrusionOk="0">
                  <a:moveTo>
                    <a:pt x="5011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3" y="0"/>
                  </a:lnTo>
                  <a:lnTo>
                    <a:pt x="70" y="69"/>
                  </a:lnTo>
                  <a:lnTo>
                    <a:pt x="1" y="173"/>
                  </a:lnTo>
                  <a:lnTo>
                    <a:pt x="1" y="276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1" y="1417"/>
                  </a:lnTo>
                  <a:lnTo>
                    <a:pt x="70" y="1486"/>
                  </a:lnTo>
                  <a:lnTo>
                    <a:pt x="173" y="1555"/>
                  </a:lnTo>
                  <a:lnTo>
                    <a:pt x="277" y="1590"/>
                  </a:lnTo>
                  <a:lnTo>
                    <a:pt x="5011" y="1590"/>
                  </a:lnTo>
                  <a:lnTo>
                    <a:pt x="5011" y="1590"/>
                  </a:lnTo>
                  <a:lnTo>
                    <a:pt x="5115" y="1555"/>
                  </a:lnTo>
                  <a:lnTo>
                    <a:pt x="5219" y="1486"/>
                  </a:lnTo>
                  <a:lnTo>
                    <a:pt x="5288" y="1417"/>
                  </a:lnTo>
                  <a:lnTo>
                    <a:pt x="5322" y="1279"/>
                  </a:lnTo>
                  <a:lnTo>
                    <a:pt x="5322" y="276"/>
                  </a:lnTo>
                  <a:lnTo>
                    <a:pt x="5322" y="276"/>
                  </a:lnTo>
                  <a:lnTo>
                    <a:pt x="5288" y="173"/>
                  </a:lnTo>
                  <a:lnTo>
                    <a:pt x="5219" y="69"/>
                  </a:lnTo>
                  <a:lnTo>
                    <a:pt x="5115" y="0"/>
                  </a:lnTo>
                  <a:lnTo>
                    <a:pt x="501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" name="Google Shape;14156;p81">
              <a:extLst>
                <a:ext uri="{FF2B5EF4-FFF2-40B4-BE49-F238E27FC236}">
                  <a16:creationId xmlns:a16="http://schemas.microsoft.com/office/drawing/2014/main" id="{08CF20C1-8611-C4AC-50DD-98F52033F085}"/>
                </a:ext>
              </a:extLst>
            </p:cNvPr>
            <p:cNvSpPr/>
            <p:nvPr/>
          </p:nvSpPr>
          <p:spPr>
            <a:xfrm>
              <a:off x="2165975" y="114955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276"/>
                  </a:lnTo>
                  <a:lnTo>
                    <a:pt x="0" y="1279"/>
                  </a:lnTo>
                  <a:lnTo>
                    <a:pt x="35" y="1417"/>
                  </a:lnTo>
                  <a:lnTo>
                    <a:pt x="104" y="1486"/>
                  </a:lnTo>
                  <a:lnTo>
                    <a:pt x="208" y="1555"/>
                  </a:lnTo>
                  <a:lnTo>
                    <a:pt x="311" y="1590"/>
                  </a:lnTo>
                  <a:lnTo>
                    <a:pt x="3007" y="1590"/>
                  </a:lnTo>
                  <a:lnTo>
                    <a:pt x="3145" y="1555"/>
                  </a:lnTo>
                  <a:lnTo>
                    <a:pt x="3214" y="1486"/>
                  </a:lnTo>
                  <a:lnTo>
                    <a:pt x="3283" y="1417"/>
                  </a:lnTo>
                  <a:lnTo>
                    <a:pt x="3318" y="1279"/>
                  </a:lnTo>
                  <a:lnTo>
                    <a:pt x="3318" y="276"/>
                  </a:lnTo>
                  <a:lnTo>
                    <a:pt x="3283" y="173"/>
                  </a:lnTo>
                  <a:lnTo>
                    <a:pt x="3214" y="69"/>
                  </a:lnTo>
                  <a:lnTo>
                    <a:pt x="3145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" name="Google Shape;14157;p81">
              <a:extLst>
                <a:ext uri="{FF2B5EF4-FFF2-40B4-BE49-F238E27FC236}">
                  <a16:creationId xmlns:a16="http://schemas.microsoft.com/office/drawing/2014/main" id="{7BEC62C4-F600-20AF-E99C-EB46B07BFE93}"/>
                </a:ext>
              </a:extLst>
            </p:cNvPr>
            <p:cNvSpPr/>
            <p:nvPr/>
          </p:nvSpPr>
          <p:spPr>
            <a:xfrm>
              <a:off x="2165975" y="114955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fill="none" extrusionOk="0">
                  <a:moveTo>
                    <a:pt x="3007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276"/>
                  </a:lnTo>
                  <a:lnTo>
                    <a:pt x="0" y="1279"/>
                  </a:lnTo>
                  <a:lnTo>
                    <a:pt x="0" y="1279"/>
                  </a:lnTo>
                  <a:lnTo>
                    <a:pt x="35" y="1417"/>
                  </a:lnTo>
                  <a:lnTo>
                    <a:pt x="104" y="1486"/>
                  </a:lnTo>
                  <a:lnTo>
                    <a:pt x="208" y="1555"/>
                  </a:lnTo>
                  <a:lnTo>
                    <a:pt x="311" y="1590"/>
                  </a:lnTo>
                  <a:lnTo>
                    <a:pt x="3007" y="1590"/>
                  </a:lnTo>
                  <a:lnTo>
                    <a:pt x="3007" y="1590"/>
                  </a:lnTo>
                  <a:lnTo>
                    <a:pt x="3145" y="1555"/>
                  </a:lnTo>
                  <a:lnTo>
                    <a:pt x="3214" y="1486"/>
                  </a:lnTo>
                  <a:lnTo>
                    <a:pt x="3283" y="1417"/>
                  </a:lnTo>
                  <a:lnTo>
                    <a:pt x="3318" y="1279"/>
                  </a:lnTo>
                  <a:lnTo>
                    <a:pt x="3318" y="276"/>
                  </a:lnTo>
                  <a:lnTo>
                    <a:pt x="3318" y="276"/>
                  </a:lnTo>
                  <a:lnTo>
                    <a:pt x="3283" y="173"/>
                  </a:lnTo>
                  <a:lnTo>
                    <a:pt x="3214" y="69"/>
                  </a:lnTo>
                  <a:lnTo>
                    <a:pt x="3145" y="0"/>
                  </a:lnTo>
                  <a:lnTo>
                    <a:pt x="30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" name="Google Shape;14158;p81">
              <a:extLst>
                <a:ext uri="{FF2B5EF4-FFF2-40B4-BE49-F238E27FC236}">
                  <a16:creationId xmlns:a16="http://schemas.microsoft.com/office/drawing/2014/main" id="{2C3D759F-6237-D469-C2F9-E7A0541E8895}"/>
                </a:ext>
              </a:extLst>
            </p:cNvPr>
            <p:cNvSpPr/>
            <p:nvPr/>
          </p:nvSpPr>
          <p:spPr>
            <a:xfrm>
              <a:off x="2394050" y="1300725"/>
              <a:ext cx="286825" cy="266975"/>
            </a:xfrm>
            <a:custGeom>
              <a:avLst/>
              <a:gdLst/>
              <a:ahLst/>
              <a:cxnLst/>
              <a:rect l="l" t="t" r="r" b="b"/>
              <a:pathLst>
                <a:path w="11473" h="10679" extrusionOk="0">
                  <a:moveTo>
                    <a:pt x="1037" y="0"/>
                  </a:moveTo>
                  <a:lnTo>
                    <a:pt x="795" y="69"/>
                  </a:lnTo>
                  <a:lnTo>
                    <a:pt x="588" y="208"/>
                  </a:lnTo>
                  <a:lnTo>
                    <a:pt x="380" y="380"/>
                  </a:lnTo>
                  <a:lnTo>
                    <a:pt x="207" y="553"/>
                  </a:lnTo>
                  <a:lnTo>
                    <a:pt x="104" y="795"/>
                  </a:lnTo>
                  <a:lnTo>
                    <a:pt x="35" y="1037"/>
                  </a:lnTo>
                  <a:lnTo>
                    <a:pt x="0" y="1279"/>
                  </a:lnTo>
                  <a:lnTo>
                    <a:pt x="35" y="1521"/>
                  </a:lnTo>
                  <a:lnTo>
                    <a:pt x="104" y="1763"/>
                  </a:lnTo>
                  <a:lnTo>
                    <a:pt x="207" y="1970"/>
                  </a:lnTo>
                  <a:lnTo>
                    <a:pt x="380" y="2177"/>
                  </a:lnTo>
                  <a:lnTo>
                    <a:pt x="1590" y="3387"/>
                  </a:lnTo>
                  <a:lnTo>
                    <a:pt x="4354" y="6048"/>
                  </a:lnTo>
                  <a:lnTo>
                    <a:pt x="5806" y="7430"/>
                  </a:lnTo>
                  <a:lnTo>
                    <a:pt x="6980" y="8467"/>
                  </a:lnTo>
                  <a:lnTo>
                    <a:pt x="7844" y="9261"/>
                  </a:lnTo>
                  <a:lnTo>
                    <a:pt x="8536" y="9814"/>
                  </a:lnTo>
                  <a:lnTo>
                    <a:pt x="8985" y="10160"/>
                  </a:lnTo>
                  <a:lnTo>
                    <a:pt x="9330" y="10402"/>
                  </a:lnTo>
                  <a:lnTo>
                    <a:pt x="9572" y="10506"/>
                  </a:lnTo>
                  <a:lnTo>
                    <a:pt x="9710" y="10575"/>
                  </a:lnTo>
                  <a:lnTo>
                    <a:pt x="9952" y="10644"/>
                  </a:lnTo>
                  <a:lnTo>
                    <a:pt x="10194" y="10678"/>
                  </a:lnTo>
                  <a:lnTo>
                    <a:pt x="10402" y="10678"/>
                  </a:lnTo>
                  <a:lnTo>
                    <a:pt x="10574" y="10644"/>
                  </a:lnTo>
                  <a:lnTo>
                    <a:pt x="10747" y="10575"/>
                  </a:lnTo>
                  <a:lnTo>
                    <a:pt x="10920" y="10471"/>
                  </a:lnTo>
                  <a:lnTo>
                    <a:pt x="11058" y="10367"/>
                  </a:lnTo>
                  <a:lnTo>
                    <a:pt x="11196" y="10229"/>
                  </a:lnTo>
                  <a:lnTo>
                    <a:pt x="11300" y="10056"/>
                  </a:lnTo>
                  <a:lnTo>
                    <a:pt x="11369" y="9884"/>
                  </a:lnTo>
                  <a:lnTo>
                    <a:pt x="11473" y="9642"/>
                  </a:lnTo>
                  <a:lnTo>
                    <a:pt x="11473" y="9400"/>
                  </a:lnTo>
                  <a:lnTo>
                    <a:pt x="11438" y="9123"/>
                  </a:lnTo>
                  <a:lnTo>
                    <a:pt x="11369" y="8916"/>
                  </a:lnTo>
                  <a:lnTo>
                    <a:pt x="11265" y="8709"/>
                  </a:lnTo>
                  <a:lnTo>
                    <a:pt x="11093" y="8501"/>
                  </a:lnTo>
                  <a:lnTo>
                    <a:pt x="10920" y="8328"/>
                  </a:lnTo>
                  <a:lnTo>
                    <a:pt x="10678" y="8225"/>
                  </a:lnTo>
                  <a:lnTo>
                    <a:pt x="10505" y="8087"/>
                  </a:lnTo>
                  <a:lnTo>
                    <a:pt x="10229" y="7914"/>
                  </a:lnTo>
                  <a:lnTo>
                    <a:pt x="9503" y="7326"/>
                  </a:lnTo>
                  <a:lnTo>
                    <a:pt x="8570" y="6462"/>
                  </a:lnTo>
                  <a:lnTo>
                    <a:pt x="7430" y="5460"/>
                  </a:lnTo>
                  <a:lnTo>
                    <a:pt x="4873" y="3007"/>
                  </a:lnTo>
                  <a:lnTo>
                    <a:pt x="2177" y="380"/>
                  </a:lnTo>
                  <a:lnTo>
                    <a:pt x="1970" y="208"/>
                  </a:lnTo>
                  <a:lnTo>
                    <a:pt x="1762" y="69"/>
                  </a:lnTo>
                  <a:lnTo>
                    <a:pt x="1521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" name="Google Shape;14159;p81">
              <a:extLst>
                <a:ext uri="{FF2B5EF4-FFF2-40B4-BE49-F238E27FC236}">
                  <a16:creationId xmlns:a16="http://schemas.microsoft.com/office/drawing/2014/main" id="{7D1F9428-7DB8-4AC2-200C-DCFC69F3BDC8}"/>
                </a:ext>
              </a:extLst>
            </p:cNvPr>
            <p:cNvSpPr/>
            <p:nvPr/>
          </p:nvSpPr>
          <p:spPr>
            <a:xfrm>
              <a:off x="2387125" y="1316275"/>
              <a:ext cx="308450" cy="245375"/>
            </a:xfrm>
            <a:custGeom>
              <a:avLst/>
              <a:gdLst/>
              <a:ahLst/>
              <a:cxnLst/>
              <a:rect l="l" t="t" r="r" b="b"/>
              <a:pathLst>
                <a:path w="12338" h="9815" extrusionOk="0">
                  <a:moveTo>
                    <a:pt x="10920" y="0"/>
                  </a:moveTo>
                  <a:lnTo>
                    <a:pt x="10506" y="35"/>
                  </a:lnTo>
                  <a:lnTo>
                    <a:pt x="10091" y="104"/>
                  </a:lnTo>
                  <a:lnTo>
                    <a:pt x="9676" y="208"/>
                  </a:lnTo>
                  <a:lnTo>
                    <a:pt x="9262" y="346"/>
                  </a:lnTo>
                  <a:lnTo>
                    <a:pt x="8467" y="622"/>
                  </a:lnTo>
                  <a:lnTo>
                    <a:pt x="7672" y="1003"/>
                  </a:lnTo>
                  <a:lnTo>
                    <a:pt x="6912" y="1452"/>
                  </a:lnTo>
                  <a:lnTo>
                    <a:pt x="6152" y="1936"/>
                  </a:lnTo>
                  <a:lnTo>
                    <a:pt x="5426" y="2454"/>
                  </a:lnTo>
                  <a:lnTo>
                    <a:pt x="4735" y="3041"/>
                  </a:lnTo>
                  <a:lnTo>
                    <a:pt x="4044" y="3629"/>
                  </a:lnTo>
                  <a:lnTo>
                    <a:pt x="3422" y="4251"/>
                  </a:lnTo>
                  <a:lnTo>
                    <a:pt x="2800" y="4873"/>
                  </a:lnTo>
                  <a:lnTo>
                    <a:pt x="2247" y="5460"/>
                  </a:lnTo>
                  <a:lnTo>
                    <a:pt x="1210" y="6635"/>
                  </a:lnTo>
                  <a:lnTo>
                    <a:pt x="312" y="7706"/>
                  </a:lnTo>
                  <a:lnTo>
                    <a:pt x="173" y="7914"/>
                  </a:lnTo>
                  <a:lnTo>
                    <a:pt x="70" y="8156"/>
                  </a:lnTo>
                  <a:lnTo>
                    <a:pt x="1" y="8398"/>
                  </a:lnTo>
                  <a:lnTo>
                    <a:pt x="1" y="8639"/>
                  </a:lnTo>
                  <a:lnTo>
                    <a:pt x="70" y="8881"/>
                  </a:lnTo>
                  <a:lnTo>
                    <a:pt x="139" y="9089"/>
                  </a:lnTo>
                  <a:lnTo>
                    <a:pt x="277" y="9331"/>
                  </a:lnTo>
                  <a:lnTo>
                    <a:pt x="484" y="9503"/>
                  </a:lnTo>
                  <a:lnTo>
                    <a:pt x="657" y="9642"/>
                  </a:lnTo>
                  <a:lnTo>
                    <a:pt x="865" y="9711"/>
                  </a:lnTo>
                  <a:lnTo>
                    <a:pt x="1072" y="9780"/>
                  </a:lnTo>
                  <a:lnTo>
                    <a:pt x="1279" y="9814"/>
                  </a:lnTo>
                  <a:lnTo>
                    <a:pt x="1556" y="9780"/>
                  </a:lnTo>
                  <a:lnTo>
                    <a:pt x="1832" y="9676"/>
                  </a:lnTo>
                  <a:lnTo>
                    <a:pt x="2074" y="9538"/>
                  </a:lnTo>
                  <a:lnTo>
                    <a:pt x="2281" y="9331"/>
                  </a:lnTo>
                  <a:lnTo>
                    <a:pt x="3042" y="8398"/>
                  </a:lnTo>
                  <a:lnTo>
                    <a:pt x="3975" y="7361"/>
                  </a:lnTo>
                  <a:lnTo>
                    <a:pt x="5011" y="6290"/>
                  </a:lnTo>
                  <a:lnTo>
                    <a:pt x="5564" y="5737"/>
                  </a:lnTo>
                  <a:lnTo>
                    <a:pt x="6117" y="5218"/>
                  </a:lnTo>
                  <a:lnTo>
                    <a:pt x="6739" y="4700"/>
                  </a:lnTo>
                  <a:lnTo>
                    <a:pt x="7327" y="4216"/>
                  </a:lnTo>
                  <a:lnTo>
                    <a:pt x="7949" y="3802"/>
                  </a:lnTo>
                  <a:lnTo>
                    <a:pt x="8571" y="3421"/>
                  </a:lnTo>
                  <a:lnTo>
                    <a:pt x="9227" y="3076"/>
                  </a:lnTo>
                  <a:lnTo>
                    <a:pt x="9884" y="2834"/>
                  </a:lnTo>
                  <a:lnTo>
                    <a:pt x="10506" y="2627"/>
                  </a:lnTo>
                  <a:lnTo>
                    <a:pt x="10851" y="2558"/>
                  </a:lnTo>
                  <a:lnTo>
                    <a:pt x="11162" y="2523"/>
                  </a:lnTo>
                  <a:lnTo>
                    <a:pt x="11439" y="2488"/>
                  </a:lnTo>
                  <a:lnTo>
                    <a:pt x="11646" y="2385"/>
                  </a:lnTo>
                  <a:lnTo>
                    <a:pt x="11853" y="2247"/>
                  </a:lnTo>
                  <a:lnTo>
                    <a:pt x="12026" y="2074"/>
                  </a:lnTo>
                  <a:lnTo>
                    <a:pt x="12164" y="1866"/>
                  </a:lnTo>
                  <a:lnTo>
                    <a:pt x="12268" y="1659"/>
                  </a:lnTo>
                  <a:lnTo>
                    <a:pt x="12337" y="1417"/>
                  </a:lnTo>
                  <a:lnTo>
                    <a:pt x="12337" y="1141"/>
                  </a:lnTo>
                  <a:lnTo>
                    <a:pt x="12268" y="899"/>
                  </a:lnTo>
                  <a:lnTo>
                    <a:pt x="12164" y="657"/>
                  </a:lnTo>
                  <a:lnTo>
                    <a:pt x="12061" y="450"/>
                  </a:lnTo>
                  <a:lnTo>
                    <a:pt x="11888" y="277"/>
                  </a:lnTo>
                  <a:lnTo>
                    <a:pt x="11681" y="139"/>
                  </a:lnTo>
                  <a:lnTo>
                    <a:pt x="11439" y="35"/>
                  </a:lnTo>
                  <a:lnTo>
                    <a:pt x="11197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" name="Google Shape;14160;p81">
              <a:extLst>
                <a:ext uri="{FF2B5EF4-FFF2-40B4-BE49-F238E27FC236}">
                  <a16:creationId xmlns:a16="http://schemas.microsoft.com/office/drawing/2014/main" id="{A78C648F-280D-F4BD-DC22-790C9E011DBE}"/>
                </a:ext>
              </a:extLst>
            </p:cNvPr>
            <p:cNvSpPr/>
            <p:nvPr/>
          </p:nvSpPr>
          <p:spPr>
            <a:xfrm>
              <a:off x="3095525" y="2814300"/>
              <a:ext cx="353375" cy="327450"/>
            </a:xfrm>
            <a:custGeom>
              <a:avLst/>
              <a:gdLst/>
              <a:ahLst/>
              <a:cxnLst/>
              <a:rect l="l" t="t" r="r" b="b"/>
              <a:pathLst>
                <a:path w="14135" h="13098" extrusionOk="0">
                  <a:moveTo>
                    <a:pt x="1279" y="0"/>
                  </a:moveTo>
                  <a:lnTo>
                    <a:pt x="1038" y="35"/>
                  </a:lnTo>
                  <a:lnTo>
                    <a:pt x="830" y="104"/>
                  </a:lnTo>
                  <a:lnTo>
                    <a:pt x="588" y="208"/>
                  </a:lnTo>
                  <a:lnTo>
                    <a:pt x="381" y="380"/>
                  </a:lnTo>
                  <a:lnTo>
                    <a:pt x="243" y="588"/>
                  </a:lnTo>
                  <a:lnTo>
                    <a:pt x="105" y="795"/>
                  </a:lnTo>
                  <a:lnTo>
                    <a:pt x="35" y="1037"/>
                  </a:lnTo>
                  <a:lnTo>
                    <a:pt x="1" y="1279"/>
                  </a:lnTo>
                  <a:lnTo>
                    <a:pt x="35" y="1521"/>
                  </a:lnTo>
                  <a:lnTo>
                    <a:pt x="105" y="1763"/>
                  </a:lnTo>
                  <a:lnTo>
                    <a:pt x="243" y="1970"/>
                  </a:lnTo>
                  <a:lnTo>
                    <a:pt x="381" y="2177"/>
                  </a:lnTo>
                  <a:lnTo>
                    <a:pt x="1971" y="3767"/>
                  </a:lnTo>
                  <a:lnTo>
                    <a:pt x="3629" y="5356"/>
                  </a:lnTo>
                  <a:lnTo>
                    <a:pt x="5564" y="7222"/>
                  </a:lnTo>
                  <a:lnTo>
                    <a:pt x="7396" y="8950"/>
                  </a:lnTo>
                  <a:lnTo>
                    <a:pt x="8882" y="10298"/>
                  </a:lnTo>
                  <a:lnTo>
                    <a:pt x="10022" y="11300"/>
                  </a:lnTo>
                  <a:lnTo>
                    <a:pt x="10886" y="12026"/>
                  </a:lnTo>
                  <a:lnTo>
                    <a:pt x="11474" y="12475"/>
                  </a:lnTo>
                  <a:lnTo>
                    <a:pt x="11888" y="12751"/>
                  </a:lnTo>
                  <a:lnTo>
                    <a:pt x="12165" y="12924"/>
                  </a:lnTo>
                  <a:lnTo>
                    <a:pt x="12372" y="12993"/>
                  </a:lnTo>
                  <a:lnTo>
                    <a:pt x="12614" y="13063"/>
                  </a:lnTo>
                  <a:lnTo>
                    <a:pt x="12856" y="13097"/>
                  </a:lnTo>
                  <a:lnTo>
                    <a:pt x="13029" y="13063"/>
                  </a:lnTo>
                  <a:lnTo>
                    <a:pt x="13201" y="13028"/>
                  </a:lnTo>
                  <a:lnTo>
                    <a:pt x="13374" y="12959"/>
                  </a:lnTo>
                  <a:lnTo>
                    <a:pt x="13547" y="12855"/>
                  </a:lnTo>
                  <a:lnTo>
                    <a:pt x="13685" y="12751"/>
                  </a:lnTo>
                  <a:lnTo>
                    <a:pt x="13823" y="12613"/>
                  </a:lnTo>
                  <a:lnTo>
                    <a:pt x="13962" y="12475"/>
                  </a:lnTo>
                  <a:lnTo>
                    <a:pt x="14031" y="12268"/>
                  </a:lnTo>
                  <a:lnTo>
                    <a:pt x="14100" y="12026"/>
                  </a:lnTo>
                  <a:lnTo>
                    <a:pt x="14134" y="11784"/>
                  </a:lnTo>
                  <a:lnTo>
                    <a:pt x="14100" y="11542"/>
                  </a:lnTo>
                  <a:lnTo>
                    <a:pt x="14031" y="11300"/>
                  </a:lnTo>
                  <a:lnTo>
                    <a:pt x="13893" y="11093"/>
                  </a:lnTo>
                  <a:lnTo>
                    <a:pt x="13754" y="10885"/>
                  </a:lnTo>
                  <a:lnTo>
                    <a:pt x="13547" y="10747"/>
                  </a:lnTo>
                  <a:lnTo>
                    <a:pt x="13340" y="10609"/>
                  </a:lnTo>
                  <a:lnTo>
                    <a:pt x="13098" y="10471"/>
                  </a:lnTo>
                  <a:lnTo>
                    <a:pt x="12752" y="10229"/>
                  </a:lnTo>
                  <a:lnTo>
                    <a:pt x="11819" y="9469"/>
                  </a:lnTo>
                  <a:lnTo>
                    <a:pt x="10575" y="8397"/>
                  </a:lnTo>
                  <a:lnTo>
                    <a:pt x="9124" y="7084"/>
                  </a:lnTo>
                  <a:lnTo>
                    <a:pt x="7500" y="5529"/>
                  </a:lnTo>
                  <a:lnTo>
                    <a:pt x="5772" y="3871"/>
                  </a:lnTo>
                  <a:lnTo>
                    <a:pt x="3975" y="2143"/>
                  </a:lnTo>
                  <a:lnTo>
                    <a:pt x="2212" y="380"/>
                  </a:lnTo>
                  <a:lnTo>
                    <a:pt x="2005" y="208"/>
                  </a:lnTo>
                  <a:lnTo>
                    <a:pt x="1763" y="104"/>
                  </a:lnTo>
                  <a:lnTo>
                    <a:pt x="1556" y="35"/>
                  </a:lnTo>
                  <a:lnTo>
                    <a:pt x="1279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" name="Google Shape;14161;p81">
              <a:extLst>
                <a:ext uri="{FF2B5EF4-FFF2-40B4-BE49-F238E27FC236}">
                  <a16:creationId xmlns:a16="http://schemas.microsoft.com/office/drawing/2014/main" id="{E8EF0338-AB79-BC7D-C02F-8507D9A98807}"/>
                </a:ext>
              </a:extLst>
            </p:cNvPr>
            <p:cNvSpPr/>
            <p:nvPr/>
          </p:nvSpPr>
          <p:spPr>
            <a:xfrm>
              <a:off x="3087750" y="2834150"/>
              <a:ext cx="379300" cy="298950"/>
            </a:xfrm>
            <a:custGeom>
              <a:avLst/>
              <a:gdLst/>
              <a:ahLst/>
              <a:cxnLst/>
              <a:rect l="l" t="t" r="r" b="b"/>
              <a:pathLst>
                <a:path w="15172" h="11958" extrusionOk="0">
                  <a:moveTo>
                    <a:pt x="13789" y="1"/>
                  </a:moveTo>
                  <a:lnTo>
                    <a:pt x="13236" y="70"/>
                  </a:lnTo>
                  <a:lnTo>
                    <a:pt x="12718" y="174"/>
                  </a:lnTo>
                  <a:lnTo>
                    <a:pt x="12199" y="277"/>
                  </a:lnTo>
                  <a:lnTo>
                    <a:pt x="11681" y="450"/>
                  </a:lnTo>
                  <a:lnTo>
                    <a:pt x="11163" y="623"/>
                  </a:lnTo>
                  <a:lnTo>
                    <a:pt x="10644" y="830"/>
                  </a:lnTo>
                  <a:lnTo>
                    <a:pt x="10160" y="1038"/>
                  </a:lnTo>
                  <a:lnTo>
                    <a:pt x="9642" y="1314"/>
                  </a:lnTo>
                  <a:lnTo>
                    <a:pt x="8675" y="1867"/>
                  </a:lnTo>
                  <a:lnTo>
                    <a:pt x="7742" y="2489"/>
                  </a:lnTo>
                  <a:lnTo>
                    <a:pt x="6808" y="3180"/>
                  </a:lnTo>
                  <a:lnTo>
                    <a:pt x="5910" y="3906"/>
                  </a:lnTo>
                  <a:lnTo>
                    <a:pt x="5081" y="4666"/>
                  </a:lnTo>
                  <a:lnTo>
                    <a:pt x="4251" y="5426"/>
                  </a:lnTo>
                  <a:lnTo>
                    <a:pt x="3491" y="6221"/>
                  </a:lnTo>
                  <a:lnTo>
                    <a:pt x="2731" y="7016"/>
                  </a:lnTo>
                  <a:lnTo>
                    <a:pt x="1418" y="8502"/>
                  </a:lnTo>
                  <a:lnTo>
                    <a:pt x="277" y="9850"/>
                  </a:lnTo>
                  <a:lnTo>
                    <a:pt x="139" y="10057"/>
                  </a:lnTo>
                  <a:lnTo>
                    <a:pt x="35" y="10299"/>
                  </a:lnTo>
                  <a:lnTo>
                    <a:pt x="1" y="10541"/>
                  </a:lnTo>
                  <a:lnTo>
                    <a:pt x="1" y="10783"/>
                  </a:lnTo>
                  <a:lnTo>
                    <a:pt x="35" y="11024"/>
                  </a:lnTo>
                  <a:lnTo>
                    <a:pt x="139" y="11266"/>
                  </a:lnTo>
                  <a:lnTo>
                    <a:pt x="277" y="11474"/>
                  </a:lnTo>
                  <a:lnTo>
                    <a:pt x="450" y="11646"/>
                  </a:lnTo>
                  <a:lnTo>
                    <a:pt x="623" y="11785"/>
                  </a:lnTo>
                  <a:lnTo>
                    <a:pt x="830" y="11888"/>
                  </a:lnTo>
                  <a:lnTo>
                    <a:pt x="1038" y="11923"/>
                  </a:lnTo>
                  <a:lnTo>
                    <a:pt x="1279" y="11957"/>
                  </a:lnTo>
                  <a:lnTo>
                    <a:pt x="1556" y="11923"/>
                  </a:lnTo>
                  <a:lnTo>
                    <a:pt x="1798" y="11819"/>
                  </a:lnTo>
                  <a:lnTo>
                    <a:pt x="2040" y="11681"/>
                  </a:lnTo>
                  <a:lnTo>
                    <a:pt x="2247" y="11474"/>
                  </a:lnTo>
                  <a:lnTo>
                    <a:pt x="3284" y="10264"/>
                  </a:lnTo>
                  <a:lnTo>
                    <a:pt x="4493" y="8882"/>
                  </a:lnTo>
                  <a:lnTo>
                    <a:pt x="5150" y="8191"/>
                  </a:lnTo>
                  <a:lnTo>
                    <a:pt x="5841" y="7465"/>
                  </a:lnTo>
                  <a:lnTo>
                    <a:pt x="6567" y="6739"/>
                  </a:lnTo>
                  <a:lnTo>
                    <a:pt x="7327" y="6048"/>
                  </a:lnTo>
                  <a:lnTo>
                    <a:pt x="8122" y="5392"/>
                  </a:lnTo>
                  <a:lnTo>
                    <a:pt x="8916" y="4770"/>
                  </a:lnTo>
                  <a:lnTo>
                    <a:pt x="9746" y="4217"/>
                  </a:lnTo>
                  <a:lnTo>
                    <a:pt x="10575" y="3699"/>
                  </a:lnTo>
                  <a:lnTo>
                    <a:pt x="11439" y="3284"/>
                  </a:lnTo>
                  <a:lnTo>
                    <a:pt x="11854" y="3111"/>
                  </a:lnTo>
                  <a:lnTo>
                    <a:pt x="12268" y="2938"/>
                  </a:lnTo>
                  <a:lnTo>
                    <a:pt x="12718" y="2800"/>
                  </a:lnTo>
                  <a:lnTo>
                    <a:pt x="13132" y="2696"/>
                  </a:lnTo>
                  <a:lnTo>
                    <a:pt x="13582" y="2593"/>
                  </a:lnTo>
                  <a:lnTo>
                    <a:pt x="14031" y="2558"/>
                  </a:lnTo>
                  <a:lnTo>
                    <a:pt x="14273" y="2489"/>
                  </a:lnTo>
                  <a:lnTo>
                    <a:pt x="14515" y="2420"/>
                  </a:lnTo>
                  <a:lnTo>
                    <a:pt x="14722" y="2282"/>
                  </a:lnTo>
                  <a:lnTo>
                    <a:pt x="14895" y="2109"/>
                  </a:lnTo>
                  <a:lnTo>
                    <a:pt x="15033" y="1902"/>
                  </a:lnTo>
                  <a:lnTo>
                    <a:pt x="15137" y="1660"/>
                  </a:lnTo>
                  <a:lnTo>
                    <a:pt x="15171" y="1418"/>
                  </a:lnTo>
                  <a:lnTo>
                    <a:pt x="15171" y="1176"/>
                  </a:lnTo>
                  <a:lnTo>
                    <a:pt x="15137" y="899"/>
                  </a:lnTo>
                  <a:lnTo>
                    <a:pt x="15033" y="658"/>
                  </a:lnTo>
                  <a:lnTo>
                    <a:pt x="14895" y="485"/>
                  </a:lnTo>
                  <a:lnTo>
                    <a:pt x="14722" y="277"/>
                  </a:lnTo>
                  <a:lnTo>
                    <a:pt x="14515" y="139"/>
                  </a:lnTo>
                  <a:lnTo>
                    <a:pt x="14273" y="70"/>
                  </a:lnTo>
                  <a:lnTo>
                    <a:pt x="1403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22" name="Google Shape;14162;p81">
              <a:extLst>
                <a:ext uri="{FF2B5EF4-FFF2-40B4-BE49-F238E27FC236}">
                  <a16:creationId xmlns:a16="http://schemas.microsoft.com/office/drawing/2014/main" id="{0F0DB213-537A-FA58-4353-FAA8121BBA23}"/>
                </a:ext>
              </a:extLst>
            </p:cNvPr>
            <p:cNvSpPr/>
            <p:nvPr/>
          </p:nvSpPr>
          <p:spPr>
            <a:xfrm>
              <a:off x="2876975" y="2150800"/>
              <a:ext cx="352500" cy="326600"/>
            </a:xfrm>
            <a:custGeom>
              <a:avLst/>
              <a:gdLst/>
              <a:ahLst/>
              <a:cxnLst/>
              <a:rect l="l" t="t" r="r" b="b"/>
              <a:pathLst>
                <a:path w="14100" h="13064" extrusionOk="0">
                  <a:moveTo>
                    <a:pt x="1037" y="1"/>
                  </a:moveTo>
                  <a:lnTo>
                    <a:pt x="795" y="70"/>
                  </a:lnTo>
                  <a:lnTo>
                    <a:pt x="553" y="208"/>
                  </a:lnTo>
                  <a:lnTo>
                    <a:pt x="380" y="381"/>
                  </a:lnTo>
                  <a:lnTo>
                    <a:pt x="207" y="554"/>
                  </a:lnTo>
                  <a:lnTo>
                    <a:pt x="69" y="796"/>
                  </a:lnTo>
                  <a:lnTo>
                    <a:pt x="0" y="1038"/>
                  </a:lnTo>
                  <a:lnTo>
                    <a:pt x="0" y="1279"/>
                  </a:lnTo>
                  <a:lnTo>
                    <a:pt x="0" y="1521"/>
                  </a:lnTo>
                  <a:lnTo>
                    <a:pt x="69" y="1763"/>
                  </a:lnTo>
                  <a:lnTo>
                    <a:pt x="207" y="1971"/>
                  </a:lnTo>
                  <a:lnTo>
                    <a:pt x="380" y="2178"/>
                  </a:lnTo>
                  <a:lnTo>
                    <a:pt x="1970" y="3768"/>
                  </a:lnTo>
                  <a:lnTo>
                    <a:pt x="3594" y="5357"/>
                  </a:lnTo>
                  <a:lnTo>
                    <a:pt x="5529" y="7189"/>
                  </a:lnTo>
                  <a:lnTo>
                    <a:pt x="7395" y="8951"/>
                  </a:lnTo>
                  <a:lnTo>
                    <a:pt x="8847" y="10299"/>
                  </a:lnTo>
                  <a:lnTo>
                    <a:pt x="9987" y="11301"/>
                  </a:lnTo>
                  <a:lnTo>
                    <a:pt x="10851" y="11992"/>
                  </a:lnTo>
                  <a:lnTo>
                    <a:pt x="11438" y="12476"/>
                  </a:lnTo>
                  <a:lnTo>
                    <a:pt x="11888" y="12752"/>
                  </a:lnTo>
                  <a:lnTo>
                    <a:pt x="12164" y="12890"/>
                  </a:lnTo>
                  <a:lnTo>
                    <a:pt x="12337" y="12994"/>
                  </a:lnTo>
                  <a:lnTo>
                    <a:pt x="12579" y="13063"/>
                  </a:lnTo>
                  <a:lnTo>
                    <a:pt x="12993" y="13063"/>
                  </a:lnTo>
                  <a:lnTo>
                    <a:pt x="13201" y="13029"/>
                  </a:lnTo>
                  <a:lnTo>
                    <a:pt x="13373" y="12960"/>
                  </a:lnTo>
                  <a:lnTo>
                    <a:pt x="13512" y="12856"/>
                  </a:lnTo>
                  <a:lnTo>
                    <a:pt x="13684" y="12752"/>
                  </a:lnTo>
                  <a:lnTo>
                    <a:pt x="13823" y="12614"/>
                  </a:lnTo>
                  <a:lnTo>
                    <a:pt x="13926" y="12441"/>
                  </a:lnTo>
                  <a:lnTo>
                    <a:pt x="13995" y="12268"/>
                  </a:lnTo>
                  <a:lnTo>
                    <a:pt x="14065" y="12026"/>
                  </a:lnTo>
                  <a:lnTo>
                    <a:pt x="14099" y="11785"/>
                  </a:lnTo>
                  <a:lnTo>
                    <a:pt x="14065" y="11543"/>
                  </a:lnTo>
                  <a:lnTo>
                    <a:pt x="13995" y="11301"/>
                  </a:lnTo>
                  <a:lnTo>
                    <a:pt x="13892" y="11093"/>
                  </a:lnTo>
                  <a:lnTo>
                    <a:pt x="13719" y="10886"/>
                  </a:lnTo>
                  <a:lnTo>
                    <a:pt x="13512" y="10748"/>
                  </a:lnTo>
                  <a:lnTo>
                    <a:pt x="13304" y="10610"/>
                  </a:lnTo>
                  <a:lnTo>
                    <a:pt x="13062" y="10471"/>
                  </a:lnTo>
                  <a:lnTo>
                    <a:pt x="12717" y="10230"/>
                  </a:lnTo>
                  <a:lnTo>
                    <a:pt x="11784" y="9469"/>
                  </a:lnTo>
                  <a:lnTo>
                    <a:pt x="10574" y="8398"/>
                  </a:lnTo>
                  <a:lnTo>
                    <a:pt x="9123" y="7050"/>
                  </a:lnTo>
                  <a:lnTo>
                    <a:pt x="7464" y="5530"/>
                  </a:lnTo>
                  <a:lnTo>
                    <a:pt x="5736" y="3871"/>
                  </a:lnTo>
                  <a:lnTo>
                    <a:pt x="3940" y="2143"/>
                  </a:lnTo>
                  <a:lnTo>
                    <a:pt x="2177" y="381"/>
                  </a:lnTo>
                  <a:lnTo>
                    <a:pt x="1970" y="208"/>
                  </a:lnTo>
                  <a:lnTo>
                    <a:pt x="1762" y="70"/>
                  </a:lnTo>
                  <a:lnTo>
                    <a:pt x="152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23" name="Google Shape;14163;p81">
              <a:extLst>
                <a:ext uri="{FF2B5EF4-FFF2-40B4-BE49-F238E27FC236}">
                  <a16:creationId xmlns:a16="http://schemas.microsoft.com/office/drawing/2014/main" id="{25E04E20-2DC1-C9B2-5952-B588816BA875}"/>
                </a:ext>
              </a:extLst>
            </p:cNvPr>
            <p:cNvSpPr/>
            <p:nvPr/>
          </p:nvSpPr>
          <p:spPr>
            <a:xfrm>
              <a:off x="2868325" y="2170675"/>
              <a:ext cx="379275" cy="298950"/>
            </a:xfrm>
            <a:custGeom>
              <a:avLst/>
              <a:gdLst/>
              <a:ahLst/>
              <a:cxnLst/>
              <a:rect l="l" t="t" r="r" b="b"/>
              <a:pathLst>
                <a:path w="15171" h="11958" extrusionOk="0">
                  <a:moveTo>
                    <a:pt x="13789" y="1"/>
                  </a:moveTo>
                  <a:lnTo>
                    <a:pt x="13270" y="70"/>
                  </a:lnTo>
                  <a:lnTo>
                    <a:pt x="12717" y="139"/>
                  </a:lnTo>
                  <a:lnTo>
                    <a:pt x="12199" y="277"/>
                  </a:lnTo>
                  <a:lnTo>
                    <a:pt x="11681" y="450"/>
                  </a:lnTo>
                  <a:lnTo>
                    <a:pt x="11162" y="623"/>
                  </a:lnTo>
                  <a:lnTo>
                    <a:pt x="10678" y="830"/>
                  </a:lnTo>
                  <a:lnTo>
                    <a:pt x="10160" y="1037"/>
                  </a:lnTo>
                  <a:lnTo>
                    <a:pt x="9676" y="1279"/>
                  </a:lnTo>
                  <a:lnTo>
                    <a:pt x="8674" y="1867"/>
                  </a:lnTo>
                  <a:lnTo>
                    <a:pt x="7741" y="2489"/>
                  </a:lnTo>
                  <a:lnTo>
                    <a:pt x="6808" y="3180"/>
                  </a:lnTo>
                  <a:lnTo>
                    <a:pt x="5944" y="3906"/>
                  </a:lnTo>
                  <a:lnTo>
                    <a:pt x="5080" y="4666"/>
                  </a:lnTo>
                  <a:lnTo>
                    <a:pt x="4251" y="5426"/>
                  </a:lnTo>
                  <a:lnTo>
                    <a:pt x="3491" y="6221"/>
                  </a:lnTo>
                  <a:lnTo>
                    <a:pt x="2765" y="7016"/>
                  </a:lnTo>
                  <a:lnTo>
                    <a:pt x="1417" y="8502"/>
                  </a:lnTo>
                  <a:lnTo>
                    <a:pt x="277" y="9849"/>
                  </a:lnTo>
                  <a:lnTo>
                    <a:pt x="139" y="10057"/>
                  </a:lnTo>
                  <a:lnTo>
                    <a:pt x="35" y="10298"/>
                  </a:lnTo>
                  <a:lnTo>
                    <a:pt x="1" y="10540"/>
                  </a:lnTo>
                  <a:lnTo>
                    <a:pt x="1" y="10782"/>
                  </a:lnTo>
                  <a:lnTo>
                    <a:pt x="35" y="11024"/>
                  </a:lnTo>
                  <a:lnTo>
                    <a:pt x="139" y="11231"/>
                  </a:lnTo>
                  <a:lnTo>
                    <a:pt x="277" y="11473"/>
                  </a:lnTo>
                  <a:lnTo>
                    <a:pt x="450" y="11646"/>
                  </a:lnTo>
                  <a:lnTo>
                    <a:pt x="657" y="11784"/>
                  </a:lnTo>
                  <a:lnTo>
                    <a:pt x="830" y="11854"/>
                  </a:lnTo>
                  <a:lnTo>
                    <a:pt x="1072" y="11923"/>
                  </a:lnTo>
                  <a:lnTo>
                    <a:pt x="1279" y="11957"/>
                  </a:lnTo>
                  <a:lnTo>
                    <a:pt x="1556" y="11923"/>
                  </a:lnTo>
                  <a:lnTo>
                    <a:pt x="1797" y="11819"/>
                  </a:lnTo>
                  <a:lnTo>
                    <a:pt x="2039" y="11681"/>
                  </a:lnTo>
                  <a:lnTo>
                    <a:pt x="2247" y="11473"/>
                  </a:lnTo>
                  <a:lnTo>
                    <a:pt x="3283" y="10264"/>
                  </a:lnTo>
                  <a:lnTo>
                    <a:pt x="4493" y="8882"/>
                  </a:lnTo>
                  <a:lnTo>
                    <a:pt x="5149" y="8191"/>
                  </a:lnTo>
                  <a:lnTo>
                    <a:pt x="5841" y="7465"/>
                  </a:lnTo>
                  <a:lnTo>
                    <a:pt x="6566" y="6739"/>
                  </a:lnTo>
                  <a:lnTo>
                    <a:pt x="7327" y="6048"/>
                  </a:lnTo>
                  <a:lnTo>
                    <a:pt x="8121" y="5391"/>
                  </a:lnTo>
                  <a:lnTo>
                    <a:pt x="8916" y="4769"/>
                  </a:lnTo>
                  <a:lnTo>
                    <a:pt x="9745" y="4217"/>
                  </a:lnTo>
                  <a:lnTo>
                    <a:pt x="10575" y="3698"/>
                  </a:lnTo>
                  <a:lnTo>
                    <a:pt x="11439" y="3284"/>
                  </a:lnTo>
                  <a:lnTo>
                    <a:pt x="11853" y="3076"/>
                  </a:lnTo>
                  <a:lnTo>
                    <a:pt x="12303" y="2938"/>
                  </a:lnTo>
                  <a:lnTo>
                    <a:pt x="12717" y="2800"/>
                  </a:lnTo>
                  <a:lnTo>
                    <a:pt x="13167" y="2696"/>
                  </a:lnTo>
                  <a:lnTo>
                    <a:pt x="13581" y="2592"/>
                  </a:lnTo>
                  <a:lnTo>
                    <a:pt x="14030" y="2558"/>
                  </a:lnTo>
                  <a:lnTo>
                    <a:pt x="14272" y="2489"/>
                  </a:lnTo>
                  <a:lnTo>
                    <a:pt x="14514" y="2385"/>
                  </a:lnTo>
                  <a:lnTo>
                    <a:pt x="14722" y="2247"/>
                  </a:lnTo>
                  <a:lnTo>
                    <a:pt x="14894" y="2074"/>
                  </a:lnTo>
                  <a:lnTo>
                    <a:pt x="15033" y="1901"/>
                  </a:lnTo>
                  <a:lnTo>
                    <a:pt x="15136" y="1659"/>
                  </a:lnTo>
                  <a:lnTo>
                    <a:pt x="15171" y="1417"/>
                  </a:lnTo>
                  <a:lnTo>
                    <a:pt x="15171" y="1141"/>
                  </a:lnTo>
                  <a:lnTo>
                    <a:pt x="15136" y="899"/>
                  </a:lnTo>
                  <a:lnTo>
                    <a:pt x="15033" y="657"/>
                  </a:lnTo>
                  <a:lnTo>
                    <a:pt x="14894" y="450"/>
                  </a:lnTo>
                  <a:lnTo>
                    <a:pt x="14722" y="277"/>
                  </a:lnTo>
                  <a:lnTo>
                    <a:pt x="14514" y="139"/>
                  </a:lnTo>
                  <a:lnTo>
                    <a:pt x="14307" y="35"/>
                  </a:lnTo>
                  <a:lnTo>
                    <a:pt x="14065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24" name="Google Shape;14164;p81">
              <a:extLst>
                <a:ext uri="{FF2B5EF4-FFF2-40B4-BE49-F238E27FC236}">
                  <a16:creationId xmlns:a16="http://schemas.microsoft.com/office/drawing/2014/main" id="{85043DB0-9648-C441-2320-8690D0E2F713}"/>
                </a:ext>
              </a:extLst>
            </p:cNvPr>
            <p:cNvSpPr/>
            <p:nvPr/>
          </p:nvSpPr>
          <p:spPr>
            <a:xfrm>
              <a:off x="3008275" y="1469175"/>
              <a:ext cx="309300" cy="287725"/>
            </a:xfrm>
            <a:custGeom>
              <a:avLst/>
              <a:gdLst/>
              <a:ahLst/>
              <a:cxnLst/>
              <a:rect l="l" t="t" r="r" b="b"/>
              <a:pathLst>
                <a:path w="12372" h="11509" extrusionOk="0">
                  <a:moveTo>
                    <a:pt x="1210" y="1"/>
                  </a:moveTo>
                  <a:lnTo>
                    <a:pt x="968" y="35"/>
                  </a:lnTo>
                  <a:lnTo>
                    <a:pt x="761" y="105"/>
                  </a:lnTo>
                  <a:lnTo>
                    <a:pt x="554" y="208"/>
                  </a:lnTo>
                  <a:lnTo>
                    <a:pt x="381" y="346"/>
                  </a:lnTo>
                  <a:lnTo>
                    <a:pt x="208" y="554"/>
                  </a:lnTo>
                  <a:lnTo>
                    <a:pt x="104" y="761"/>
                  </a:lnTo>
                  <a:lnTo>
                    <a:pt x="35" y="968"/>
                  </a:lnTo>
                  <a:lnTo>
                    <a:pt x="1" y="1210"/>
                  </a:lnTo>
                  <a:lnTo>
                    <a:pt x="35" y="1452"/>
                  </a:lnTo>
                  <a:lnTo>
                    <a:pt x="104" y="1660"/>
                  </a:lnTo>
                  <a:lnTo>
                    <a:pt x="208" y="1867"/>
                  </a:lnTo>
                  <a:lnTo>
                    <a:pt x="381" y="2040"/>
                  </a:lnTo>
                  <a:lnTo>
                    <a:pt x="2869" y="4528"/>
                  </a:lnTo>
                  <a:lnTo>
                    <a:pt x="4389" y="6014"/>
                  </a:lnTo>
                  <a:lnTo>
                    <a:pt x="5944" y="7465"/>
                  </a:lnTo>
                  <a:lnTo>
                    <a:pt x="7465" y="8882"/>
                  </a:lnTo>
                  <a:lnTo>
                    <a:pt x="8847" y="10057"/>
                  </a:lnTo>
                  <a:lnTo>
                    <a:pt x="9435" y="10541"/>
                  </a:lnTo>
                  <a:lnTo>
                    <a:pt x="9953" y="10921"/>
                  </a:lnTo>
                  <a:lnTo>
                    <a:pt x="10402" y="11232"/>
                  </a:lnTo>
                  <a:lnTo>
                    <a:pt x="10748" y="11404"/>
                  </a:lnTo>
                  <a:lnTo>
                    <a:pt x="10955" y="11474"/>
                  </a:lnTo>
                  <a:lnTo>
                    <a:pt x="11197" y="11508"/>
                  </a:lnTo>
                  <a:lnTo>
                    <a:pt x="11370" y="11474"/>
                  </a:lnTo>
                  <a:lnTo>
                    <a:pt x="11543" y="11439"/>
                  </a:lnTo>
                  <a:lnTo>
                    <a:pt x="11681" y="11370"/>
                  </a:lnTo>
                  <a:lnTo>
                    <a:pt x="11854" y="11301"/>
                  </a:lnTo>
                  <a:lnTo>
                    <a:pt x="11992" y="11197"/>
                  </a:lnTo>
                  <a:lnTo>
                    <a:pt x="12095" y="11059"/>
                  </a:lnTo>
                  <a:lnTo>
                    <a:pt x="12199" y="10921"/>
                  </a:lnTo>
                  <a:lnTo>
                    <a:pt x="12303" y="10748"/>
                  </a:lnTo>
                  <a:lnTo>
                    <a:pt x="12372" y="10506"/>
                  </a:lnTo>
                  <a:lnTo>
                    <a:pt x="12372" y="10264"/>
                  </a:lnTo>
                  <a:lnTo>
                    <a:pt x="12372" y="10057"/>
                  </a:lnTo>
                  <a:lnTo>
                    <a:pt x="12303" y="9815"/>
                  </a:lnTo>
                  <a:lnTo>
                    <a:pt x="12165" y="9642"/>
                  </a:lnTo>
                  <a:lnTo>
                    <a:pt x="12026" y="9469"/>
                  </a:lnTo>
                  <a:lnTo>
                    <a:pt x="11854" y="9297"/>
                  </a:lnTo>
                  <a:lnTo>
                    <a:pt x="11646" y="9193"/>
                  </a:lnTo>
                  <a:lnTo>
                    <a:pt x="11439" y="9055"/>
                  </a:lnTo>
                  <a:lnTo>
                    <a:pt x="11128" y="8847"/>
                  </a:lnTo>
                  <a:lnTo>
                    <a:pt x="10333" y="8191"/>
                  </a:lnTo>
                  <a:lnTo>
                    <a:pt x="9262" y="7258"/>
                  </a:lnTo>
                  <a:lnTo>
                    <a:pt x="8018" y="6117"/>
                  </a:lnTo>
                  <a:lnTo>
                    <a:pt x="5115" y="3387"/>
                  </a:lnTo>
                  <a:lnTo>
                    <a:pt x="2040" y="346"/>
                  </a:lnTo>
                  <a:lnTo>
                    <a:pt x="1867" y="208"/>
                  </a:lnTo>
                  <a:lnTo>
                    <a:pt x="1659" y="105"/>
                  </a:lnTo>
                  <a:lnTo>
                    <a:pt x="1452" y="35"/>
                  </a:lnTo>
                  <a:lnTo>
                    <a:pt x="1210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25" name="Google Shape;14165;p81">
              <a:extLst>
                <a:ext uri="{FF2B5EF4-FFF2-40B4-BE49-F238E27FC236}">
                  <a16:creationId xmlns:a16="http://schemas.microsoft.com/office/drawing/2014/main" id="{F6631EBF-3B22-55E7-8B8B-01B500F4BDD5}"/>
                </a:ext>
              </a:extLst>
            </p:cNvPr>
            <p:cNvSpPr/>
            <p:nvPr/>
          </p:nvSpPr>
          <p:spPr>
            <a:xfrm>
              <a:off x="3001375" y="1486450"/>
              <a:ext cx="332625" cy="262675"/>
            </a:xfrm>
            <a:custGeom>
              <a:avLst/>
              <a:gdLst/>
              <a:ahLst/>
              <a:cxnLst/>
              <a:rect l="l" t="t" r="r" b="b"/>
              <a:pathLst>
                <a:path w="13305" h="10507" extrusionOk="0">
                  <a:moveTo>
                    <a:pt x="11991" y="1"/>
                  </a:moveTo>
                  <a:lnTo>
                    <a:pt x="11542" y="70"/>
                  </a:lnTo>
                  <a:lnTo>
                    <a:pt x="11058" y="139"/>
                  </a:lnTo>
                  <a:lnTo>
                    <a:pt x="10609" y="277"/>
                  </a:lnTo>
                  <a:lnTo>
                    <a:pt x="10160" y="381"/>
                  </a:lnTo>
                  <a:lnTo>
                    <a:pt x="9711" y="554"/>
                  </a:lnTo>
                  <a:lnTo>
                    <a:pt x="9261" y="727"/>
                  </a:lnTo>
                  <a:lnTo>
                    <a:pt x="8397" y="1141"/>
                  </a:lnTo>
                  <a:lnTo>
                    <a:pt x="7568" y="1625"/>
                  </a:lnTo>
                  <a:lnTo>
                    <a:pt x="6739" y="2178"/>
                  </a:lnTo>
                  <a:lnTo>
                    <a:pt x="5944" y="2766"/>
                  </a:lnTo>
                  <a:lnTo>
                    <a:pt x="5149" y="3388"/>
                  </a:lnTo>
                  <a:lnTo>
                    <a:pt x="4423" y="4044"/>
                  </a:lnTo>
                  <a:lnTo>
                    <a:pt x="3732" y="4735"/>
                  </a:lnTo>
                  <a:lnTo>
                    <a:pt x="3041" y="5392"/>
                  </a:lnTo>
                  <a:lnTo>
                    <a:pt x="2419" y="6083"/>
                  </a:lnTo>
                  <a:lnTo>
                    <a:pt x="1244" y="7396"/>
                  </a:lnTo>
                  <a:lnTo>
                    <a:pt x="277" y="8536"/>
                  </a:lnTo>
                  <a:lnTo>
                    <a:pt x="138" y="8744"/>
                  </a:lnTo>
                  <a:lnTo>
                    <a:pt x="35" y="8951"/>
                  </a:lnTo>
                  <a:lnTo>
                    <a:pt x="0" y="9193"/>
                  </a:lnTo>
                  <a:lnTo>
                    <a:pt x="0" y="9435"/>
                  </a:lnTo>
                  <a:lnTo>
                    <a:pt x="35" y="9642"/>
                  </a:lnTo>
                  <a:lnTo>
                    <a:pt x="138" y="9850"/>
                  </a:lnTo>
                  <a:lnTo>
                    <a:pt x="242" y="10057"/>
                  </a:lnTo>
                  <a:lnTo>
                    <a:pt x="415" y="10230"/>
                  </a:lnTo>
                  <a:lnTo>
                    <a:pt x="588" y="10368"/>
                  </a:lnTo>
                  <a:lnTo>
                    <a:pt x="795" y="10437"/>
                  </a:lnTo>
                  <a:lnTo>
                    <a:pt x="1002" y="10506"/>
                  </a:lnTo>
                  <a:lnTo>
                    <a:pt x="1175" y="10506"/>
                  </a:lnTo>
                  <a:lnTo>
                    <a:pt x="1452" y="10472"/>
                  </a:lnTo>
                  <a:lnTo>
                    <a:pt x="1693" y="10402"/>
                  </a:lnTo>
                  <a:lnTo>
                    <a:pt x="1901" y="10264"/>
                  </a:lnTo>
                  <a:lnTo>
                    <a:pt x="2108" y="10091"/>
                  </a:lnTo>
                  <a:lnTo>
                    <a:pt x="3007" y="9020"/>
                  </a:lnTo>
                  <a:lnTo>
                    <a:pt x="4043" y="7845"/>
                  </a:lnTo>
                  <a:lnTo>
                    <a:pt x="4596" y="7223"/>
                  </a:lnTo>
                  <a:lnTo>
                    <a:pt x="5184" y="6636"/>
                  </a:lnTo>
                  <a:lnTo>
                    <a:pt x="5840" y="6014"/>
                  </a:lnTo>
                  <a:lnTo>
                    <a:pt x="6462" y="5426"/>
                  </a:lnTo>
                  <a:lnTo>
                    <a:pt x="7153" y="4839"/>
                  </a:lnTo>
                  <a:lnTo>
                    <a:pt x="7845" y="4321"/>
                  </a:lnTo>
                  <a:lnTo>
                    <a:pt x="8536" y="3837"/>
                  </a:lnTo>
                  <a:lnTo>
                    <a:pt x="9261" y="3388"/>
                  </a:lnTo>
                  <a:lnTo>
                    <a:pt x="9987" y="3007"/>
                  </a:lnTo>
                  <a:lnTo>
                    <a:pt x="10713" y="2731"/>
                  </a:lnTo>
                  <a:lnTo>
                    <a:pt x="11093" y="2593"/>
                  </a:lnTo>
                  <a:lnTo>
                    <a:pt x="11473" y="2524"/>
                  </a:lnTo>
                  <a:lnTo>
                    <a:pt x="11853" y="2455"/>
                  </a:lnTo>
                  <a:lnTo>
                    <a:pt x="12199" y="2385"/>
                  </a:lnTo>
                  <a:lnTo>
                    <a:pt x="12441" y="2351"/>
                  </a:lnTo>
                  <a:lnTo>
                    <a:pt x="12682" y="2247"/>
                  </a:lnTo>
                  <a:lnTo>
                    <a:pt x="12855" y="2143"/>
                  </a:lnTo>
                  <a:lnTo>
                    <a:pt x="13028" y="1971"/>
                  </a:lnTo>
                  <a:lnTo>
                    <a:pt x="13166" y="1763"/>
                  </a:lnTo>
                  <a:lnTo>
                    <a:pt x="13235" y="1556"/>
                  </a:lnTo>
                  <a:lnTo>
                    <a:pt x="13304" y="1349"/>
                  </a:lnTo>
                  <a:lnTo>
                    <a:pt x="13304" y="1107"/>
                  </a:lnTo>
                  <a:lnTo>
                    <a:pt x="13235" y="865"/>
                  </a:lnTo>
                  <a:lnTo>
                    <a:pt x="13166" y="623"/>
                  </a:lnTo>
                  <a:lnTo>
                    <a:pt x="13028" y="450"/>
                  </a:lnTo>
                  <a:lnTo>
                    <a:pt x="12855" y="277"/>
                  </a:lnTo>
                  <a:lnTo>
                    <a:pt x="12682" y="139"/>
                  </a:lnTo>
                  <a:lnTo>
                    <a:pt x="12475" y="70"/>
                  </a:lnTo>
                  <a:lnTo>
                    <a:pt x="12233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26" name="Google Shape;14166;p81">
              <a:extLst>
                <a:ext uri="{FF2B5EF4-FFF2-40B4-BE49-F238E27FC236}">
                  <a16:creationId xmlns:a16="http://schemas.microsoft.com/office/drawing/2014/main" id="{AB3C6A22-B2E1-89D8-F0A5-03CEC4AB34EC}"/>
                </a:ext>
              </a:extLst>
            </p:cNvPr>
            <p:cNvSpPr/>
            <p:nvPr/>
          </p:nvSpPr>
          <p:spPr>
            <a:xfrm>
              <a:off x="3994875" y="2391850"/>
              <a:ext cx="120100" cy="181425"/>
            </a:xfrm>
            <a:custGeom>
              <a:avLst/>
              <a:gdLst/>
              <a:ahLst/>
              <a:cxnLst/>
              <a:rect l="l" t="t" r="r" b="b"/>
              <a:pathLst>
                <a:path w="4804" h="7257" extrusionOk="0">
                  <a:moveTo>
                    <a:pt x="207" y="0"/>
                  </a:moveTo>
                  <a:lnTo>
                    <a:pt x="138" y="35"/>
                  </a:lnTo>
                  <a:lnTo>
                    <a:pt x="69" y="69"/>
                  </a:lnTo>
                  <a:lnTo>
                    <a:pt x="35" y="104"/>
                  </a:lnTo>
                  <a:lnTo>
                    <a:pt x="0" y="207"/>
                  </a:lnTo>
                  <a:lnTo>
                    <a:pt x="35" y="277"/>
                  </a:lnTo>
                  <a:lnTo>
                    <a:pt x="69" y="346"/>
                  </a:lnTo>
                  <a:lnTo>
                    <a:pt x="104" y="380"/>
                  </a:lnTo>
                  <a:lnTo>
                    <a:pt x="207" y="415"/>
                  </a:lnTo>
                  <a:lnTo>
                    <a:pt x="2523" y="553"/>
                  </a:lnTo>
                  <a:lnTo>
                    <a:pt x="3041" y="2315"/>
                  </a:lnTo>
                  <a:lnTo>
                    <a:pt x="3663" y="4492"/>
                  </a:lnTo>
                  <a:lnTo>
                    <a:pt x="4389" y="7119"/>
                  </a:lnTo>
                  <a:lnTo>
                    <a:pt x="4423" y="7188"/>
                  </a:lnTo>
                  <a:lnTo>
                    <a:pt x="4492" y="7222"/>
                  </a:lnTo>
                  <a:lnTo>
                    <a:pt x="4527" y="7257"/>
                  </a:lnTo>
                  <a:lnTo>
                    <a:pt x="4665" y="7257"/>
                  </a:lnTo>
                  <a:lnTo>
                    <a:pt x="4734" y="7222"/>
                  </a:lnTo>
                  <a:lnTo>
                    <a:pt x="4769" y="7153"/>
                  </a:lnTo>
                  <a:lnTo>
                    <a:pt x="4803" y="7084"/>
                  </a:lnTo>
                  <a:lnTo>
                    <a:pt x="4803" y="7015"/>
                  </a:lnTo>
                  <a:lnTo>
                    <a:pt x="4009" y="4251"/>
                  </a:lnTo>
                  <a:lnTo>
                    <a:pt x="3387" y="2039"/>
                  </a:lnTo>
                  <a:lnTo>
                    <a:pt x="2868" y="311"/>
                  </a:lnTo>
                  <a:lnTo>
                    <a:pt x="2799" y="207"/>
                  </a:lnTo>
                  <a:lnTo>
                    <a:pt x="2661" y="173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27" name="Google Shape;14167;p81">
              <a:extLst>
                <a:ext uri="{FF2B5EF4-FFF2-40B4-BE49-F238E27FC236}">
                  <a16:creationId xmlns:a16="http://schemas.microsoft.com/office/drawing/2014/main" id="{17CCBE05-8D95-B1DF-79F4-55135A768419}"/>
                </a:ext>
              </a:extLst>
            </p:cNvPr>
            <p:cNvSpPr/>
            <p:nvPr/>
          </p:nvSpPr>
          <p:spPr>
            <a:xfrm>
              <a:off x="4140000" y="2552525"/>
              <a:ext cx="80375" cy="38900"/>
            </a:xfrm>
            <a:custGeom>
              <a:avLst/>
              <a:gdLst/>
              <a:ahLst/>
              <a:cxnLst/>
              <a:rect l="l" t="t" r="r" b="b"/>
              <a:pathLst>
                <a:path w="3215" h="1556" extrusionOk="0">
                  <a:moveTo>
                    <a:pt x="173" y="1"/>
                  </a:moveTo>
                  <a:lnTo>
                    <a:pt x="104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104" y="1452"/>
                  </a:lnTo>
                  <a:lnTo>
                    <a:pt x="173" y="1521"/>
                  </a:lnTo>
                  <a:lnTo>
                    <a:pt x="277" y="1556"/>
                  </a:lnTo>
                  <a:lnTo>
                    <a:pt x="2938" y="1556"/>
                  </a:lnTo>
                  <a:lnTo>
                    <a:pt x="3042" y="1521"/>
                  </a:lnTo>
                  <a:lnTo>
                    <a:pt x="3145" y="1452"/>
                  </a:lnTo>
                  <a:lnTo>
                    <a:pt x="3180" y="1348"/>
                  </a:lnTo>
                  <a:lnTo>
                    <a:pt x="3214" y="1245"/>
                  </a:lnTo>
                  <a:lnTo>
                    <a:pt x="3214" y="277"/>
                  </a:lnTo>
                  <a:lnTo>
                    <a:pt x="3180" y="173"/>
                  </a:lnTo>
                  <a:lnTo>
                    <a:pt x="3145" y="70"/>
                  </a:lnTo>
                  <a:lnTo>
                    <a:pt x="3042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28" name="Google Shape;14168;p81">
              <a:extLst>
                <a:ext uri="{FF2B5EF4-FFF2-40B4-BE49-F238E27FC236}">
                  <a16:creationId xmlns:a16="http://schemas.microsoft.com/office/drawing/2014/main" id="{29E99A42-FAF0-C8AA-FAA4-9F43402F03E9}"/>
                </a:ext>
              </a:extLst>
            </p:cNvPr>
            <p:cNvSpPr/>
            <p:nvPr/>
          </p:nvSpPr>
          <p:spPr>
            <a:xfrm>
              <a:off x="4140000" y="2552525"/>
              <a:ext cx="80375" cy="38900"/>
            </a:xfrm>
            <a:custGeom>
              <a:avLst/>
              <a:gdLst/>
              <a:ahLst/>
              <a:cxnLst/>
              <a:rect l="l" t="t" r="r" b="b"/>
              <a:pathLst>
                <a:path w="3215" h="1556" fill="none" extrusionOk="0">
                  <a:moveTo>
                    <a:pt x="2938" y="1"/>
                  </a:moveTo>
                  <a:lnTo>
                    <a:pt x="277" y="1"/>
                  </a:lnTo>
                  <a:lnTo>
                    <a:pt x="277" y="1"/>
                  </a:lnTo>
                  <a:lnTo>
                    <a:pt x="173" y="1"/>
                  </a:lnTo>
                  <a:lnTo>
                    <a:pt x="104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45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104" y="1452"/>
                  </a:lnTo>
                  <a:lnTo>
                    <a:pt x="173" y="1521"/>
                  </a:lnTo>
                  <a:lnTo>
                    <a:pt x="277" y="1556"/>
                  </a:lnTo>
                  <a:lnTo>
                    <a:pt x="2938" y="1556"/>
                  </a:lnTo>
                  <a:lnTo>
                    <a:pt x="2938" y="1556"/>
                  </a:lnTo>
                  <a:lnTo>
                    <a:pt x="3042" y="1521"/>
                  </a:lnTo>
                  <a:lnTo>
                    <a:pt x="3145" y="1452"/>
                  </a:lnTo>
                  <a:lnTo>
                    <a:pt x="3180" y="1348"/>
                  </a:lnTo>
                  <a:lnTo>
                    <a:pt x="3214" y="1245"/>
                  </a:lnTo>
                  <a:lnTo>
                    <a:pt x="3214" y="277"/>
                  </a:lnTo>
                  <a:lnTo>
                    <a:pt x="3214" y="277"/>
                  </a:lnTo>
                  <a:lnTo>
                    <a:pt x="3180" y="173"/>
                  </a:lnTo>
                  <a:lnTo>
                    <a:pt x="3145" y="70"/>
                  </a:lnTo>
                  <a:lnTo>
                    <a:pt x="3042" y="1"/>
                  </a:lnTo>
                  <a:lnTo>
                    <a:pt x="293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29" name="Google Shape;14169;p81">
              <a:extLst>
                <a:ext uri="{FF2B5EF4-FFF2-40B4-BE49-F238E27FC236}">
                  <a16:creationId xmlns:a16="http://schemas.microsoft.com/office/drawing/2014/main" id="{BDF3440D-F02C-124A-BB26-EBB49453B180}"/>
                </a:ext>
              </a:extLst>
            </p:cNvPr>
            <p:cNvSpPr/>
            <p:nvPr/>
          </p:nvSpPr>
          <p:spPr>
            <a:xfrm>
              <a:off x="4247125" y="2550800"/>
              <a:ext cx="139975" cy="38900"/>
            </a:xfrm>
            <a:custGeom>
              <a:avLst/>
              <a:gdLst/>
              <a:ahLst/>
              <a:cxnLst/>
              <a:rect l="l" t="t" r="r" b="b"/>
              <a:pathLst>
                <a:path w="5599" h="1556" extrusionOk="0">
                  <a:moveTo>
                    <a:pt x="312" y="0"/>
                  </a:moveTo>
                  <a:lnTo>
                    <a:pt x="173" y="35"/>
                  </a:lnTo>
                  <a:lnTo>
                    <a:pt x="70" y="104"/>
                  </a:lnTo>
                  <a:lnTo>
                    <a:pt x="35" y="208"/>
                  </a:lnTo>
                  <a:lnTo>
                    <a:pt x="1" y="311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70" y="1452"/>
                  </a:lnTo>
                  <a:lnTo>
                    <a:pt x="173" y="1521"/>
                  </a:lnTo>
                  <a:lnTo>
                    <a:pt x="312" y="1556"/>
                  </a:lnTo>
                  <a:lnTo>
                    <a:pt x="5288" y="1556"/>
                  </a:lnTo>
                  <a:lnTo>
                    <a:pt x="5426" y="1521"/>
                  </a:lnTo>
                  <a:lnTo>
                    <a:pt x="5530" y="1452"/>
                  </a:lnTo>
                  <a:lnTo>
                    <a:pt x="5599" y="1348"/>
                  </a:lnTo>
                  <a:lnTo>
                    <a:pt x="5599" y="1245"/>
                  </a:lnTo>
                  <a:lnTo>
                    <a:pt x="5599" y="311"/>
                  </a:lnTo>
                  <a:lnTo>
                    <a:pt x="5599" y="208"/>
                  </a:lnTo>
                  <a:lnTo>
                    <a:pt x="5530" y="104"/>
                  </a:lnTo>
                  <a:lnTo>
                    <a:pt x="5426" y="35"/>
                  </a:lnTo>
                  <a:lnTo>
                    <a:pt x="5288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0" name="Google Shape;14170;p81">
              <a:extLst>
                <a:ext uri="{FF2B5EF4-FFF2-40B4-BE49-F238E27FC236}">
                  <a16:creationId xmlns:a16="http://schemas.microsoft.com/office/drawing/2014/main" id="{3C819AE4-D17E-E9F2-19D8-859705574707}"/>
                </a:ext>
              </a:extLst>
            </p:cNvPr>
            <p:cNvSpPr/>
            <p:nvPr/>
          </p:nvSpPr>
          <p:spPr>
            <a:xfrm>
              <a:off x="4247125" y="2550800"/>
              <a:ext cx="139975" cy="38900"/>
            </a:xfrm>
            <a:custGeom>
              <a:avLst/>
              <a:gdLst/>
              <a:ahLst/>
              <a:cxnLst/>
              <a:rect l="l" t="t" r="r" b="b"/>
              <a:pathLst>
                <a:path w="5599" h="1556" fill="none" extrusionOk="0">
                  <a:moveTo>
                    <a:pt x="5288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3" y="35"/>
                  </a:lnTo>
                  <a:lnTo>
                    <a:pt x="70" y="104"/>
                  </a:lnTo>
                  <a:lnTo>
                    <a:pt x="35" y="208"/>
                  </a:lnTo>
                  <a:lnTo>
                    <a:pt x="1" y="311"/>
                  </a:lnTo>
                  <a:lnTo>
                    <a:pt x="1" y="1245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70" y="1452"/>
                  </a:lnTo>
                  <a:lnTo>
                    <a:pt x="173" y="1521"/>
                  </a:lnTo>
                  <a:lnTo>
                    <a:pt x="312" y="1556"/>
                  </a:lnTo>
                  <a:lnTo>
                    <a:pt x="5288" y="1556"/>
                  </a:lnTo>
                  <a:lnTo>
                    <a:pt x="5288" y="1556"/>
                  </a:lnTo>
                  <a:lnTo>
                    <a:pt x="5426" y="1521"/>
                  </a:lnTo>
                  <a:lnTo>
                    <a:pt x="5530" y="1452"/>
                  </a:lnTo>
                  <a:lnTo>
                    <a:pt x="5599" y="1348"/>
                  </a:lnTo>
                  <a:lnTo>
                    <a:pt x="5599" y="1245"/>
                  </a:lnTo>
                  <a:lnTo>
                    <a:pt x="5599" y="311"/>
                  </a:lnTo>
                  <a:lnTo>
                    <a:pt x="5599" y="311"/>
                  </a:lnTo>
                  <a:lnTo>
                    <a:pt x="5599" y="208"/>
                  </a:lnTo>
                  <a:lnTo>
                    <a:pt x="5530" y="104"/>
                  </a:lnTo>
                  <a:lnTo>
                    <a:pt x="5426" y="35"/>
                  </a:lnTo>
                  <a:lnTo>
                    <a:pt x="52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1" name="Google Shape;14171;p81">
              <a:extLst>
                <a:ext uri="{FF2B5EF4-FFF2-40B4-BE49-F238E27FC236}">
                  <a16:creationId xmlns:a16="http://schemas.microsoft.com/office/drawing/2014/main" id="{CF0083BA-F718-552D-7F96-8A5998C104A6}"/>
                </a:ext>
              </a:extLst>
            </p:cNvPr>
            <p:cNvSpPr/>
            <p:nvPr/>
          </p:nvSpPr>
          <p:spPr>
            <a:xfrm>
              <a:off x="4441500" y="2550800"/>
              <a:ext cx="129625" cy="38900"/>
            </a:xfrm>
            <a:custGeom>
              <a:avLst/>
              <a:gdLst/>
              <a:ahLst/>
              <a:cxnLst/>
              <a:rect l="l" t="t" r="r" b="b"/>
              <a:pathLst>
                <a:path w="5185" h="1556" extrusionOk="0">
                  <a:moveTo>
                    <a:pt x="277" y="0"/>
                  </a:moveTo>
                  <a:lnTo>
                    <a:pt x="174" y="35"/>
                  </a:lnTo>
                  <a:lnTo>
                    <a:pt x="70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79"/>
                  </a:lnTo>
                  <a:lnTo>
                    <a:pt x="35" y="1383"/>
                  </a:lnTo>
                  <a:lnTo>
                    <a:pt x="70" y="1486"/>
                  </a:lnTo>
                  <a:lnTo>
                    <a:pt x="174" y="1521"/>
                  </a:lnTo>
                  <a:lnTo>
                    <a:pt x="277" y="1556"/>
                  </a:lnTo>
                  <a:lnTo>
                    <a:pt x="4873" y="1556"/>
                  </a:lnTo>
                  <a:lnTo>
                    <a:pt x="5011" y="1521"/>
                  </a:lnTo>
                  <a:lnTo>
                    <a:pt x="5081" y="1486"/>
                  </a:lnTo>
                  <a:lnTo>
                    <a:pt x="5150" y="1383"/>
                  </a:lnTo>
                  <a:lnTo>
                    <a:pt x="5184" y="1279"/>
                  </a:lnTo>
                  <a:lnTo>
                    <a:pt x="5184" y="277"/>
                  </a:lnTo>
                  <a:lnTo>
                    <a:pt x="5150" y="173"/>
                  </a:lnTo>
                  <a:lnTo>
                    <a:pt x="5081" y="70"/>
                  </a:lnTo>
                  <a:lnTo>
                    <a:pt x="5011" y="35"/>
                  </a:lnTo>
                  <a:lnTo>
                    <a:pt x="487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2" name="Google Shape;14172;p81">
              <a:extLst>
                <a:ext uri="{FF2B5EF4-FFF2-40B4-BE49-F238E27FC236}">
                  <a16:creationId xmlns:a16="http://schemas.microsoft.com/office/drawing/2014/main" id="{C8FBBFBF-A2DB-4E54-0CA1-9A6974A34036}"/>
                </a:ext>
              </a:extLst>
            </p:cNvPr>
            <p:cNvSpPr/>
            <p:nvPr/>
          </p:nvSpPr>
          <p:spPr>
            <a:xfrm>
              <a:off x="4441500" y="2550800"/>
              <a:ext cx="129625" cy="38900"/>
            </a:xfrm>
            <a:custGeom>
              <a:avLst/>
              <a:gdLst/>
              <a:ahLst/>
              <a:cxnLst/>
              <a:rect l="l" t="t" r="r" b="b"/>
              <a:pathLst>
                <a:path w="5185" h="1556" fill="none" extrusionOk="0">
                  <a:moveTo>
                    <a:pt x="4873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4" y="35"/>
                  </a:lnTo>
                  <a:lnTo>
                    <a:pt x="70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383"/>
                  </a:lnTo>
                  <a:lnTo>
                    <a:pt x="70" y="1486"/>
                  </a:lnTo>
                  <a:lnTo>
                    <a:pt x="174" y="1521"/>
                  </a:lnTo>
                  <a:lnTo>
                    <a:pt x="277" y="1556"/>
                  </a:lnTo>
                  <a:lnTo>
                    <a:pt x="4873" y="1556"/>
                  </a:lnTo>
                  <a:lnTo>
                    <a:pt x="4873" y="1556"/>
                  </a:lnTo>
                  <a:lnTo>
                    <a:pt x="5011" y="1521"/>
                  </a:lnTo>
                  <a:lnTo>
                    <a:pt x="5081" y="1486"/>
                  </a:lnTo>
                  <a:lnTo>
                    <a:pt x="5150" y="1383"/>
                  </a:lnTo>
                  <a:lnTo>
                    <a:pt x="5184" y="1279"/>
                  </a:lnTo>
                  <a:lnTo>
                    <a:pt x="5184" y="277"/>
                  </a:lnTo>
                  <a:lnTo>
                    <a:pt x="5184" y="277"/>
                  </a:lnTo>
                  <a:lnTo>
                    <a:pt x="5150" y="173"/>
                  </a:lnTo>
                  <a:lnTo>
                    <a:pt x="5081" y="70"/>
                  </a:lnTo>
                  <a:lnTo>
                    <a:pt x="5011" y="35"/>
                  </a:lnTo>
                  <a:lnTo>
                    <a:pt x="487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3" name="Google Shape;14173;p81">
              <a:extLst>
                <a:ext uri="{FF2B5EF4-FFF2-40B4-BE49-F238E27FC236}">
                  <a16:creationId xmlns:a16="http://schemas.microsoft.com/office/drawing/2014/main" id="{B03C59CB-5CBD-52D7-484C-E8B974947BC0}"/>
                </a:ext>
              </a:extLst>
            </p:cNvPr>
            <p:cNvSpPr/>
            <p:nvPr/>
          </p:nvSpPr>
          <p:spPr>
            <a:xfrm>
              <a:off x="3714100" y="2246700"/>
              <a:ext cx="290300" cy="268700"/>
            </a:xfrm>
            <a:custGeom>
              <a:avLst/>
              <a:gdLst/>
              <a:ahLst/>
              <a:cxnLst/>
              <a:rect l="l" t="t" r="r" b="b"/>
              <a:pathLst>
                <a:path w="11612" h="10748" extrusionOk="0">
                  <a:moveTo>
                    <a:pt x="899" y="1"/>
                  </a:moveTo>
                  <a:lnTo>
                    <a:pt x="691" y="70"/>
                  </a:lnTo>
                  <a:lnTo>
                    <a:pt x="519" y="173"/>
                  </a:lnTo>
                  <a:lnTo>
                    <a:pt x="311" y="312"/>
                  </a:lnTo>
                  <a:lnTo>
                    <a:pt x="173" y="484"/>
                  </a:lnTo>
                  <a:lnTo>
                    <a:pt x="69" y="692"/>
                  </a:lnTo>
                  <a:lnTo>
                    <a:pt x="35" y="899"/>
                  </a:lnTo>
                  <a:lnTo>
                    <a:pt x="0" y="1106"/>
                  </a:lnTo>
                  <a:lnTo>
                    <a:pt x="35" y="1314"/>
                  </a:lnTo>
                  <a:lnTo>
                    <a:pt x="69" y="1521"/>
                  </a:lnTo>
                  <a:lnTo>
                    <a:pt x="173" y="1728"/>
                  </a:lnTo>
                  <a:lnTo>
                    <a:pt x="311" y="1901"/>
                  </a:lnTo>
                  <a:lnTo>
                    <a:pt x="2661" y="4217"/>
                  </a:lnTo>
                  <a:lnTo>
                    <a:pt x="4112" y="5599"/>
                  </a:lnTo>
                  <a:lnTo>
                    <a:pt x="5564" y="6981"/>
                  </a:lnTo>
                  <a:lnTo>
                    <a:pt x="6981" y="8294"/>
                  </a:lnTo>
                  <a:lnTo>
                    <a:pt x="8259" y="9400"/>
                  </a:lnTo>
                  <a:lnTo>
                    <a:pt x="8847" y="9849"/>
                  </a:lnTo>
                  <a:lnTo>
                    <a:pt x="9330" y="10229"/>
                  </a:lnTo>
                  <a:lnTo>
                    <a:pt x="9745" y="10506"/>
                  </a:lnTo>
                  <a:lnTo>
                    <a:pt x="10056" y="10679"/>
                  </a:lnTo>
                  <a:lnTo>
                    <a:pt x="10263" y="10748"/>
                  </a:lnTo>
                  <a:lnTo>
                    <a:pt x="10644" y="10748"/>
                  </a:lnTo>
                  <a:lnTo>
                    <a:pt x="10816" y="10713"/>
                  </a:lnTo>
                  <a:lnTo>
                    <a:pt x="10955" y="10644"/>
                  </a:lnTo>
                  <a:lnTo>
                    <a:pt x="11093" y="10575"/>
                  </a:lnTo>
                  <a:lnTo>
                    <a:pt x="11231" y="10471"/>
                  </a:lnTo>
                  <a:lnTo>
                    <a:pt x="11335" y="10333"/>
                  </a:lnTo>
                  <a:lnTo>
                    <a:pt x="11438" y="10195"/>
                  </a:lnTo>
                  <a:lnTo>
                    <a:pt x="11508" y="10057"/>
                  </a:lnTo>
                  <a:lnTo>
                    <a:pt x="11577" y="9849"/>
                  </a:lnTo>
                  <a:lnTo>
                    <a:pt x="11611" y="9607"/>
                  </a:lnTo>
                  <a:lnTo>
                    <a:pt x="11577" y="9400"/>
                  </a:lnTo>
                  <a:lnTo>
                    <a:pt x="11508" y="9193"/>
                  </a:lnTo>
                  <a:lnTo>
                    <a:pt x="11404" y="9020"/>
                  </a:lnTo>
                  <a:lnTo>
                    <a:pt x="11266" y="8847"/>
                  </a:lnTo>
                  <a:lnTo>
                    <a:pt x="11093" y="8709"/>
                  </a:lnTo>
                  <a:lnTo>
                    <a:pt x="10886" y="8605"/>
                  </a:lnTo>
                  <a:lnTo>
                    <a:pt x="10713" y="8467"/>
                  </a:lnTo>
                  <a:lnTo>
                    <a:pt x="10436" y="8294"/>
                  </a:lnTo>
                  <a:lnTo>
                    <a:pt x="9676" y="7672"/>
                  </a:lnTo>
                  <a:lnTo>
                    <a:pt x="8674" y="6808"/>
                  </a:lnTo>
                  <a:lnTo>
                    <a:pt x="7499" y="5702"/>
                  </a:lnTo>
                  <a:lnTo>
                    <a:pt x="4804" y="3145"/>
                  </a:lnTo>
                  <a:lnTo>
                    <a:pt x="1901" y="312"/>
                  </a:lnTo>
                  <a:lnTo>
                    <a:pt x="1728" y="173"/>
                  </a:lnTo>
                  <a:lnTo>
                    <a:pt x="1555" y="70"/>
                  </a:lnTo>
                  <a:lnTo>
                    <a:pt x="1348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4" name="Google Shape;14174;p81">
              <a:extLst>
                <a:ext uri="{FF2B5EF4-FFF2-40B4-BE49-F238E27FC236}">
                  <a16:creationId xmlns:a16="http://schemas.microsoft.com/office/drawing/2014/main" id="{CB852999-698E-F025-6C77-4B7CCA039F24}"/>
                </a:ext>
              </a:extLst>
            </p:cNvPr>
            <p:cNvSpPr/>
            <p:nvPr/>
          </p:nvSpPr>
          <p:spPr>
            <a:xfrm>
              <a:off x="3707175" y="2262250"/>
              <a:ext cx="311900" cy="246250"/>
            </a:xfrm>
            <a:custGeom>
              <a:avLst/>
              <a:gdLst/>
              <a:ahLst/>
              <a:cxnLst/>
              <a:rect l="l" t="t" r="r" b="b"/>
              <a:pathLst>
                <a:path w="12476" h="9850" extrusionOk="0">
                  <a:moveTo>
                    <a:pt x="11266" y="1"/>
                  </a:moveTo>
                  <a:lnTo>
                    <a:pt x="10817" y="70"/>
                  </a:lnTo>
                  <a:lnTo>
                    <a:pt x="10402" y="139"/>
                  </a:lnTo>
                  <a:lnTo>
                    <a:pt x="9953" y="243"/>
                  </a:lnTo>
                  <a:lnTo>
                    <a:pt x="9538" y="381"/>
                  </a:lnTo>
                  <a:lnTo>
                    <a:pt x="9124" y="519"/>
                  </a:lnTo>
                  <a:lnTo>
                    <a:pt x="8709" y="692"/>
                  </a:lnTo>
                  <a:lnTo>
                    <a:pt x="7880" y="1072"/>
                  </a:lnTo>
                  <a:lnTo>
                    <a:pt x="7085" y="1521"/>
                  </a:lnTo>
                  <a:lnTo>
                    <a:pt x="6325" y="2039"/>
                  </a:lnTo>
                  <a:lnTo>
                    <a:pt x="5564" y="2592"/>
                  </a:lnTo>
                  <a:lnTo>
                    <a:pt x="4839" y="3180"/>
                  </a:lnTo>
                  <a:lnTo>
                    <a:pt x="4148" y="3802"/>
                  </a:lnTo>
                  <a:lnTo>
                    <a:pt x="3491" y="4424"/>
                  </a:lnTo>
                  <a:lnTo>
                    <a:pt x="2869" y="5080"/>
                  </a:lnTo>
                  <a:lnTo>
                    <a:pt x="2247" y="5702"/>
                  </a:lnTo>
                  <a:lnTo>
                    <a:pt x="1176" y="6912"/>
                  </a:lnTo>
                  <a:lnTo>
                    <a:pt x="277" y="8018"/>
                  </a:lnTo>
                  <a:lnTo>
                    <a:pt x="139" y="8191"/>
                  </a:lnTo>
                  <a:lnTo>
                    <a:pt x="35" y="8398"/>
                  </a:lnTo>
                  <a:lnTo>
                    <a:pt x="1" y="8605"/>
                  </a:lnTo>
                  <a:lnTo>
                    <a:pt x="1" y="8847"/>
                  </a:lnTo>
                  <a:lnTo>
                    <a:pt x="35" y="9054"/>
                  </a:lnTo>
                  <a:lnTo>
                    <a:pt x="139" y="9262"/>
                  </a:lnTo>
                  <a:lnTo>
                    <a:pt x="243" y="9435"/>
                  </a:lnTo>
                  <a:lnTo>
                    <a:pt x="415" y="9607"/>
                  </a:lnTo>
                  <a:lnTo>
                    <a:pt x="554" y="9711"/>
                  </a:lnTo>
                  <a:lnTo>
                    <a:pt x="761" y="9780"/>
                  </a:lnTo>
                  <a:lnTo>
                    <a:pt x="934" y="9849"/>
                  </a:lnTo>
                  <a:lnTo>
                    <a:pt x="1107" y="9849"/>
                  </a:lnTo>
                  <a:lnTo>
                    <a:pt x="1348" y="9815"/>
                  </a:lnTo>
                  <a:lnTo>
                    <a:pt x="1590" y="9746"/>
                  </a:lnTo>
                  <a:lnTo>
                    <a:pt x="1798" y="9642"/>
                  </a:lnTo>
                  <a:lnTo>
                    <a:pt x="1971" y="9469"/>
                  </a:lnTo>
                  <a:lnTo>
                    <a:pt x="2800" y="8467"/>
                  </a:lnTo>
                  <a:lnTo>
                    <a:pt x="3802" y="7361"/>
                  </a:lnTo>
                  <a:lnTo>
                    <a:pt x="4873" y="6221"/>
                  </a:lnTo>
                  <a:lnTo>
                    <a:pt x="5461" y="5633"/>
                  </a:lnTo>
                  <a:lnTo>
                    <a:pt x="6083" y="5080"/>
                  </a:lnTo>
                  <a:lnTo>
                    <a:pt x="6705" y="4528"/>
                  </a:lnTo>
                  <a:lnTo>
                    <a:pt x="7361" y="4044"/>
                  </a:lnTo>
                  <a:lnTo>
                    <a:pt x="8018" y="3595"/>
                  </a:lnTo>
                  <a:lnTo>
                    <a:pt x="8674" y="3180"/>
                  </a:lnTo>
                  <a:lnTo>
                    <a:pt x="9366" y="2834"/>
                  </a:lnTo>
                  <a:lnTo>
                    <a:pt x="10057" y="2558"/>
                  </a:lnTo>
                  <a:lnTo>
                    <a:pt x="10748" y="2350"/>
                  </a:lnTo>
                  <a:lnTo>
                    <a:pt x="11093" y="2281"/>
                  </a:lnTo>
                  <a:lnTo>
                    <a:pt x="11474" y="2247"/>
                  </a:lnTo>
                  <a:lnTo>
                    <a:pt x="11681" y="2212"/>
                  </a:lnTo>
                  <a:lnTo>
                    <a:pt x="11888" y="2109"/>
                  </a:lnTo>
                  <a:lnTo>
                    <a:pt x="12061" y="2005"/>
                  </a:lnTo>
                  <a:lnTo>
                    <a:pt x="12234" y="1832"/>
                  </a:lnTo>
                  <a:lnTo>
                    <a:pt x="12337" y="1659"/>
                  </a:lnTo>
                  <a:lnTo>
                    <a:pt x="12441" y="1452"/>
                  </a:lnTo>
                  <a:lnTo>
                    <a:pt x="12476" y="1245"/>
                  </a:lnTo>
                  <a:lnTo>
                    <a:pt x="12476" y="1037"/>
                  </a:lnTo>
                  <a:lnTo>
                    <a:pt x="12441" y="795"/>
                  </a:lnTo>
                  <a:lnTo>
                    <a:pt x="12337" y="588"/>
                  </a:lnTo>
                  <a:lnTo>
                    <a:pt x="12234" y="415"/>
                  </a:lnTo>
                  <a:lnTo>
                    <a:pt x="12061" y="277"/>
                  </a:lnTo>
                  <a:lnTo>
                    <a:pt x="11888" y="139"/>
                  </a:lnTo>
                  <a:lnTo>
                    <a:pt x="11681" y="70"/>
                  </a:lnTo>
                  <a:lnTo>
                    <a:pt x="1147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5" name="Google Shape;14175;p81">
              <a:extLst>
                <a:ext uri="{FF2B5EF4-FFF2-40B4-BE49-F238E27FC236}">
                  <a16:creationId xmlns:a16="http://schemas.microsoft.com/office/drawing/2014/main" id="{22390140-60FF-D502-D9AB-342DE55F3AB2}"/>
                </a:ext>
              </a:extLst>
            </p:cNvPr>
            <p:cNvSpPr/>
            <p:nvPr/>
          </p:nvSpPr>
          <p:spPr>
            <a:xfrm>
              <a:off x="3439375" y="1069200"/>
              <a:ext cx="171075" cy="244500"/>
            </a:xfrm>
            <a:custGeom>
              <a:avLst/>
              <a:gdLst/>
              <a:ahLst/>
              <a:cxnLst/>
              <a:rect l="l" t="t" r="r" b="b"/>
              <a:pathLst>
                <a:path w="6843" h="9780" extrusionOk="0">
                  <a:moveTo>
                    <a:pt x="1072" y="0"/>
                  </a:moveTo>
                  <a:lnTo>
                    <a:pt x="830" y="69"/>
                  </a:lnTo>
                  <a:lnTo>
                    <a:pt x="622" y="173"/>
                  </a:lnTo>
                  <a:lnTo>
                    <a:pt x="415" y="311"/>
                  </a:lnTo>
                  <a:lnTo>
                    <a:pt x="242" y="519"/>
                  </a:lnTo>
                  <a:lnTo>
                    <a:pt x="104" y="726"/>
                  </a:lnTo>
                  <a:lnTo>
                    <a:pt x="35" y="968"/>
                  </a:lnTo>
                  <a:lnTo>
                    <a:pt x="0" y="1210"/>
                  </a:lnTo>
                  <a:lnTo>
                    <a:pt x="35" y="1452"/>
                  </a:lnTo>
                  <a:lnTo>
                    <a:pt x="104" y="1659"/>
                  </a:lnTo>
                  <a:lnTo>
                    <a:pt x="208" y="1901"/>
                  </a:lnTo>
                  <a:lnTo>
                    <a:pt x="346" y="2074"/>
                  </a:lnTo>
                  <a:lnTo>
                    <a:pt x="519" y="2246"/>
                  </a:lnTo>
                  <a:lnTo>
                    <a:pt x="1037" y="2661"/>
                  </a:lnTo>
                  <a:lnTo>
                    <a:pt x="1797" y="3283"/>
                  </a:lnTo>
                  <a:lnTo>
                    <a:pt x="3698" y="4907"/>
                  </a:lnTo>
                  <a:lnTo>
                    <a:pt x="588" y="7603"/>
                  </a:lnTo>
                  <a:lnTo>
                    <a:pt x="415" y="7775"/>
                  </a:lnTo>
                  <a:lnTo>
                    <a:pt x="311" y="7983"/>
                  </a:lnTo>
                  <a:lnTo>
                    <a:pt x="208" y="8225"/>
                  </a:lnTo>
                  <a:lnTo>
                    <a:pt x="173" y="8467"/>
                  </a:lnTo>
                  <a:lnTo>
                    <a:pt x="173" y="8708"/>
                  </a:lnTo>
                  <a:lnTo>
                    <a:pt x="242" y="8950"/>
                  </a:lnTo>
                  <a:lnTo>
                    <a:pt x="346" y="9158"/>
                  </a:lnTo>
                  <a:lnTo>
                    <a:pt x="484" y="9365"/>
                  </a:lnTo>
                  <a:lnTo>
                    <a:pt x="691" y="9538"/>
                  </a:lnTo>
                  <a:lnTo>
                    <a:pt x="899" y="9676"/>
                  </a:lnTo>
                  <a:lnTo>
                    <a:pt x="1175" y="9780"/>
                  </a:lnTo>
                  <a:lnTo>
                    <a:pt x="1624" y="9780"/>
                  </a:lnTo>
                  <a:lnTo>
                    <a:pt x="1866" y="9711"/>
                  </a:lnTo>
                  <a:lnTo>
                    <a:pt x="2039" y="9641"/>
                  </a:lnTo>
                  <a:lnTo>
                    <a:pt x="2246" y="9503"/>
                  </a:lnTo>
                  <a:lnTo>
                    <a:pt x="6428" y="5840"/>
                  </a:lnTo>
                  <a:lnTo>
                    <a:pt x="6601" y="5668"/>
                  </a:lnTo>
                  <a:lnTo>
                    <a:pt x="6739" y="5426"/>
                  </a:lnTo>
                  <a:lnTo>
                    <a:pt x="6842" y="5184"/>
                  </a:lnTo>
                  <a:lnTo>
                    <a:pt x="6842" y="4907"/>
                  </a:lnTo>
                  <a:lnTo>
                    <a:pt x="6842" y="4665"/>
                  </a:lnTo>
                  <a:lnTo>
                    <a:pt x="6739" y="4389"/>
                  </a:lnTo>
                  <a:lnTo>
                    <a:pt x="6601" y="4182"/>
                  </a:lnTo>
                  <a:lnTo>
                    <a:pt x="6428" y="3974"/>
                  </a:lnTo>
                  <a:lnTo>
                    <a:pt x="4389" y="2212"/>
                  </a:lnTo>
                  <a:lnTo>
                    <a:pt x="3007" y="1037"/>
                  </a:lnTo>
                  <a:lnTo>
                    <a:pt x="2005" y="208"/>
                  </a:lnTo>
                  <a:lnTo>
                    <a:pt x="1763" y="104"/>
                  </a:lnTo>
                  <a:lnTo>
                    <a:pt x="1521" y="35"/>
                  </a:lnTo>
                  <a:lnTo>
                    <a:pt x="1279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6" name="Google Shape;14176;p81">
              <a:extLst>
                <a:ext uri="{FF2B5EF4-FFF2-40B4-BE49-F238E27FC236}">
                  <a16:creationId xmlns:a16="http://schemas.microsoft.com/office/drawing/2014/main" id="{E2553250-212E-12A5-0EA5-EFC9EC3B3853}"/>
                </a:ext>
              </a:extLst>
            </p:cNvPr>
            <p:cNvSpPr/>
            <p:nvPr/>
          </p:nvSpPr>
          <p:spPr>
            <a:xfrm>
              <a:off x="5291600" y="4589625"/>
              <a:ext cx="1321800" cy="71725"/>
            </a:xfrm>
            <a:custGeom>
              <a:avLst/>
              <a:gdLst/>
              <a:ahLst/>
              <a:cxnLst/>
              <a:rect l="l" t="t" r="r" b="b"/>
              <a:pathLst>
                <a:path w="52872" h="2869" extrusionOk="0">
                  <a:moveTo>
                    <a:pt x="26021" y="1"/>
                  </a:moveTo>
                  <a:lnTo>
                    <a:pt x="20769" y="35"/>
                  </a:lnTo>
                  <a:lnTo>
                    <a:pt x="15896" y="104"/>
                  </a:lnTo>
                  <a:lnTo>
                    <a:pt x="11473" y="242"/>
                  </a:lnTo>
                  <a:lnTo>
                    <a:pt x="7603" y="415"/>
                  </a:lnTo>
                  <a:lnTo>
                    <a:pt x="5944" y="519"/>
                  </a:lnTo>
                  <a:lnTo>
                    <a:pt x="4423" y="623"/>
                  </a:lnTo>
                  <a:lnTo>
                    <a:pt x="3145" y="761"/>
                  </a:lnTo>
                  <a:lnTo>
                    <a:pt x="2039" y="864"/>
                  </a:lnTo>
                  <a:lnTo>
                    <a:pt x="1141" y="1003"/>
                  </a:lnTo>
                  <a:lnTo>
                    <a:pt x="519" y="1141"/>
                  </a:lnTo>
                  <a:lnTo>
                    <a:pt x="277" y="1210"/>
                  </a:lnTo>
                  <a:lnTo>
                    <a:pt x="138" y="1279"/>
                  </a:lnTo>
                  <a:lnTo>
                    <a:pt x="35" y="1348"/>
                  </a:lnTo>
                  <a:lnTo>
                    <a:pt x="0" y="1452"/>
                  </a:lnTo>
                  <a:lnTo>
                    <a:pt x="35" y="1521"/>
                  </a:lnTo>
                  <a:lnTo>
                    <a:pt x="138" y="1590"/>
                  </a:lnTo>
                  <a:lnTo>
                    <a:pt x="277" y="1659"/>
                  </a:lnTo>
                  <a:lnTo>
                    <a:pt x="519" y="1728"/>
                  </a:lnTo>
                  <a:lnTo>
                    <a:pt x="1141" y="1867"/>
                  </a:lnTo>
                  <a:lnTo>
                    <a:pt x="2039" y="2005"/>
                  </a:lnTo>
                  <a:lnTo>
                    <a:pt x="3145" y="2109"/>
                  </a:lnTo>
                  <a:lnTo>
                    <a:pt x="4423" y="2247"/>
                  </a:lnTo>
                  <a:lnTo>
                    <a:pt x="5944" y="2350"/>
                  </a:lnTo>
                  <a:lnTo>
                    <a:pt x="7603" y="2454"/>
                  </a:lnTo>
                  <a:lnTo>
                    <a:pt x="11473" y="2627"/>
                  </a:lnTo>
                  <a:lnTo>
                    <a:pt x="15896" y="2765"/>
                  </a:lnTo>
                  <a:lnTo>
                    <a:pt x="20769" y="2869"/>
                  </a:lnTo>
                  <a:lnTo>
                    <a:pt x="28682" y="2869"/>
                  </a:lnTo>
                  <a:lnTo>
                    <a:pt x="31308" y="2834"/>
                  </a:lnTo>
                  <a:lnTo>
                    <a:pt x="36284" y="2731"/>
                  </a:lnTo>
                  <a:lnTo>
                    <a:pt x="40846" y="2558"/>
                  </a:lnTo>
                  <a:lnTo>
                    <a:pt x="44854" y="2316"/>
                  </a:lnTo>
                  <a:lnTo>
                    <a:pt x="46582" y="2178"/>
                  </a:lnTo>
                  <a:lnTo>
                    <a:pt x="48172" y="2039"/>
                  </a:lnTo>
                  <a:lnTo>
                    <a:pt x="49554" y="1901"/>
                  </a:lnTo>
                  <a:lnTo>
                    <a:pt x="50694" y="1763"/>
                  </a:lnTo>
                  <a:lnTo>
                    <a:pt x="51627" y="1625"/>
                  </a:lnTo>
                  <a:lnTo>
                    <a:pt x="52319" y="1452"/>
                  </a:lnTo>
                  <a:lnTo>
                    <a:pt x="52560" y="1383"/>
                  </a:lnTo>
                  <a:lnTo>
                    <a:pt x="52733" y="1314"/>
                  </a:lnTo>
                  <a:lnTo>
                    <a:pt x="52837" y="1245"/>
                  </a:lnTo>
                  <a:lnTo>
                    <a:pt x="52871" y="1141"/>
                  </a:lnTo>
                  <a:lnTo>
                    <a:pt x="52837" y="1072"/>
                  </a:lnTo>
                  <a:lnTo>
                    <a:pt x="52733" y="1003"/>
                  </a:lnTo>
                  <a:lnTo>
                    <a:pt x="52560" y="934"/>
                  </a:lnTo>
                  <a:lnTo>
                    <a:pt x="52319" y="864"/>
                  </a:lnTo>
                  <a:lnTo>
                    <a:pt x="51627" y="761"/>
                  </a:lnTo>
                  <a:lnTo>
                    <a:pt x="50694" y="623"/>
                  </a:lnTo>
                  <a:lnTo>
                    <a:pt x="49554" y="519"/>
                  </a:lnTo>
                  <a:lnTo>
                    <a:pt x="48172" y="450"/>
                  </a:lnTo>
                  <a:lnTo>
                    <a:pt x="44854" y="277"/>
                  </a:lnTo>
                  <a:lnTo>
                    <a:pt x="40846" y="139"/>
                  </a:lnTo>
                  <a:lnTo>
                    <a:pt x="36284" y="70"/>
                  </a:lnTo>
                  <a:lnTo>
                    <a:pt x="31308" y="1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7" name="Google Shape;14177;p81">
              <a:extLst>
                <a:ext uri="{FF2B5EF4-FFF2-40B4-BE49-F238E27FC236}">
                  <a16:creationId xmlns:a16="http://schemas.microsoft.com/office/drawing/2014/main" id="{F3FBF220-E114-B7A4-F0F6-83ED3B216DE3}"/>
                </a:ext>
              </a:extLst>
            </p:cNvPr>
            <p:cNvSpPr/>
            <p:nvPr/>
          </p:nvSpPr>
          <p:spPr>
            <a:xfrm>
              <a:off x="5291600" y="4589625"/>
              <a:ext cx="1321800" cy="71725"/>
            </a:xfrm>
            <a:custGeom>
              <a:avLst/>
              <a:gdLst/>
              <a:ahLst/>
              <a:cxnLst/>
              <a:rect l="l" t="t" r="r" b="b"/>
              <a:pathLst>
                <a:path w="52872" h="2869" fill="none" extrusionOk="0">
                  <a:moveTo>
                    <a:pt x="26021" y="1"/>
                  </a:moveTo>
                  <a:lnTo>
                    <a:pt x="26021" y="1"/>
                  </a:lnTo>
                  <a:lnTo>
                    <a:pt x="20769" y="35"/>
                  </a:lnTo>
                  <a:lnTo>
                    <a:pt x="15896" y="104"/>
                  </a:lnTo>
                  <a:lnTo>
                    <a:pt x="11473" y="242"/>
                  </a:lnTo>
                  <a:lnTo>
                    <a:pt x="7603" y="415"/>
                  </a:lnTo>
                  <a:lnTo>
                    <a:pt x="5944" y="519"/>
                  </a:lnTo>
                  <a:lnTo>
                    <a:pt x="4423" y="623"/>
                  </a:lnTo>
                  <a:lnTo>
                    <a:pt x="3145" y="761"/>
                  </a:lnTo>
                  <a:lnTo>
                    <a:pt x="2039" y="864"/>
                  </a:lnTo>
                  <a:lnTo>
                    <a:pt x="1141" y="1003"/>
                  </a:lnTo>
                  <a:lnTo>
                    <a:pt x="519" y="1141"/>
                  </a:lnTo>
                  <a:lnTo>
                    <a:pt x="277" y="1210"/>
                  </a:lnTo>
                  <a:lnTo>
                    <a:pt x="138" y="1279"/>
                  </a:lnTo>
                  <a:lnTo>
                    <a:pt x="35" y="1348"/>
                  </a:lnTo>
                  <a:lnTo>
                    <a:pt x="0" y="1452"/>
                  </a:lnTo>
                  <a:lnTo>
                    <a:pt x="0" y="1452"/>
                  </a:lnTo>
                  <a:lnTo>
                    <a:pt x="35" y="1521"/>
                  </a:lnTo>
                  <a:lnTo>
                    <a:pt x="138" y="1590"/>
                  </a:lnTo>
                  <a:lnTo>
                    <a:pt x="277" y="1659"/>
                  </a:lnTo>
                  <a:lnTo>
                    <a:pt x="519" y="1728"/>
                  </a:lnTo>
                  <a:lnTo>
                    <a:pt x="1141" y="1867"/>
                  </a:lnTo>
                  <a:lnTo>
                    <a:pt x="2039" y="2005"/>
                  </a:lnTo>
                  <a:lnTo>
                    <a:pt x="3145" y="2109"/>
                  </a:lnTo>
                  <a:lnTo>
                    <a:pt x="4423" y="2247"/>
                  </a:lnTo>
                  <a:lnTo>
                    <a:pt x="5944" y="2350"/>
                  </a:lnTo>
                  <a:lnTo>
                    <a:pt x="7603" y="2454"/>
                  </a:lnTo>
                  <a:lnTo>
                    <a:pt x="11473" y="2627"/>
                  </a:lnTo>
                  <a:lnTo>
                    <a:pt x="15896" y="2765"/>
                  </a:lnTo>
                  <a:lnTo>
                    <a:pt x="20769" y="2869"/>
                  </a:lnTo>
                  <a:lnTo>
                    <a:pt x="26021" y="2869"/>
                  </a:lnTo>
                  <a:lnTo>
                    <a:pt x="26021" y="2869"/>
                  </a:lnTo>
                  <a:lnTo>
                    <a:pt x="28682" y="2869"/>
                  </a:lnTo>
                  <a:lnTo>
                    <a:pt x="31308" y="2834"/>
                  </a:lnTo>
                  <a:lnTo>
                    <a:pt x="36284" y="2731"/>
                  </a:lnTo>
                  <a:lnTo>
                    <a:pt x="40846" y="2558"/>
                  </a:lnTo>
                  <a:lnTo>
                    <a:pt x="44854" y="2316"/>
                  </a:lnTo>
                  <a:lnTo>
                    <a:pt x="46582" y="2178"/>
                  </a:lnTo>
                  <a:lnTo>
                    <a:pt x="48172" y="2039"/>
                  </a:lnTo>
                  <a:lnTo>
                    <a:pt x="49554" y="1901"/>
                  </a:lnTo>
                  <a:lnTo>
                    <a:pt x="50694" y="1763"/>
                  </a:lnTo>
                  <a:lnTo>
                    <a:pt x="51627" y="1625"/>
                  </a:lnTo>
                  <a:lnTo>
                    <a:pt x="52319" y="1452"/>
                  </a:lnTo>
                  <a:lnTo>
                    <a:pt x="52560" y="1383"/>
                  </a:lnTo>
                  <a:lnTo>
                    <a:pt x="52733" y="1314"/>
                  </a:lnTo>
                  <a:lnTo>
                    <a:pt x="52837" y="1245"/>
                  </a:lnTo>
                  <a:lnTo>
                    <a:pt x="52871" y="1141"/>
                  </a:lnTo>
                  <a:lnTo>
                    <a:pt x="52871" y="1141"/>
                  </a:lnTo>
                  <a:lnTo>
                    <a:pt x="52837" y="1072"/>
                  </a:lnTo>
                  <a:lnTo>
                    <a:pt x="52733" y="1003"/>
                  </a:lnTo>
                  <a:lnTo>
                    <a:pt x="52560" y="934"/>
                  </a:lnTo>
                  <a:lnTo>
                    <a:pt x="52319" y="864"/>
                  </a:lnTo>
                  <a:lnTo>
                    <a:pt x="51627" y="761"/>
                  </a:lnTo>
                  <a:lnTo>
                    <a:pt x="50694" y="623"/>
                  </a:lnTo>
                  <a:lnTo>
                    <a:pt x="49554" y="519"/>
                  </a:lnTo>
                  <a:lnTo>
                    <a:pt x="48172" y="450"/>
                  </a:lnTo>
                  <a:lnTo>
                    <a:pt x="44854" y="277"/>
                  </a:lnTo>
                  <a:lnTo>
                    <a:pt x="40846" y="139"/>
                  </a:lnTo>
                  <a:lnTo>
                    <a:pt x="36284" y="70"/>
                  </a:lnTo>
                  <a:lnTo>
                    <a:pt x="31308" y="1"/>
                  </a:lnTo>
                  <a:lnTo>
                    <a:pt x="2602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8" name="Google Shape;14178;p81">
              <a:extLst>
                <a:ext uri="{FF2B5EF4-FFF2-40B4-BE49-F238E27FC236}">
                  <a16:creationId xmlns:a16="http://schemas.microsoft.com/office/drawing/2014/main" id="{CC7EAF89-2949-5B3B-1A19-D166C1395FED}"/>
                </a:ext>
              </a:extLst>
            </p:cNvPr>
            <p:cNvSpPr/>
            <p:nvPr/>
          </p:nvSpPr>
          <p:spPr>
            <a:xfrm>
              <a:off x="5116225" y="1564225"/>
              <a:ext cx="209950" cy="269550"/>
            </a:xfrm>
            <a:custGeom>
              <a:avLst/>
              <a:gdLst/>
              <a:ahLst/>
              <a:cxnLst/>
              <a:rect l="l" t="t" r="r" b="b"/>
              <a:pathLst>
                <a:path w="8398" h="10782" extrusionOk="0">
                  <a:moveTo>
                    <a:pt x="311" y="0"/>
                  </a:moveTo>
                  <a:lnTo>
                    <a:pt x="208" y="35"/>
                  </a:lnTo>
                  <a:lnTo>
                    <a:pt x="138" y="69"/>
                  </a:lnTo>
                  <a:lnTo>
                    <a:pt x="69" y="138"/>
                  </a:lnTo>
                  <a:lnTo>
                    <a:pt x="35" y="207"/>
                  </a:lnTo>
                  <a:lnTo>
                    <a:pt x="0" y="277"/>
                  </a:lnTo>
                  <a:lnTo>
                    <a:pt x="35" y="415"/>
                  </a:lnTo>
                  <a:lnTo>
                    <a:pt x="138" y="622"/>
                  </a:lnTo>
                  <a:lnTo>
                    <a:pt x="311" y="829"/>
                  </a:lnTo>
                  <a:lnTo>
                    <a:pt x="726" y="1348"/>
                  </a:lnTo>
                  <a:lnTo>
                    <a:pt x="1210" y="1901"/>
                  </a:lnTo>
                  <a:lnTo>
                    <a:pt x="1728" y="2488"/>
                  </a:lnTo>
                  <a:lnTo>
                    <a:pt x="1935" y="2799"/>
                  </a:lnTo>
                  <a:lnTo>
                    <a:pt x="2108" y="3076"/>
                  </a:lnTo>
                  <a:lnTo>
                    <a:pt x="2246" y="3352"/>
                  </a:lnTo>
                  <a:lnTo>
                    <a:pt x="2350" y="3628"/>
                  </a:lnTo>
                  <a:lnTo>
                    <a:pt x="2350" y="3870"/>
                  </a:lnTo>
                  <a:lnTo>
                    <a:pt x="2350" y="3974"/>
                  </a:lnTo>
                  <a:lnTo>
                    <a:pt x="2281" y="4078"/>
                  </a:lnTo>
                  <a:lnTo>
                    <a:pt x="2143" y="4285"/>
                  </a:lnTo>
                  <a:lnTo>
                    <a:pt x="1832" y="4596"/>
                  </a:lnTo>
                  <a:lnTo>
                    <a:pt x="1452" y="5011"/>
                  </a:lnTo>
                  <a:lnTo>
                    <a:pt x="1106" y="5495"/>
                  </a:lnTo>
                  <a:lnTo>
                    <a:pt x="933" y="5736"/>
                  </a:lnTo>
                  <a:lnTo>
                    <a:pt x="795" y="5978"/>
                  </a:lnTo>
                  <a:lnTo>
                    <a:pt x="691" y="6220"/>
                  </a:lnTo>
                  <a:lnTo>
                    <a:pt x="657" y="6462"/>
                  </a:lnTo>
                  <a:lnTo>
                    <a:pt x="657" y="6704"/>
                  </a:lnTo>
                  <a:lnTo>
                    <a:pt x="691" y="6946"/>
                  </a:lnTo>
                  <a:lnTo>
                    <a:pt x="830" y="7153"/>
                  </a:lnTo>
                  <a:lnTo>
                    <a:pt x="1037" y="7326"/>
                  </a:lnTo>
                  <a:lnTo>
                    <a:pt x="1210" y="7464"/>
                  </a:lnTo>
                  <a:lnTo>
                    <a:pt x="1383" y="7568"/>
                  </a:lnTo>
                  <a:lnTo>
                    <a:pt x="1728" y="7706"/>
                  </a:lnTo>
                  <a:lnTo>
                    <a:pt x="2074" y="7775"/>
                  </a:lnTo>
                  <a:lnTo>
                    <a:pt x="2385" y="7844"/>
                  </a:lnTo>
                  <a:lnTo>
                    <a:pt x="2696" y="7913"/>
                  </a:lnTo>
                  <a:lnTo>
                    <a:pt x="3041" y="8017"/>
                  </a:lnTo>
                  <a:lnTo>
                    <a:pt x="3179" y="8121"/>
                  </a:lnTo>
                  <a:lnTo>
                    <a:pt x="3352" y="8259"/>
                  </a:lnTo>
                  <a:lnTo>
                    <a:pt x="3525" y="8397"/>
                  </a:lnTo>
                  <a:lnTo>
                    <a:pt x="3663" y="8570"/>
                  </a:lnTo>
                  <a:lnTo>
                    <a:pt x="4320" y="9296"/>
                  </a:lnTo>
                  <a:lnTo>
                    <a:pt x="4873" y="9814"/>
                  </a:lnTo>
                  <a:lnTo>
                    <a:pt x="6013" y="10782"/>
                  </a:lnTo>
                  <a:lnTo>
                    <a:pt x="6428" y="10436"/>
                  </a:lnTo>
                  <a:lnTo>
                    <a:pt x="6842" y="10056"/>
                  </a:lnTo>
                  <a:lnTo>
                    <a:pt x="7292" y="9607"/>
                  </a:lnTo>
                  <a:lnTo>
                    <a:pt x="7741" y="9123"/>
                  </a:lnTo>
                  <a:lnTo>
                    <a:pt x="8121" y="8639"/>
                  </a:lnTo>
                  <a:lnTo>
                    <a:pt x="8259" y="8432"/>
                  </a:lnTo>
                  <a:lnTo>
                    <a:pt x="8328" y="8259"/>
                  </a:lnTo>
                  <a:lnTo>
                    <a:pt x="8397" y="8086"/>
                  </a:lnTo>
                  <a:lnTo>
                    <a:pt x="8363" y="7983"/>
                  </a:lnTo>
                  <a:lnTo>
                    <a:pt x="8086" y="7533"/>
                  </a:lnTo>
                  <a:lnTo>
                    <a:pt x="7672" y="7050"/>
                  </a:lnTo>
                  <a:lnTo>
                    <a:pt x="7153" y="6531"/>
                  </a:lnTo>
                  <a:lnTo>
                    <a:pt x="6428" y="5875"/>
                  </a:lnTo>
                  <a:lnTo>
                    <a:pt x="5806" y="5322"/>
                  </a:lnTo>
                  <a:lnTo>
                    <a:pt x="5218" y="4769"/>
                  </a:lnTo>
                  <a:lnTo>
                    <a:pt x="4665" y="4181"/>
                  </a:lnTo>
                  <a:lnTo>
                    <a:pt x="4043" y="3628"/>
                  </a:lnTo>
                  <a:lnTo>
                    <a:pt x="3698" y="3248"/>
                  </a:lnTo>
                  <a:lnTo>
                    <a:pt x="3179" y="2661"/>
                  </a:lnTo>
                  <a:lnTo>
                    <a:pt x="2627" y="1970"/>
                  </a:lnTo>
                  <a:lnTo>
                    <a:pt x="2039" y="1279"/>
                  </a:lnTo>
                  <a:lnTo>
                    <a:pt x="1452" y="657"/>
                  </a:lnTo>
                  <a:lnTo>
                    <a:pt x="1175" y="415"/>
                  </a:lnTo>
                  <a:lnTo>
                    <a:pt x="899" y="207"/>
                  </a:lnTo>
                  <a:lnTo>
                    <a:pt x="657" y="69"/>
                  </a:lnTo>
                  <a:lnTo>
                    <a:pt x="415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39" name="Google Shape;14179;p81">
              <a:extLst>
                <a:ext uri="{FF2B5EF4-FFF2-40B4-BE49-F238E27FC236}">
                  <a16:creationId xmlns:a16="http://schemas.microsoft.com/office/drawing/2014/main" id="{E3C0E5AC-56A6-1820-17A7-322F1C260D81}"/>
                </a:ext>
              </a:extLst>
            </p:cNvPr>
            <p:cNvSpPr/>
            <p:nvPr/>
          </p:nvSpPr>
          <p:spPr>
            <a:xfrm>
              <a:off x="5966300" y="1826850"/>
              <a:ext cx="175400" cy="295475"/>
            </a:xfrm>
            <a:custGeom>
              <a:avLst/>
              <a:gdLst/>
              <a:ahLst/>
              <a:cxnLst/>
              <a:rect l="l" t="t" r="r" b="b"/>
              <a:pathLst>
                <a:path w="7016" h="11819" extrusionOk="0">
                  <a:moveTo>
                    <a:pt x="2489" y="0"/>
                  </a:moveTo>
                  <a:lnTo>
                    <a:pt x="1176" y="3594"/>
                  </a:lnTo>
                  <a:lnTo>
                    <a:pt x="1279" y="3905"/>
                  </a:lnTo>
                  <a:lnTo>
                    <a:pt x="1314" y="4389"/>
                  </a:lnTo>
                  <a:lnTo>
                    <a:pt x="1348" y="5564"/>
                  </a:lnTo>
                  <a:lnTo>
                    <a:pt x="1348" y="6289"/>
                  </a:lnTo>
                  <a:lnTo>
                    <a:pt x="1279" y="7015"/>
                  </a:lnTo>
                  <a:lnTo>
                    <a:pt x="1210" y="7706"/>
                  </a:lnTo>
                  <a:lnTo>
                    <a:pt x="1107" y="8017"/>
                  </a:lnTo>
                  <a:lnTo>
                    <a:pt x="1037" y="8294"/>
                  </a:lnTo>
                  <a:lnTo>
                    <a:pt x="934" y="8605"/>
                  </a:lnTo>
                  <a:lnTo>
                    <a:pt x="865" y="8950"/>
                  </a:lnTo>
                  <a:lnTo>
                    <a:pt x="761" y="9711"/>
                  </a:lnTo>
                  <a:lnTo>
                    <a:pt x="657" y="10125"/>
                  </a:lnTo>
                  <a:lnTo>
                    <a:pt x="519" y="10540"/>
                  </a:lnTo>
                  <a:lnTo>
                    <a:pt x="346" y="10989"/>
                  </a:lnTo>
                  <a:lnTo>
                    <a:pt x="70" y="11438"/>
                  </a:lnTo>
                  <a:lnTo>
                    <a:pt x="1" y="11577"/>
                  </a:lnTo>
                  <a:lnTo>
                    <a:pt x="1" y="11646"/>
                  </a:lnTo>
                  <a:lnTo>
                    <a:pt x="35" y="11680"/>
                  </a:lnTo>
                  <a:lnTo>
                    <a:pt x="139" y="11749"/>
                  </a:lnTo>
                  <a:lnTo>
                    <a:pt x="312" y="11784"/>
                  </a:lnTo>
                  <a:lnTo>
                    <a:pt x="519" y="11819"/>
                  </a:lnTo>
                  <a:lnTo>
                    <a:pt x="796" y="11819"/>
                  </a:lnTo>
                  <a:lnTo>
                    <a:pt x="1383" y="11715"/>
                  </a:lnTo>
                  <a:lnTo>
                    <a:pt x="2040" y="11611"/>
                  </a:lnTo>
                  <a:lnTo>
                    <a:pt x="2592" y="11473"/>
                  </a:lnTo>
                  <a:lnTo>
                    <a:pt x="3180" y="11335"/>
                  </a:lnTo>
                  <a:lnTo>
                    <a:pt x="7016" y="10263"/>
                  </a:lnTo>
                  <a:lnTo>
                    <a:pt x="6981" y="9918"/>
                  </a:lnTo>
                  <a:lnTo>
                    <a:pt x="6947" y="9538"/>
                  </a:lnTo>
                  <a:lnTo>
                    <a:pt x="6843" y="9123"/>
                  </a:lnTo>
                  <a:lnTo>
                    <a:pt x="6739" y="8674"/>
                  </a:lnTo>
                  <a:lnTo>
                    <a:pt x="6428" y="7706"/>
                  </a:lnTo>
                  <a:lnTo>
                    <a:pt x="6083" y="6704"/>
                  </a:lnTo>
                  <a:lnTo>
                    <a:pt x="5357" y="4804"/>
                  </a:lnTo>
                  <a:lnTo>
                    <a:pt x="5081" y="3974"/>
                  </a:lnTo>
                  <a:lnTo>
                    <a:pt x="4977" y="3594"/>
                  </a:lnTo>
                  <a:lnTo>
                    <a:pt x="4908" y="3283"/>
                  </a:lnTo>
                  <a:lnTo>
                    <a:pt x="4804" y="2972"/>
                  </a:lnTo>
                  <a:lnTo>
                    <a:pt x="4700" y="2661"/>
                  </a:lnTo>
                  <a:lnTo>
                    <a:pt x="4562" y="2350"/>
                  </a:lnTo>
                  <a:lnTo>
                    <a:pt x="4389" y="2039"/>
                  </a:lnTo>
                  <a:lnTo>
                    <a:pt x="4009" y="1486"/>
                  </a:lnTo>
                  <a:lnTo>
                    <a:pt x="3560" y="1002"/>
                  </a:lnTo>
                  <a:lnTo>
                    <a:pt x="3145" y="588"/>
                  </a:lnTo>
                  <a:lnTo>
                    <a:pt x="2800" y="277"/>
                  </a:lnTo>
                  <a:lnTo>
                    <a:pt x="2489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0" name="Google Shape;14180;p81">
              <a:extLst>
                <a:ext uri="{FF2B5EF4-FFF2-40B4-BE49-F238E27FC236}">
                  <a16:creationId xmlns:a16="http://schemas.microsoft.com/office/drawing/2014/main" id="{BF32B0CB-9E12-A148-83BE-AA9428ECEBC5}"/>
                </a:ext>
              </a:extLst>
            </p:cNvPr>
            <p:cNvSpPr/>
            <p:nvPr/>
          </p:nvSpPr>
          <p:spPr>
            <a:xfrm>
              <a:off x="5966300" y="1826850"/>
              <a:ext cx="175400" cy="295475"/>
            </a:xfrm>
            <a:custGeom>
              <a:avLst/>
              <a:gdLst/>
              <a:ahLst/>
              <a:cxnLst/>
              <a:rect l="l" t="t" r="r" b="b"/>
              <a:pathLst>
                <a:path w="7016" h="11819" fill="none" extrusionOk="0">
                  <a:moveTo>
                    <a:pt x="3180" y="11335"/>
                  </a:moveTo>
                  <a:lnTo>
                    <a:pt x="7016" y="10263"/>
                  </a:lnTo>
                  <a:lnTo>
                    <a:pt x="7016" y="10263"/>
                  </a:lnTo>
                  <a:lnTo>
                    <a:pt x="6981" y="9918"/>
                  </a:lnTo>
                  <a:lnTo>
                    <a:pt x="6947" y="9538"/>
                  </a:lnTo>
                  <a:lnTo>
                    <a:pt x="6843" y="9123"/>
                  </a:lnTo>
                  <a:lnTo>
                    <a:pt x="6739" y="8674"/>
                  </a:lnTo>
                  <a:lnTo>
                    <a:pt x="6428" y="7706"/>
                  </a:lnTo>
                  <a:lnTo>
                    <a:pt x="6083" y="6704"/>
                  </a:lnTo>
                  <a:lnTo>
                    <a:pt x="5357" y="4804"/>
                  </a:lnTo>
                  <a:lnTo>
                    <a:pt x="5081" y="3974"/>
                  </a:lnTo>
                  <a:lnTo>
                    <a:pt x="4977" y="3594"/>
                  </a:lnTo>
                  <a:lnTo>
                    <a:pt x="4908" y="3283"/>
                  </a:lnTo>
                  <a:lnTo>
                    <a:pt x="4908" y="3283"/>
                  </a:lnTo>
                  <a:lnTo>
                    <a:pt x="4804" y="2972"/>
                  </a:lnTo>
                  <a:lnTo>
                    <a:pt x="4700" y="2661"/>
                  </a:lnTo>
                  <a:lnTo>
                    <a:pt x="4562" y="2350"/>
                  </a:lnTo>
                  <a:lnTo>
                    <a:pt x="4389" y="2039"/>
                  </a:lnTo>
                  <a:lnTo>
                    <a:pt x="4009" y="1486"/>
                  </a:lnTo>
                  <a:lnTo>
                    <a:pt x="3560" y="1002"/>
                  </a:lnTo>
                  <a:lnTo>
                    <a:pt x="3145" y="588"/>
                  </a:lnTo>
                  <a:lnTo>
                    <a:pt x="2800" y="277"/>
                  </a:lnTo>
                  <a:lnTo>
                    <a:pt x="2489" y="0"/>
                  </a:lnTo>
                  <a:lnTo>
                    <a:pt x="1176" y="3594"/>
                  </a:lnTo>
                  <a:lnTo>
                    <a:pt x="1279" y="3905"/>
                  </a:lnTo>
                  <a:lnTo>
                    <a:pt x="1279" y="3905"/>
                  </a:lnTo>
                  <a:lnTo>
                    <a:pt x="1314" y="4389"/>
                  </a:lnTo>
                  <a:lnTo>
                    <a:pt x="1348" y="5564"/>
                  </a:lnTo>
                  <a:lnTo>
                    <a:pt x="1348" y="6289"/>
                  </a:lnTo>
                  <a:lnTo>
                    <a:pt x="1279" y="7015"/>
                  </a:lnTo>
                  <a:lnTo>
                    <a:pt x="1210" y="7706"/>
                  </a:lnTo>
                  <a:lnTo>
                    <a:pt x="1107" y="8017"/>
                  </a:lnTo>
                  <a:lnTo>
                    <a:pt x="1037" y="8294"/>
                  </a:lnTo>
                  <a:lnTo>
                    <a:pt x="1037" y="8294"/>
                  </a:lnTo>
                  <a:lnTo>
                    <a:pt x="934" y="8605"/>
                  </a:lnTo>
                  <a:lnTo>
                    <a:pt x="865" y="8950"/>
                  </a:lnTo>
                  <a:lnTo>
                    <a:pt x="761" y="9711"/>
                  </a:lnTo>
                  <a:lnTo>
                    <a:pt x="657" y="10125"/>
                  </a:lnTo>
                  <a:lnTo>
                    <a:pt x="519" y="10540"/>
                  </a:lnTo>
                  <a:lnTo>
                    <a:pt x="346" y="10989"/>
                  </a:lnTo>
                  <a:lnTo>
                    <a:pt x="70" y="11438"/>
                  </a:lnTo>
                  <a:lnTo>
                    <a:pt x="70" y="11438"/>
                  </a:lnTo>
                  <a:lnTo>
                    <a:pt x="1" y="11577"/>
                  </a:lnTo>
                  <a:lnTo>
                    <a:pt x="1" y="11646"/>
                  </a:lnTo>
                  <a:lnTo>
                    <a:pt x="35" y="11680"/>
                  </a:lnTo>
                  <a:lnTo>
                    <a:pt x="139" y="11749"/>
                  </a:lnTo>
                  <a:lnTo>
                    <a:pt x="312" y="11784"/>
                  </a:lnTo>
                  <a:lnTo>
                    <a:pt x="519" y="11819"/>
                  </a:lnTo>
                  <a:lnTo>
                    <a:pt x="796" y="11819"/>
                  </a:lnTo>
                  <a:lnTo>
                    <a:pt x="1383" y="11715"/>
                  </a:lnTo>
                  <a:lnTo>
                    <a:pt x="2040" y="11611"/>
                  </a:lnTo>
                  <a:lnTo>
                    <a:pt x="2592" y="11473"/>
                  </a:lnTo>
                  <a:lnTo>
                    <a:pt x="3180" y="113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1" name="Google Shape;14181;p81">
              <a:extLst>
                <a:ext uri="{FF2B5EF4-FFF2-40B4-BE49-F238E27FC236}">
                  <a16:creationId xmlns:a16="http://schemas.microsoft.com/office/drawing/2014/main" id="{1B93C8FB-3A33-EA9C-1BAC-6B6BB5AADB78}"/>
                </a:ext>
              </a:extLst>
            </p:cNvPr>
            <p:cNvSpPr/>
            <p:nvPr/>
          </p:nvSpPr>
          <p:spPr>
            <a:xfrm>
              <a:off x="5999125" y="1940025"/>
              <a:ext cx="900" cy="25925"/>
            </a:xfrm>
            <a:custGeom>
              <a:avLst/>
              <a:gdLst/>
              <a:ahLst/>
              <a:cxnLst/>
              <a:rect l="l" t="t" r="r" b="b"/>
              <a:pathLst>
                <a:path w="36" h="1037" extrusionOk="0">
                  <a:moveTo>
                    <a:pt x="1" y="0"/>
                  </a:moveTo>
                  <a:lnTo>
                    <a:pt x="1" y="35"/>
                  </a:lnTo>
                  <a:lnTo>
                    <a:pt x="1" y="518"/>
                  </a:lnTo>
                  <a:lnTo>
                    <a:pt x="35" y="1037"/>
                  </a:lnTo>
                  <a:lnTo>
                    <a:pt x="35" y="76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FDF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2" name="Google Shape;14182;p81">
              <a:extLst>
                <a:ext uri="{FF2B5EF4-FFF2-40B4-BE49-F238E27FC236}">
                  <a16:creationId xmlns:a16="http://schemas.microsoft.com/office/drawing/2014/main" id="{39BB1B6C-26CA-D62F-3EC9-187836DBE69E}"/>
                </a:ext>
              </a:extLst>
            </p:cNvPr>
            <p:cNvSpPr/>
            <p:nvPr/>
          </p:nvSpPr>
          <p:spPr>
            <a:xfrm>
              <a:off x="5996550" y="20177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3" name="Google Shape;14183;p81">
              <a:extLst>
                <a:ext uri="{FF2B5EF4-FFF2-40B4-BE49-F238E27FC236}">
                  <a16:creationId xmlns:a16="http://schemas.microsoft.com/office/drawing/2014/main" id="{D7FFC142-EE42-990C-2E99-683DB0B138BD}"/>
                </a:ext>
              </a:extLst>
            </p:cNvPr>
            <p:cNvSpPr/>
            <p:nvPr/>
          </p:nvSpPr>
          <p:spPr>
            <a:xfrm>
              <a:off x="5999125" y="1940025"/>
              <a:ext cx="900" cy="40625"/>
            </a:xfrm>
            <a:custGeom>
              <a:avLst/>
              <a:gdLst/>
              <a:ahLst/>
              <a:cxnLst/>
              <a:rect l="l" t="t" r="r" b="b"/>
              <a:pathLst>
                <a:path w="36" h="1625" fill="none" extrusionOk="0">
                  <a:moveTo>
                    <a:pt x="1" y="0"/>
                  </a:moveTo>
                  <a:lnTo>
                    <a:pt x="1" y="35"/>
                  </a:lnTo>
                  <a:lnTo>
                    <a:pt x="1" y="35"/>
                  </a:lnTo>
                  <a:lnTo>
                    <a:pt x="1" y="518"/>
                  </a:lnTo>
                  <a:lnTo>
                    <a:pt x="35" y="1037"/>
                  </a:lnTo>
                  <a:lnTo>
                    <a:pt x="35" y="1624"/>
                  </a:lnTo>
                  <a:lnTo>
                    <a:pt x="35" y="1624"/>
                  </a:lnTo>
                  <a:lnTo>
                    <a:pt x="35" y="76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4" name="Google Shape;14184;p81">
              <a:extLst>
                <a:ext uri="{FF2B5EF4-FFF2-40B4-BE49-F238E27FC236}">
                  <a16:creationId xmlns:a16="http://schemas.microsoft.com/office/drawing/2014/main" id="{20D9EE19-D8CA-EC2B-4A85-D92B7E43A285}"/>
                </a:ext>
              </a:extLst>
            </p:cNvPr>
            <p:cNvSpPr/>
            <p:nvPr/>
          </p:nvSpPr>
          <p:spPr>
            <a:xfrm>
              <a:off x="5996550" y="1925325"/>
              <a:ext cx="79500" cy="98525"/>
            </a:xfrm>
            <a:custGeom>
              <a:avLst/>
              <a:gdLst/>
              <a:ahLst/>
              <a:cxnLst/>
              <a:rect l="l" t="t" r="r" b="b"/>
              <a:pathLst>
                <a:path w="3180" h="3941" extrusionOk="0">
                  <a:moveTo>
                    <a:pt x="1313" y="1"/>
                  </a:moveTo>
                  <a:lnTo>
                    <a:pt x="104" y="588"/>
                  </a:lnTo>
                  <a:lnTo>
                    <a:pt x="138" y="1348"/>
                  </a:lnTo>
                  <a:lnTo>
                    <a:pt x="138" y="2212"/>
                  </a:lnTo>
                  <a:lnTo>
                    <a:pt x="104" y="2973"/>
                  </a:lnTo>
                  <a:lnTo>
                    <a:pt x="69" y="3353"/>
                  </a:lnTo>
                  <a:lnTo>
                    <a:pt x="0" y="3698"/>
                  </a:lnTo>
                  <a:lnTo>
                    <a:pt x="277" y="3802"/>
                  </a:lnTo>
                  <a:lnTo>
                    <a:pt x="553" y="3871"/>
                  </a:lnTo>
                  <a:lnTo>
                    <a:pt x="830" y="3940"/>
                  </a:lnTo>
                  <a:lnTo>
                    <a:pt x="1071" y="3940"/>
                  </a:lnTo>
                  <a:lnTo>
                    <a:pt x="1382" y="3906"/>
                  </a:lnTo>
                  <a:lnTo>
                    <a:pt x="1659" y="3871"/>
                  </a:lnTo>
                  <a:lnTo>
                    <a:pt x="1935" y="3767"/>
                  </a:lnTo>
                  <a:lnTo>
                    <a:pt x="2143" y="3629"/>
                  </a:lnTo>
                  <a:lnTo>
                    <a:pt x="2385" y="3456"/>
                  </a:lnTo>
                  <a:lnTo>
                    <a:pt x="2557" y="3284"/>
                  </a:lnTo>
                  <a:lnTo>
                    <a:pt x="2730" y="3076"/>
                  </a:lnTo>
                  <a:lnTo>
                    <a:pt x="2868" y="2869"/>
                  </a:lnTo>
                  <a:lnTo>
                    <a:pt x="2972" y="2661"/>
                  </a:lnTo>
                  <a:lnTo>
                    <a:pt x="3076" y="2454"/>
                  </a:lnTo>
                  <a:lnTo>
                    <a:pt x="3145" y="2247"/>
                  </a:lnTo>
                  <a:lnTo>
                    <a:pt x="3179" y="2039"/>
                  </a:lnTo>
                  <a:lnTo>
                    <a:pt x="3179" y="1832"/>
                  </a:lnTo>
                  <a:lnTo>
                    <a:pt x="3179" y="1659"/>
                  </a:lnTo>
                  <a:lnTo>
                    <a:pt x="3110" y="1521"/>
                  </a:lnTo>
                  <a:lnTo>
                    <a:pt x="3041" y="1383"/>
                  </a:lnTo>
                  <a:lnTo>
                    <a:pt x="2626" y="1003"/>
                  </a:lnTo>
                  <a:lnTo>
                    <a:pt x="2039" y="554"/>
                  </a:lnTo>
                  <a:lnTo>
                    <a:pt x="1313" y="1"/>
                  </a:lnTo>
                  <a:close/>
                </a:path>
              </a:pathLst>
            </a:custGeom>
            <a:solidFill>
              <a:srgbClr val="D29A9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5" name="Google Shape;14185;p81">
              <a:extLst>
                <a:ext uri="{FF2B5EF4-FFF2-40B4-BE49-F238E27FC236}">
                  <a16:creationId xmlns:a16="http://schemas.microsoft.com/office/drawing/2014/main" id="{D0E4ACBE-912B-8F2E-D13B-7D800A556467}"/>
                </a:ext>
              </a:extLst>
            </p:cNvPr>
            <p:cNvSpPr/>
            <p:nvPr/>
          </p:nvSpPr>
          <p:spPr>
            <a:xfrm>
              <a:off x="5996550" y="1925325"/>
              <a:ext cx="79500" cy="98525"/>
            </a:xfrm>
            <a:custGeom>
              <a:avLst/>
              <a:gdLst/>
              <a:ahLst/>
              <a:cxnLst/>
              <a:rect l="l" t="t" r="r" b="b"/>
              <a:pathLst>
                <a:path w="3180" h="3941" fill="none" extrusionOk="0">
                  <a:moveTo>
                    <a:pt x="1313" y="1"/>
                  </a:moveTo>
                  <a:lnTo>
                    <a:pt x="104" y="588"/>
                  </a:lnTo>
                  <a:lnTo>
                    <a:pt x="104" y="588"/>
                  </a:lnTo>
                  <a:lnTo>
                    <a:pt x="138" y="1348"/>
                  </a:lnTo>
                  <a:lnTo>
                    <a:pt x="138" y="2212"/>
                  </a:lnTo>
                  <a:lnTo>
                    <a:pt x="138" y="2212"/>
                  </a:lnTo>
                  <a:lnTo>
                    <a:pt x="104" y="2973"/>
                  </a:lnTo>
                  <a:lnTo>
                    <a:pt x="69" y="3353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277" y="3802"/>
                  </a:lnTo>
                  <a:lnTo>
                    <a:pt x="553" y="3871"/>
                  </a:lnTo>
                  <a:lnTo>
                    <a:pt x="830" y="3940"/>
                  </a:lnTo>
                  <a:lnTo>
                    <a:pt x="1071" y="3940"/>
                  </a:lnTo>
                  <a:lnTo>
                    <a:pt x="1071" y="3940"/>
                  </a:lnTo>
                  <a:lnTo>
                    <a:pt x="1382" y="3906"/>
                  </a:lnTo>
                  <a:lnTo>
                    <a:pt x="1659" y="3871"/>
                  </a:lnTo>
                  <a:lnTo>
                    <a:pt x="1935" y="3767"/>
                  </a:lnTo>
                  <a:lnTo>
                    <a:pt x="2143" y="3629"/>
                  </a:lnTo>
                  <a:lnTo>
                    <a:pt x="2385" y="3456"/>
                  </a:lnTo>
                  <a:lnTo>
                    <a:pt x="2557" y="3284"/>
                  </a:lnTo>
                  <a:lnTo>
                    <a:pt x="2730" y="3076"/>
                  </a:lnTo>
                  <a:lnTo>
                    <a:pt x="2868" y="2869"/>
                  </a:lnTo>
                  <a:lnTo>
                    <a:pt x="2972" y="2661"/>
                  </a:lnTo>
                  <a:lnTo>
                    <a:pt x="3076" y="2454"/>
                  </a:lnTo>
                  <a:lnTo>
                    <a:pt x="3145" y="2247"/>
                  </a:lnTo>
                  <a:lnTo>
                    <a:pt x="3179" y="2039"/>
                  </a:lnTo>
                  <a:lnTo>
                    <a:pt x="3179" y="1832"/>
                  </a:lnTo>
                  <a:lnTo>
                    <a:pt x="3179" y="1659"/>
                  </a:lnTo>
                  <a:lnTo>
                    <a:pt x="3110" y="1521"/>
                  </a:lnTo>
                  <a:lnTo>
                    <a:pt x="3041" y="1383"/>
                  </a:lnTo>
                  <a:lnTo>
                    <a:pt x="3041" y="1383"/>
                  </a:lnTo>
                  <a:lnTo>
                    <a:pt x="2626" y="1003"/>
                  </a:lnTo>
                  <a:lnTo>
                    <a:pt x="2039" y="554"/>
                  </a:lnTo>
                  <a:lnTo>
                    <a:pt x="131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6" name="Google Shape;14186;p81">
              <a:extLst>
                <a:ext uri="{FF2B5EF4-FFF2-40B4-BE49-F238E27FC236}">
                  <a16:creationId xmlns:a16="http://schemas.microsoft.com/office/drawing/2014/main" id="{3A45C635-DDD0-69AD-5230-0688FAD7AA46}"/>
                </a:ext>
              </a:extLst>
            </p:cNvPr>
            <p:cNvSpPr/>
            <p:nvPr/>
          </p:nvSpPr>
          <p:spPr>
            <a:xfrm>
              <a:off x="5921375" y="1789700"/>
              <a:ext cx="179725" cy="175400"/>
            </a:xfrm>
            <a:custGeom>
              <a:avLst/>
              <a:gdLst/>
              <a:ahLst/>
              <a:cxnLst/>
              <a:rect l="l" t="t" r="r" b="b"/>
              <a:pathLst>
                <a:path w="7189" h="7016" extrusionOk="0">
                  <a:moveTo>
                    <a:pt x="2040" y="0"/>
                  </a:moveTo>
                  <a:lnTo>
                    <a:pt x="1832" y="553"/>
                  </a:lnTo>
                  <a:lnTo>
                    <a:pt x="1590" y="1037"/>
                  </a:lnTo>
                  <a:lnTo>
                    <a:pt x="1348" y="1452"/>
                  </a:lnTo>
                  <a:lnTo>
                    <a:pt x="1141" y="1832"/>
                  </a:lnTo>
                  <a:lnTo>
                    <a:pt x="726" y="2419"/>
                  </a:lnTo>
                  <a:lnTo>
                    <a:pt x="415" y="2868"/>
                  </a:lnTo>
                  <a:lnTo>
                    <a:pt x="208" y="3145"/>
                  </a:lnTo>
                  <a:lnTo>
                    <a:pt x="139" y="3283"/>
                  </a:lnTo>
                  <a:lnTo>
                    <a:pt x="104" y="3387"/>
                  </a:lnTo>
                  <a:lnTo>
                    <a:pt x="139" y="3456"/>
                  </a:lnTo>
                  <a:lnTo>
                    <a:pt x="208" y="3560"/>
                  </a:lnTo>
                  <a:lnTo>
                    <a:pt x="312" y="3629"/>
                  </a:lnTo>
                  <a:lnTo>
                    <a:pt x="485" y="3698"/>
                  </a:lnTo>
                  <a:lnTo>
                    <a:pt x="623" y="3801"/>
                  </a:lnTo>
                  <a:lnTo>
                    <a:pt x="692" y="3905"/>
                  </a:lnTo>
                  <a:lnTo>
                    <a:pt x="692" y="4078"/>
                  </a:lnTo>
                  <a:lnTo>
                    <a:pt x="692" y="4251"/>
                  </a:lnTo>
                  <a:lnTo>
                    <a:pt x="554" y="4700"/>
                  </a:lnTo>
                  <a:lnTo>
                    <a:pt x="346" y="5184"/>
                  </a:lnTo>
                  <a:lnTo>
                    <a:pt x="139" y="5668"/>
                  </a:lnTo>
                  <a:lnTo>
                    <a:pt x="70" y="5909"/>
                  </a:lnTo>
                  <a:lnTo>
                    <a:pt x="1" y="6117"/>
                  </a:lnTo>
                  <a:lnTo>
                    <a:pt x="1" y="6290"/>
                  </a:lnTo>
                  <a:lnTo>
                    <a:pt x="35" y="6462"/>
                  </a:lnTo>
                  <a:lnTo>
                    <a:pt x="104" y="6566"/>
                  </a:lnTo>
                  <a:lnTo>
                    <a:pt x="243" y="6670"/>
                  </a:lnTo>
                  <a:lnTo>
                    <a:pt x="623" y="6773"/>
                  </a:lnTo>
                  <a:lnTo>
                    <a:pt x="1037" y="6877"/>
                  </a:lnTo>
                  <a:lnTo>
                    <a:pt x="1487" y="6946"/>
                  </a:lnTo>
                  <a:lnTo>
                    <a:pt x="1901" y="6981"/>
                  </a:lnTo>
                  <a:lnTo>
                    <a:pt x="2316" y="7015"/>
                  </a:lnTo>
                  <a:lnTo>
                    <a:pt x="2731" y="6981"/>
                  </a:lnTo>
                  <a:lnTo>
                    <a:pt x="3145" y="6946"/>
                  </a:lnTo>
                  <a:lnTo>
                    <a:pt x="3526" y="6877"/>
                  </a:lnTo>
                  <a:lnTo>
                    <a:pt x="3906" y="6808"/>
                  </a:lnTo>
                  <a:lnTo>
                    <a:pt x="4251" y="6704"/>
                  </a:lnTo>
                  <a:lnTo>
                    <a:pt x="4562" y="6566"/>
                  </a:lnTo>
                  <a:lnTo>
                    <a:pt x="4873" y="6428"/>
                  </a:lnTo>
                  <a:lnTo>
                    <a:pt x="5115" y="6290"/>
                  </a:lnTo>
                  <a:lnTo>
                    <a:pt x="5357" y="6117"/>
                  </a:lnTo>
                  <a:lnTo>
                    <a:pt x="5530" y="5944"/>
                  </a:lnTo>
                  <a:lnTo>
                    <a:pt x="5668" y="5771"/>
                  </a:lnTo>
                  <a:lnTo>
                    <a:pt x="5944" y="5322"/>
                  </a:lnTo>
                  <a:lnTo>
                    <a:pt x="6186" y="4700"/>
                  </a:lnTo>
                  <a:lnTo>
                    <a:pt x="6428" y="4043"/>
                  </a:lnTo>
                  <a:lnTo>
                    <a:pt x="6670" y="3352"/>
                  </a:lnTo>
                  <a:lnTo>
                    <a:pt x="7050" y="2177"/>
                  </a:lnTo>
                  <a:lnTo>
                    <a:pt x="7189" y="1694"/>
                  </a:lnTo>
                  <a:lnTo>
                    <a:pt x="204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7" name="Google Shape;14187;p81">
              <a:extLst>
                <a:ext uri="{FF2B5EF4-FFF2-40B4-BE49-F238E27FC236}">
                  <a16:creationId xmlns:a16="http://schemas.microsoft.com/office/drawing/2014/main" id="{865D03A9-715D-F023-3F66-50D0E0938125}"/>
                </a:ext>
              </a:extLst>
            </p:cNvPr>
            <p:cNvSpPr/>
            <p:nvPr/>
          </p:nvSpPr>
          <p:spPr>
            <a:xfrm>
              <a:off x="5951625" y="1728350"/>
              <a:ext cx="200450" cy="213425"/>
            </a:xfrm>
            <a:custGeom>
              <a:avLst/>
              <a:gdLst/>
              <a:ahLst/>
              <a:cxnLst/>
              <a:rect l="l" t="t" r="r" b="b"/>
              <a:pathLst>
                <a:path w="8018" h="8537" extrusionOk="0">
                  <a:moveTo>
                    <a:pt x="933" y="1"/>
                  </a:moveTo>
                  <a:lnTo>
                    <a:pt x="761" y="35"/>
                  </a:lnTo>
                  <a:lnTo>
                    <a:pt x="622" y="104"/>
                  </a:lnTo>
                  <a:lnTo>
                    <a:pt x="484" y="208"/>
                  </a:lnTo>
                  <a:lnTo>
                    <a:pt x="346" y="346"/>
                  </a:lnTo>
                  <a:lnTo>
                    <a:pt x="242" y="519"/>
                  </a:lnTo>
                  <a:lnTo>
                    <a:pt x="138" y="726"/>
                  </a:lnTo>
                  <a:lnTo>
                    <a:pt x="35" y="1003"/>
                  </a:lnTo>
                  <a:lnTo>
                    <a:pt x="0" y="1210"/>
                  </a:lnTo>
                  <a:lnTo>
                    <a:pt x="0" y="1383"/>
                  </a:lnTo>
                  <a:lnTo>
                    <a:pt x="35" y="1556"/>
                  </a:lnTo>
                  <a:lnTo>
                    <a:pt x="69" y="1694"/>
                  </a:lnTo>
                  <a:lnTo>
                    <a:pt x="138" y="1832"/>
                  </a:lnTo>
                  <a:lnTo>
                    <a:pt x="208" y="1971"/>
                  </a:lnTo>
                  <a:lnTo>
                    <a:pt x="415" y="2212"/>
                  </a:lnTo>
                  <a:lnTo>
                    <a:pt x="657" y="2420"/>
                  </a:lnTo>
                  <a:lnTo>
                    <a:pt x="968" y="2593"/>
                  </a:lnTo>
                  <a:lnTo>
                    <a:pt x="1590" y="2938"/>
                  </a:lnTo>
                  <a:lnTo>
                    <a:pt x="1728" y="3007"/>
                  </a:lnTo>
                  <a:lnTo>
                    <a:pt x="1832" y="3111"/>
                  </a:lnTo>
                  <a:lnTo>
                    <a:pt x="1866" y="3180"/>
                  </a:lnTo>
                  <a:lnTo>
                    <a:pt x="1901" y="3249"/>
                  </a:lnTo>
                  <a:lnTo>
                    <a:pt x="1935" y="3353"/>
                  </a:lnTo>
                  <a:lnTo>
                    <a:pt x="1901" y="3422"/>
                  </a:lnTo>
                  <a:lnTo>
                    <a:pt x="1832" y="3595"/>
                  </a:lnTo>
                  <a:lnTo>
                    <a:pt x="1763" y="3733"/>
                  </a:lnTo>
                  <a:lnTo>
                    <a:pt x="1694" y="3906"/>
                  </a:lnTo>
                  <a:lnTo>
                    <a:pt x="1694" y="3975"/>
                  </a:lnTo>
                  <a:lnTo>
                    <a:pt x="1694" y="4044"/>
                  </a:lnTo>
                  <a:lnTo>
                    <a:pt x="1728" y="4113"/>
                  </a:lnTo>
                  <a:lnTo>
                    <a:pt x="1763" y="4182"/>
                  </a:lnTo>
                  <a:lnTo>
                    <a:pt x="1901" y="4320"/>
                  </a:lnTo>
                  <a:lnTo>
                    <a:pt x="2039" y="4389"/>
                  </a:lnTo>
                  <a:lnTo>
                    <a:pt x="2143" y="4459"/>
                  </a:lnTo>
                  <a:lnTo>
                    <a:pt x="2246" y="4493"/>
                  </a:lnTo>
                  <a:lnTo>
                    <a:pt x="2523" y="4528"/>
                  </a:lnTo>
                  <a:lnTo>
                    <a:pt x="2972" y="4562"/>
                  </a:lnTo>
                  <a:lnTo>
                    <a:pt x="3179" y="4631"/>
                  </a:lnTo>
                  <a:lnTo>
                    <a:pt x="3387" y="4700"/>
                  </a:lnTo>
                  <a:lnTo>
                    <a:pt x="3525" y="4804"/>
                  </a:lnTo>
                  <a:lnTo>
                    <a:pt x="3629" y="4942"/>
                  </a:lnTo>
                  <a:lnTo>
                    <a:pt x="3629" y="5011"/>
                  </a:lnTo>
                  <a:lnTo>
                    <a:pt x="3629" y="5115"/>
                  </a:lnTo>
                  <a:lnTo>
                    <a:pt x="3560" y="5288"/>
                  </a:lnTo>
                  <a:lnTo>
                    <a:pt x="3387" y="5530"/>
                  </a:lnTo>
                  <a:lnTo>
                    <a:pt x="3076" y="5806"/>
                  </a:lnTo>
                  <a:lnTo>
                    <a:pt x="2938" y="5944"/>
                  </a:lnTo>
                  <a:lnTo>
                    <a:pt x="2799" y="6083"/>
                  </a:lnTo>
                  <a:lnTo>
                    <a:pt x="2730" y="6186"/>
                  </a:lnTo>
                  <a:lnTo>
                    <a:pt x="2696" y="6290"/>
                  </a:lnTo>
                  <a:lnTo>
                    <a:pt x="2696" y="6394"/>
                  </a:lnTo>
                  <a:lnTo>
                    <a:pt x="2696" y="6497"/>
                  </a:lnTo>
                  <a:lnTo>
                    <a:pt x="2765" y="6567"/>
                  </a:lnTo>
                  <a:lnTo>
                    <a:pt x="2834" y="6601"/>
                  </a:lnTo>
                  <a:lnTo>
                    <a:pt x="3007" y="6670"/>
                  </a:lnTo>
                  <a:lnTo>
                    <a:pt x="3283" y="6705"/>
                  </a:lnTo>
                  <a:lnTo>
                    <a:pt x="3525" y="6636"/>
                  </a:lnTo>
                  <a:lnTo>
                    <a:pt x="3801" y="6567"/>
                  </a:lnTo>
                  <a:lnTo>
                    <a:pt x="4043" y="6428"/>
                  </a:lnTo>
                  <a:lnTo>
                    <a:pt x="4216" y="6290"/>
                  </a:lnTo>
                  <a:lnTo>
                    <a:pt x="4389" y="6186"/>
                  </a:lnTo>
                  <a:lnTo>
                    <a:pt x="4562" y="6117"/>
                  </a:lnTo>
                  <a:lnTo>
                    <a:pt x="4700" y="6083"/>
                  </a:lnTo>
                  <a:lnTo>
                    <a:pt x="4838" y="6083"/>
                  </a:lnTo>
                  <a:lnTo>
                    <a:pt x="4976" y="6186"/>
                  </a:lnTo>
                  <a:lnTo>
                    <a:pt x="5149" y="6394"/>
                  </a:lnTo>
                  <a:lnTo>
                    <a:pt x="5184" y="6497"/>
                  </a:lnTo>
                  <a:lnTo>
                    <a:pt x="5184" y="6601"/>
                  </a:lnTo>
                  <a:lnTo>
                    <a:pt x="5149" y="6843"/>
                  </a:lnTo>
                  <a:lnTo>
                    <a:pt x="5046" y="7119"/>
                  </a:lnTo>
                  <a:lnTo>
                    <a:pt x="4907" y="7396"/>
                  </a:lnTo>
                  <a:lnTo>
                    <a:pt x="4804" y="7707"/>
                  </a:lnTo>
                  <a:lnTo>
                    <a:pt x="4700" y="7983"/>
                  </a:lnTo>
                  <a:lnTo>
                    <a:pt x="4631" y="8260"/>
                  </a:lnTo>
                  <a:lnTo>
                    <a:pt x="4665" y="8363"/>
                  </a:lnTo>
                  <a:lnTo>
                    <a:pt x="4700" y="8467"/>
                  </a:lnTo>
                  <a:lnTo>
                    <a:pt x="4700" y="8502"/>
                  </a:lnTo>
                  <a:lnTo>
                    <a:pt x="4769" y="8536"/>
                  </a:lnTo>
                  <a:lnTo>
                    <a:pt x="4907" y="8536"/>
                  </a:lnTo>
                  <a:lnTo>
                    <a:pt x="5115" y="8502"/>
                  </a:lnTo>
                  <a:lnTo>
                    <a:pt x="5391" y="8433"/>
                  </a:lnTo>
                  <a:lnTo>
                    <a:pt x="5668" y="8329"/>
                  </a:lnTo>
                  <a:lnTo>
                    <a:pt x="5979" y="8156"/>
                  </a:lnTo>
                  <a:lnTo>
                    <a:pt x="6324" y="7983"/>
                  </a:lnTo>
                  <a:lnTo>
                    <a:pt x="6635" y="7776"/>
                  </a:lnTo>
                  <a:lnTo>
                    <a:pt x="6981" y="7534"/>
                  </a:lnTo>
                  <a:lnTo>
                    <a:pt x="7257" y="7292"/>
                  </a:lnTo>
                  <a:lnTo>
                    <a:pt x="7499" y="7016"/>
                  </a:lnTo>
                  <a:lnTo>
                    <a:pt x="7706" y="6705"/>
                  </a:lnTo>
                  <a:lnTo>
                    <a:pt x="7879" y="6394"/>
                  </a:lnTo>
                  <a:lnTo>
                    <a:pt x="7948" y="6117"/>
                  </a:lnTo>
                  <a:lnTo>
                    <a:pt x="7948" y="5944"/>
                  </a:lnTo>
                  <a:lnTo>
                    <a:pt x="7948" y="5772"/>
                  </a:lnTo>
                  <a:lnTo>
                    <a:pt x="7914" y="5633"/>
                  </a:lnTo>
                  <a:lnTo>
                    <a:pt x="7845" y="5461"/>
                  </a:lnTo>
                  <a:lnTo>
                    <a:pt x="7741" y="5219"/>
                  </a:lnTo>
                  <a:lnTo>
                    <a:pt x="7672" y="4942"/>
                  </a:lnTo>
                  <a:lnTo>
                    <a:pt x="7637" y="4700"/>
                  </a:lnTo>
                  <a:lnTo>
                    <a:pt x="7672" y="4459"/>
                  </a:lnTo>
                  <a:lnTo>
                    <a:pt x="7741" y="4009"/>
                  </a:lnTo>
                  <a:lnTo>
                    <a:pt x="7845" y="3560"/>
                  </a:lnTo>
                  <a:lnTo>
                    <a:pt x="7983" y="3145"/>
                  </a:lnTo>
                  <a:lnTo>
                    <a:pt x="8017" y="2904"/>
                  </a:lnTo>
                  <a:lnTo>
                    <a:pt x="8017" y="2696"/>
                  </a:lnTo>
                  <a:lnTo>
                    <a:pt x="7983" y="2454"/>
                  </a:lnTo>
                  <a:lnTo>
                    <a:pt x="7948" y="2212"/>
                  </a:lnTo>
                  <a:lnTo>
                    <a:pt x="7845" y="1936"/>
                  </a:lnTo>
                  <a:lnTo>
                    <a:pt x="7706" y="1694"/>
                  </a:lnTo>
                  <a:lnTo>
                    <a:pt x="7603" y="1556"/>
                  </a:lnTo>
                  <a:lnTo>
                    <a:pt x="7499" y="1452"/>
                  </a:lnTo>
                  <a:lnTo>
                    <a:pt x="7361" y="1348"/>
                  </a:lnTo>
                  <a:lnTo>
                    <a:pt x="7223" y="1314"/>
                  </a:lnTo>
                  <a:lnTo>
                    <a:pt x="6946" y="1245"/>
                  </a:lnTo>
                  <a:lnTo>
                    <a:pt x="6635" y="1210"/>
                  </a:lnTo>
                  <a:lnTo>
                    <a:pt x="5840" y="1210"/>
                  </a:lnTo>
                  <a:lnTo>
                    <a:pt x="5668" y="1176"/>
                  </a:lnTo>
                  <a:lnTo>
                    <a:pt x="5460" y="1072"/>
                  </a:lnTo>
                  <a:lnTo>
                    <a:pt x="5287" y="934"/>
                  </a:lnTo>
                  <a:lnTo>
                    <a:pt x="5184" y="796"/>
                  </a:lnTo>
                  <a:lnTo>
                    <a:pt x="5080" y="623"/>
                  </a:lnTo>
                  <a:lnTo>
                    <a:pt x="4976" y="485"/>
                  </a:lnTo>
                  <a:lnTo>
                    <a:pt x="4873" y="346"/>
                  </a:lnTo>
                  <a:lnTo>
                    <a:pt x="4665" y="208"/>
                  </a:lnTo>
                  <a:lnTo>
                    <a:pt x="4423" y="104"/>
                  </a:lnTo>
                  <a:lnTo>
                    <a:pt x="4251" y="35"/>
                  </a:lnTo>
                  <a:lnTo>
                    <a:pt x="4078" y="1"/>
                  </a:lnTo>
                  <a:lnTo>
                    <a:pt x="3905" y="1"/>
                  </a:lnTo>
                  <a:lnTo>
                    <a:pt x="3732" y="35"/>
                  </a:lnTo>
                  <a:lnTo>
                    <a:pt x="3456" y="139"/>
                  </a:lnTo>
                  <a:lnTo>
                    <a:pt x="3214" y="277"/>
                  </a:lnTo>
                  <a:lnTo>
                    <a:pt x="2972" y="415"/>
                  </a:lnTo>
                  <a:lnTo>
                    <a:pt x="2765" y="519"/>
                  </a:lnTo>
                  <a:lnTo>
                    <a:pt x="2592" y="588"/>
                  </a:lnTo>
                  <a:lnTo>
                    <a:pt x="2488" y="588"/>
                  </a:lnTo>
                  <a:lnTo>
                    <a:pt x="2385" y="554"/>
                  </a:lnTo>
                  <a:lnTo>
                    <a:pt x="2108" y="381"/>
                  </a:lnTo>
                  <a:lnTo>
                    <a:pt x="1763" y="208"/>
                  </a:lnTo>
                  <a:lnTo>
                    <a:pt x="1417" y="70"/>
                  </a:lnTo>
                  <a:lnTo>
                    <a:pt x="1072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8" name="Google Shape;14188;p81">
              <a:extLst>
                <a:ext uri="{FF2B5EF4-FFF2-40B4-BE49-F238E27FC236}">
                  <a16:creationId xmlns:a16="http://schemas.microsoft.com/office/drawing/2014/main" id="{A3E0DD8A-3F03-3F85-6875-AB40B31A39AB}"/>
                </a:ext>
              </a:extLst>
            </p:cNvPr>
            <p:cNvSpPr/>
            <p:nvPr/>
          </p:nvSpPr>
          <p:spPr>
            <a:xfrm>
              <a:off x="5788350" y="4358975"/>
              <a:ext cx="118375" cy="213400"/>
            </a:xfrm>
            <a:custGeom>
              <a:avLst/>
              <a:gdLst/>
              <a:ahLst/>
              <a:cxnLst/>
              <a:rect l="l" t="t" r="r" b="b"/>
              <a:pathLst>
                <a:path w="4735" h="8536" extrusionOk="0">
                  <a:moveTo>
                    <a:pt x="4734" y="0"/>
                  </a:moveTo>
                  <a:lnTo>
                    <a:pt x="35" y="173"/>
                  </a:lnTo>
                  <a:lnTo>
                    <a:pt x="0" y="2523"/>
                  </a:lnTo>
                  <a:lnTo>
                    <a:pt x="0" y="4527"/>
                  </a:lnTo>
                  <a:lnTo>
                    <a:pt x="35" y="5425"/>
                  </a:lnTo>
                  <a:lnTo>
                    <a:pt x="69" y="6186"/>
                  </a:lnTo>
                  <a:lnTo>
                    <a:pt x="1382" y="8535"/>
                  </a:lnTo>
                  <a:lnTo>
                    <a:pt x="4458" y="6462"/>
                  </a:lnTo>
                  <a:lnTo>
                    <a:pt x="473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49" name="Google Shape;14189;p81">
              <a:extLst>
                <a:ext uri="{FF2B5EF4-FFF2-40B4-BE49-F238E27FC236}">
                  <a16:creationId xmlns:a16="http://schemas.microsoft.com/office/drawing/2014/main" id="{0B6670E6-9DAD-164B-8EC4-37250DFAEAC4}"/>
                </a:ext>
              </a:extLst>
            </p:cNvPr>
            <p:cNvSpPr/>
            <p:nvPr/>
          </p:nvSpPr>
          <p:spPr>
            <a:xfrm>
              <a:off x="5566325" y="4473875"/>
              <a:ext cx="349025" cy="152925"/>
            </a:xfrm>
            <a:custGeom>
              <a:avLst/>
              <a:gdLst/>
              <a:ahLst/>
              <a:cxnLst/>
              <a:rect l="l" t="t" r="r" b="b"/>
              <a:pathLst>
                <a:path w="13961" h="6117" extrusionOk="0">
                  <a:moveTo>
                    <a:pt x="13477" y="0"/>
                  </a:moveTo>
                  <a:lnTo>
                    <a:pt x="13097" y="104"/>
                  </a:lnTo>
                  <a:lnTo>
                    <a:pt x="12579" y="276"/>
                  </a:lnTo>
                  <a:lnTo>
                    <a:pt x="11957" y="449"/>
                  </a:lnTo>
                  <a:lnTo>
                    <a:pt x="11266" y="587"/>
                  </a:lnTo>
                  <a:lnTo>
                    <a:pt x="10920" y="657"/>
                  </a:lnTo>
                  <a:lnTo>
                    <a:pt x="10574" y="691"/>
                  </a:lnTo>
                  <a:lnTo>
                    <a:pt x="10194" y="691"/>
                  </a:lnTo>
                  <a:lnTo>
                    <a:pt x="9849" y="657"/>
                  </a:lnTo>
                  <a:lnTo>
                    <a:pt x="9503" y="622"/>
                  </a:lnTo>
                  <a:lnTo>
                    <a:pt x="9192" y="518"/>
                  </a:lnTo>
                  <a:lnTo>
                    <a:pt x="8881" y="380"/>
                  </a:lnTo>
                  <a:lnTo>
                    <a:pt x="8570" y="173"/>
                  </a:lnTo>
                  <a:lnTo>
                    <a:pt x="8501" y="138"/>
                  </a:lnTo>
                  <a:lnTo>
                    <a:pt x="8294" y="138"/>
                  </a:lnTo>
                  <a:lnTo>
                    <a:pt x="8190" y="173"/>
                  </a:lnTo>
                  <a:lnTo>
                    <a:pt x="7983" y="311"/>
                  </a:lnTo>
                  <a:lnTo>
                    <a:pt x="7775" y="553"/>
                  </a:lnTo>
                  <a:lnTo>
                    <a:pt x="7533" y="795"/>
                  </a:lnTo>
                  <a:lnTo>
                    <a:pt x="7361" y="1071"/>
                  </a:lnTo>
                  <a:lnTo>
                    <a:pt x="7222" y="1382"/>
                  </a:lnTo>
                  <a:lnTo>
                    <a:pt x="7119" y="1659"/>
                  </a:lnTo>
                  <a:lnTo>
                    <a:pt x="7050" y="1797"/>
                  </a:lnTo>
                  <a:lnTo>
                    <a:pt x="6981" y="1935"/>
                  </a:lnTo>
                  <a:lnTo>
                    <a:pt x="6877" y="2073"/>
                  </a:lnTo>
                  <a:lnTo>
                    <a:pt x="6739" y="2212"/>
                  </a:lnTo>
                  <a:lnTo>
                    <a:pt x="6428" y="2419"/>
                  </a:lnTo>
                  <a:lnTo>
                    <a:pt x="6047" y="2626"/>
                  </a:lnTo>
                  <a:lnTo>
                    <a:pt x="5598" y="2799"/>
                  </a:lnTo>
                  <a:lnTo>
                    <a:pt x="5080" y="2972"/>
                  </a:lnTo>
                  <a:lnTo>
                    <a:pt x="4562" y="3110"/>
                  </a:lnTo>
                  <a:lnTo>
                    <a:pt x="4009" y="3214"/>
                  </a:lnTo>
                  <a:lnTo>
                    <a:pt x="2903" y="3387"/>
                  </a:lnTo>
                  <a:lnTo>
                    <a:pt x="1901" y="3490"/>
                  </a:lnTo>
                  <a:lnTo>
                    <a:pt x="518" y="3663"/>
                  </a:lnTo>
                  <a:lnTo>
                    <a:pt x="415" y="3698"/>
                  </a:lnTo>
                  <a:lnTo>
                    <a:pt x="346" y="3767"/>
                  </a:lnTo>
                  <a:lnTo>
                    <a:pt x="242" y="3905"/>
                  </a:lnTo>
                  <a:lnTo>
                    <a:pt x="173" y="4078"/>
                  </a:lnTo>
                  <a:lnTo>
                    <a:pt x="104" y="4250"/>
                  </a:lnTo>
                  <a:lnTo>
                    <a:pt x="35" y="4458"/>
                  </a:lnTo>
                  <a:lnTo>
                    <a:pt x="0" y="4700"/>
                  </a:lnTo>
                  <a:lnTo>
                    <a:pt x="0" y="4907"/>
                  </a:lnTo>
                  <a:lnTo>
                    <a:pt x="35" y="5149"/>
                  </a:lnTo>
                  <a:lnTo>
                    <a:pt x="104" y="5356"/>
                  </a:lnTo>
                  <a:lnTo>
                    <a:pt x="242" y="5564"/>
                  </a:lnTo>
                  <a:lnTo>
                    <a:pt x="415" y="5736"/>
                  </a:lnTo>
                  <a:lnTo>
                    <a:pt x="622" y="5909"/>
                  </a:lnTo>
                  <a:lnTo>
                    <a:pt x="899" y="6013"/>
                  </a:lnTo>
                  <a:lnTo>
                    <a:pt x="1244" y="6082"/>
                  </a:lnTo>
                  <a:lnTo>
                    <a:pt x="1659" y="6117"/>
                  </a:lnTo>
                  <a:lnTo>
                    <a:pt x="7084" y="6117"/>
                  </a:lnTo>
                  <a:lnTo>
                    <a:pt x="12648" y="6082"/>
                  </a:lnTo>
                  <a:lnTo>
                    <a:pt x="12821" y="6047"/>
                  </a:lnTo>
                  <a:lnTo>
                    <a:pt x="12993" y="6013"/>
                  </a:lnTo>
                  <a:lnTo>
                    <a:pt x="13132" y="5944"/>
                  </a:lnTo>
                  <a:lnTo>
                    <a:pt x="13270" y="5875"/>
                  </a:lnTo>
                  <a:lnTo>
                    <a:pt x="13408" y="5771"/>
                  </a:lnTo>
                  <a:lnTo>
                    <a:pt x="13512" y="5633"/>
                  </a:lnTo>
                  <a:lnTo>
                    <a:pt x="13581" y="5494"/>
                  </a:lnTo>
                  <a:lnTo>
                    <a:pt x="13650" y="5322"/>
                  </a:lnTo>
                  <a:lnTo>
                    <a:pt x="13788" y="4631"/>
                  </a:lnTo>
                  <a:lnTo>
                    <a:pt x="13892" y="3836"/>
                  </a:lnTo>
                  <a:lnTo>
                    <a:pt x="13926" y="2937"/>
                  </a:lnTo>
                  <a:lnTo>
                    <a:pt x="13961" y="2073"/>
                  </a:lnTo>
                  <a:lnTo>
                    <a:pt x="13926" y="1279"/>
                  </a:lnTo>
                  <a:lnTo>
                    <a:pt x="13823" y="622"/>
                  </a:lnTo>
                  <a:lnTo>
                    <a:pt x="13754" y="380"/>
                  </a:lnTo>
                  <a:lnTo>
                    <a:pt x="13684" y="173"/>
                  </a:lnTo>
                  <a:lnTo>
                    <a:pt x="13581" y="35"/>
                  </a:lnTo>
                  <a:lnTo>
                    <a:pt x="1347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0" name="Google Shape;14190;p81">
              <a:extLst>
                <a:ext uri="{FF2B5EF4-FFF2-40B4-BE49-F238E27FC236}">
                  <a16:creationId xmlns:a16="http://schemas.microsoft.com/office/drawing/2014/main" id="{FDA57C55-7107-4B3A-3DA5-7BA501ED20F2}"/>
                </a:ext>
              </a:extLst>
            </p:cNvPr>
            <p:cNvSpPr/>
            <p:nvPr/>
          </p:nvSpPr>
          <p:spPr>
            <a:xfrm>
              <a:off x="6238425" y="4358975"/>
              <a:ext cx="118400" cy="213400"/>
            </a:xfrm>
            <a:custGeom>
              <a:avLst/>
              <a:gdLst/>
              <a:ahLst/>
              <a:cxnLst/>
              <a:rect l="l" t="t" r="r" b="b"/>
              <a:pathLst>
                <a:path w="4736" h="8536" extrusionOk="0">
                  <a:moveTo>
                    <a:pt x="4735" y="0"/>
                  </a:moveTo>
                  <a:lnTo>
                    <a:pt x="36" y="207"/>
                  </a:lnTo>
                  <a:lnTo>
                    <a:pt x="1" y="2557"/>
                  </a:lnTo>
                  <a:lnTo>
                    <a:pt x="36" y="4561"/>
                  </a:lnTo>
                  <a:lnTo>
                    <a:pt x="70" y="5460"/>
                  </a:lnTo>
                  <a:lnTo>
                    <a:pt x="105" y="6220"/>
                  </a:lnTo>
                  <a:lnTo>
                    <a:pt x="1418" y="8535"/>
                  </a:lnTo>
                  <a:lnTo>
                    <a:pt x="4528" y="6462"/>
                  </a:lnTo>
                  <a:lnTo>
                    <a:pt x="473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1" name="Google Shape;14191;p81">
              <a:extLst>
                <a:ext uri="{FF2B5EF4-FFF2-40B4-BE49-F238E27FC236}">
                  <a16:creationId xmlns:a16="http://schemas.microsoft.com/office/drawing/2014/main" id="{C1670E7D-26EF-E58D-61BE-B4042632E2B7}"/>
                </a:ext>
              </a:extLst>
            </p:cNvPr>
            <p:cNvSpPr/>
            <p:nvPr/>
          </p:nvSpPr>
          <p:spPr>
            <a:xfrm>
              <a:off x="6019000" y="4457450"/>
              <a:ext cx="349050" cy="171950"/>
            </a:xfrm>
            <a:custGeom>
              <a:avLst/>
              <a:gdLst/>
              <a:ahLst/>
              <a:cxnLst/>
              <a:rect l="l" t="t" r="r" b="b"/>
              <a:pathLst>
                <a:path w="13962" h="6878" extrusionOk="0">
                  <a:moveTo>
                    <a:pt x="13547" y="0"/>
                  </a:moveTo>
                  <a:lnTo>
                    <a:pt x="13167" y="70"/>
                  </a:lnTo>
                  <a:lnTo>
                    <a:pt x="12717" y="104"/>
                  </a:lnTo>
                  <a:lnTo>
                    <a:pt x="11508" y="173"/>
                  </a:lnTo>
                  <a:lnTo>
                    <a:pt x="10022" y="242"/>
                  </a:lnTo>
                  <a:lnTo>
                    <a:pt x="8398" y="346"/>
                  </a:lnTo>
                  <a:lnTo>
                    <a:pt x="8225" y="381"/>
                  </a:lnTo>
                  <a:lnTo>
                    <a:pt x="8087" y="450"/>
                  </a:lnTo>
                  <a:lnTo>
                    <a:pt x="8018" y="553"/>
                  </a:lnTo>
                  <a:lnTo>
                    <a:pt x="7949" y="692"/>
                  </a:lnTo>
                  <a:lnTo>
                    <a:pt x="7880" y="1072"/>
                  </a:lnTo>
                  <a:lnTo>
                    <a:pt x="7776" y="1555"/>
                  </a:lnTo>
                  <a:lnTo>
                    <a:pt x="7741" y="1694"/>
                  </a:lnTo>
                  <a:lnTo>
                    <a:pt x="7638" y="1867"/>
                  </a:lnTo>
                  <a:lnTo>
                    <a:pt x="7534" y="2005"/>
                  </a:lnTo>
                  <a:lnTo>
                    <a:pt x="7396" y="2143"/>
                  </a:lnTo>
                  <a:lnTo>
                    <a:pt x="7050" y="2419"/>
                  </a:lnTo>
                  <a:lnTo>
                    <a:pt x="6601" y="2661"/>
                  </a:lnTo>
                  <a:lnTo>
                    <a:pt x="6117" y="2903"/>
                  </a:lnTo>
                  <a:lnTo>
                    <a:pt x="5564" y="3145"/>
                  </a:lnTo>
                  <a:lnTo>
                    <a:pt x="4942" y="3352"/>
                  </a:lnTo>
                  <a:lnTo>
                    <a:pt x="4355" y="3525"/>
                  </a:lnTo>
                  <a:lnTo>
                    <a:pt x="3111" y="3871"/>
                  </a:lnTo>
                  <a:lnTo>
                    <a:pt x="1970" y="4113"/>
                  </a:lnTo>
                  <a:lnTo>
                    <a:pt x="1072" y="4320"/>
                  </a:lnTo>
                  <a:lnTo>
                    <a:pt x="484" y="4424"/>
                  </a:lnTo>
                  <a:lnTo>
                    <a:pt x="415" y="4458"/>
                  </a:lnTo>
                  <a:lnTo>
                    <a:pt x="312" y="4527"/>
                  </a:lnTo>
                  <a:lnTo>
                    <a:pt x="208" y="4666"/>
                  </a:lnTo>
                  <a:lnTo>
                    <a:pt x="139" y="4838"/>
                  </a:lnTo>
                  <a:lnTo>
                    <a:pt x="70" y="5011"/>
                  </a:lnTo>
                  <a:lnTo>
                    <a:pt x="1" y="5218"/>
                  </a:lnTo>
                  <a:lnTo>
                    <a:pt x="1" y="5460"/>
                  </a:lnTo>
                  <a:lnTo>
                    <a:pt x="1" y="5668"/>
                  </a:lnTo>
                  <a:lnTo>
                    <a:pt x="35" y="5910"/>
                  </a:lnTo>
                  <a:lnTo>
                    <a:pt x="104" y="6117"/>
                  </a:lnTo>
                  <a:lnTo>
                    <a:pt x="208" y="6324"/>
                  </a:lnTo>
                  <a:lnTo>
                    <a:pt x="381" y="6497"/>
                  </a:lnTo>
                  <a:lnTo>
                    <a:pt x="623" y="6670"/>
                  </a:lnTo>
                  <a:lnTo>
                    <a:pt x="899" y="6774"/>
                  </a:lnTo>
                  <a:lnTo>
                    <a:pt x="1245" y="6843"/>
                  </a:lnTo>
                  <a:lnTo>
                    <a:pt x="1659" y="6877"/>
                  </a:lnTo>
                  <a:lnTo>
                    <a:pt x="7085" y="6808"/>
                  </a:lnTo>
                  <a:lnTo>
                    <a:pt x="12648" y="6739"/>
                  </a:lnTo>
                  <a:lnTo>
                    <a:pt x="12821" y="6704"/>
                  </a:lnTo>
                  <a:lnTo>
                    <a:pt x="12994" y="6670"/>
                  </a:lnTo>
                  <a:lnTo>
                    <a:pt x="13132" y="6601"/>
                  </a:lnTo>
                  <a:lnTo>
                    <a:pt x="13270" y="6532"/>
                  </a:lnTo>
                  <a:lnTo>
                    <a:pt x="13409" y="6393"/>
                  </a:lnTo>
                  <a:lnTo>
                    <a:pt x="13512" y="6290"/>
                  </a:lnTo>
                  <a:lnTo>
                    <a:pt x="13581" y="6117"/>
                  </a:lnTo>
                  <a:lnTo>
                    <a:pt x="13650" y="5979"/>
                  </a:lnTo>
                  <a:lnTo>
                    <a:pt x="13789" y="5253"/>
                  </a:lnTo>
                  <a:lnTo>
                    <a:pt x="13892" y="4389"/>
                  </a:lnTo>
                  <a:lnTo>
                    <a:pt x="13961" y="3387"/>
                  </a:lnTo>
                  <a:lnTo>
                    <a:pt x="13961" y="2419"/>
                  </a:lnTo>
                  <a:lnTo>
                    <a:pt x="13961" y="1486"/>
                  </a:lnTo>
                  <a:lnTo>
                    <a:pt x="13892" y="726"/>
                  </a:lnTo>
                  <a:lnTo>
                    <a:pt x="13823" y="450"/>
                  </a:lnTo>
                  <a:lnTo>
                    <a:pt x="13754" y="208"/>
                  </a:lnTo>
                  <a:lnTo>
                    <a:pt x="13650" y="70"/>
                  </a:lnTo>
                  <a:lnTo>
                    <a:pt x="13616" y="35"/>
                  </a:lnTo>
                  <a:lnTo>
                    <a:pt x="1354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2" name="Google Shape;14192;p81">
              <a:extLst>
                <a:ext uri="{FF2B5EF4-FFF2-40B4-BE49-F238E27FC236}">
                  <a16:creationId xmlns:a16="http://schemas.microsoft.com/office/drawing/2014/main" id="{BD360362-B70B-B682-FA87-4B6D73D5CC1B}"/>
                </a:ext>
              </a:extLst>
            </p:cNvPr>
            <p:cNvSpPr/>
            <p:nvPr/>
          </p:nvSpPr>
          <p:spPr>
            <a:xfrm>
              <a:off x="5740825" y="2709750"/>
              <a:ext cx="672150" cy="1752050"/>
            </a:xfrm>
            <a:custGeom>
              <a:avLst/>
              <a:gdLst/>
              <a:ahLst/>
              <a:cxnLst/>
              <a:rect l="l" t="t" r="r" b="b"/>
              <a:pathLst>
                <a:path w="26886" h="70082" extrusionOk="0">
                  <a:moveTo>
                    <a:pt x="17210" y="1"/>
                  </a:moveTo>
                  <a:lnTo>
                    <a:pt x="16277" y="35"/>
                  </a:lnTo>
                  <a:lnTo>
                    <a:pt x="14445" y="174"/>
                  </a:lnTo>
                  <a:lnTo>
                    <a:pt x="12648" y="346"/>
                  </a:lnTo>
                  <a:lnTo>
                    <a:pt x="10989" y="554"/>
                  </a:lnTo>
                  <a:lnTo>
                    <a:pt x="9504" y="796"/>
                  </a:lnTo>
                  <a:lnTo>
                    <a:pt x="8225" y="1003"/>
                  </a:lnTo>
                  <a:lnTo>
                    <a:pt x="7257" y="1176"/>
                  </a:lnTo>
                  <a:lnTo>
                    <a:pt x="6428" y="1349"/>
                  </a:lnTo>
                  <a:lnTo>
                    <a:pt x="5910" y="4942"/>
                  </a:lnTo>
                  <a:lnTo>
                    <a:pt x="5149" y="9849"/>
                  </a:lnTo>
                  <a:lnTo>
                    <a:pt x="3283" y="21668"/>
                  </a:lnTo>
                  <a:lnTo>
                    <a:pt x="1486" y="32657"/>
                  </a:lnTo>
                  <a:lnTo>
                    <a:pt x="484" y="38600"/>
                  </a:lnTo>
                  <a:lnTo>
                    <a:pt x="415" y="39050"/>
                  </a:lnTo>
                  <a:lnTo>
                    <a:pt x="346" y="39602"/>
                  </a:lnTo>
                  <a:lnTo>
                    <a:pt x="242" y="41054"/>
                  </a:lnTo>
                  <a:lnTo>
                    <a:pt x="139" y="42885"/>
                  </a:lnTo>
                  <a:lnTo>
                    <a:pt x="104" y="45028"/>
                  </a:lnTo>
                  <a:lnTo>
                    <a:pt x="1" y="49935"/>
                  </a:lnTo>
                  <a:lnTo>
                    <a:pt x="1" y="55187"/>
                  </a:lnTo>
                  <a:lnTo>
                    <a:pt x="35" y="60267"/>
                  </a:lnTo>
                  <a:lnTo>
                    <a:pt x="70" y="64587"/>
                  </a:lnTo>
                  <a:lnTo>
                    <a:pt x="104" y="68734"/>
                  </a:lnTo>
                  <a:lnTo>
                    <a:pt x="312" y="69045"/>
                  </a:lnTo>
                  <a:lnTo>
                    <a:pt x="588" y="69321"/>
                  </a:lnTo>
                  <a:lnTo>
                    <a:pt x="934" y="69528"/>
                  </a:lnTo>
                  <a:lnTo>
                    <a:pt x="1279" y="69736"/>
                  </a:lnTo>
                  <a:lnTo>
                    <a:pt x="1694" y="69874"/>
                  </a:lnTo>
                  <a:lnTo>
                    <a:pt x="2143" y="69978"/>
                  </a:lnTo>
                  <a:lnTo>
                    <a:pt x="2592" y="70047"/>
                  </a:lnTo>
                  <a:lnTo>
                    <a:pt x="3111" y="70081"/>
                  </a:lnTo>
                  <a:lnTo>
                    <a:pt x="3594" y="70081"/>
                  </a:lnTo>
                  <a:lnTo>
                    <a:pt x="4113" y="70012"/>
                  </a:lnTo>
                  <a:lnTo>
                    <a:pt x="4631" y="69943"/>
                  </a:lnTo>
                  <a:lnTo>
                    <a:pt x="5115" y="69839"/>
                  </a:lnTo>
                  <a:lnTo>
                    <a:pt x="5633" y="69701"/>
                  </a:lnTo>
                  <a:lnTo>
                    <a:pt x="6082" y="69528"/>
                  </a:lnTo>
                  <a:lnTo>
                    <a:pt x="6566" y="69321"/>
                  </a:lnTo>
                  <a:lnTo>
                    <a:pt x="6981" y="69114"/>
                  </a:lnTo>
                  <a:lnTo>
                    <a:pt x="7050" y="68975"/>
                  </a:lnTo>
                  <a:lnTo>
                    <a:pt x="7085" y="68734"/>
                  </a:lnTo>
                  <a:lnTo>
                    <a:pt x="7188" y="67939"/>
                  </a:lnTo>
                  <a:lnTo>
                    <a:pt x="7257" y="66764"/>
                  </a:lnTo>
                  <a:lnTo>
                    <a:pt x="7292" y="65278"/>
                  </a:lnTo>
                  <a:lnTo>
                    <a:pt x="7326" y="61477"/>
                  </a:lnTo>
                  <a:lnTo>
                    <a:pt x="7396" y="56915"/>
                  </a:lnTo>
                  <a:lnTo>
                    <a:pt x="7465" y="52043"/>
                  </a:lnTo>
                  <a:lnTo>
                    <a:pt x="7568" y="49589"/>
                  </a:lnTo>
                  <a:lnTo>
                    <a:pt x="7672" y="47205"/>
                  </a:lnTo>
                  <a:lnTo>
                    <a:pt x="7810" y="44924"/>
                  </a:lnTo>
                  <a:lnTo>
                    <a:pt x="8018" y="42816"/>
                  </a:lnTo>
                  <a:lnTo>
                    <a:pt x="8121" y="41814"/>
                  </a:lnTo>
                  <a:lnTo>
                    <a:pt x="8259" y="40881"/>
                  </a:lnTo>
                  <a:lnTo>
                    <a:pt x="8398" y="40017"/>
                  </a:lnTo>
                  <a:lnTo>
                    <a:pt x="8536" y="39222"/>
                  </a:lnTo>
                  <a:lnTo>
                    <a:pt x="9020" y="37218"/>
                  </a:lnTo>
                  <a:lnTo>
                    <a:pt x="9573" y="35076"/>
                  </a:lnTo>
                  <a:lnTo>
                    <a:pt x="10195" y="32829"/>
                  </a:lnTo>
                  <a:lnTo>
                    <a:pt x="10886" y="30618"/>
                  </a:lnTo>
                  <a:lnTo>
                    <a:pt x="11542" y="28441"/>
                  </a:lnTo>
                  <a:lnTo>
                    <a:pt x="12233" y="26367"/>
                  </a:lnTo>
                  <a:lnTo>
                    <a:pt x="13408" y="22808"/>
                  </a:lnTo>
                  <a:lnTo>
                    <a:pt x="14203" y="20493"/>
                  </a:lnTo>
                  <a:lnTo>
                    <a:pt x="14549" y="19594"/>
                  </a:lnTo>
                  <a:lnTo>
                    <a:pt x="15620" y="26989"/>
                  </a:lnTo>
                  <a:lnTo>
                    <a:pt x="16000" y="29477"/>
                  </a:lnTo>
                  <a:lnTo>
                    <a:pt x="16277" y="31516"/>
                  </a:lnTo>
                  <a:lnTo>
                    <a:pt x="16518" y="33486"/>
                  </a:lnTo>
                  <a:lnTo>
                    <a:pt x="16691" y="35559"/>
                  </a:lnTo>
                  <a:lnTo>
                    <a:pt x="16864" y="38117"/>
                  </a:lnTo>
                  <a:lnTo>
                    <a:pt x="17037" y="41434"/>
                  </a:lnTo>
                  <a:lnTo>
                    <a:pt x="17486" y="50799"/>
                  </a:lnTo>
                  <a:lnTo>
                    <a:pt x="17866" y="59334"/>
                  </a:lnTo>
                  <a:lnTo>
                    <a:pt x="18246" y="67939"/>
                  </a:lnTo>
                  <a:lnTo>
                    <a:pt x="19352" y="68181"/>
                  </a:lnTo>
                  <a:lnTo>
                    <a:pt x="20320" y="68353"/>
                  </a:lnTo>
                  <a:lnTo>
                    <a:pt x="21184" y="68492"/>
                  </a:lnTo>
                  <a:lnTo>
                    <a:pt x="21978" y="68561"/>
                  </a:lnTo>
                  <a:lnTo>
                    <a:pt x="22739" y="68561"/>
                  </a:lnTo>
                  <a:lnTo>
                    <a:pt x="23084" y="68492"/>
                  </a:lnTo>
                  <a:lnTo>
                    <a:pt x="23464" y="68457"/>
                  </a:lnTo>
                  <a:lnTo>
                    <a:pt x="23844" y="68353"/>
                  </a:lnTo>
                  <a:lnTo>
                    <a:pt x="24225" y="68250"/>
                  </a:lnTo>
                  <a:lnTo>
                    <a:pt x="24605" y="68112"/>
                  </a:lnTo>
                  <a:lnTo>
                    <a:pt x="25019" y="67939"/>
                  </a:lnTo>
                  <a:lnTo>
                    <a:pt x="25054" y="66315"/>
                  </a:lnTo>
                  <a:lnTo>
                    <a:pt x="25123" y="63619"/>
                  </a:lnTo>
                  <a:lnTo>
                    <a:pt x="25296" y="56155"/>
                  </a:lnTo>
                  <a:lnTo>
                    <a:pt x="25399" y="51939"/>
                  </a:lnTo>
                  <a:lnTo>
                    <a:pt x="25469" y="47792"/>
                  </a:lnTo>
                  <a:lnTo>
                    <a:pt x="25503" y="44026"/>
                  </a:lnTo>
                  <a:lnTo>
                    <a:pt x="25469" y="42332"/>
                  </a:lnTo>
                  <a:lnTo>
                    <a:pt x="25469" y="40847"/>
                  </a:lnTo>
                  <a:lnTo>
                    <a:pt x="25434" y="39430"/>
                  </a:lnTo>
                  <a:lnTo>
                    <a:pt x="25434" y="37909"/>
                  </a:lnTo>
                  <a:lnTo>
                    <a:pt x="25469" y="34730"/>
                  </a:lnTo>
                  <a:lnTo>
                    <a:pt x="25572" y="31447"/>
                  </a:lnTo>
                  <a:lnTo>
                    <a:pt x="25745" y="28199"/>
                  </a:lnTo>
                  <a:lnTo>
                    <a:pt x="25952" y="25123"/>
                  </a:lnTo>
                  <a:lnTo>
                    <a:pt x="26125" y="22393"/>
                  </a:lnTo>
                  <a:lnTo>
                    <a:pt x="26332" y="20113"/>
                  </a:lnTo>
                  <a:lnTo>
                    <a:pt x="26505" y="18454"/>
                  </a:lnTo>
                  <a:lnTo>
                    <a:pt x="26643" y="17141"/>
                  </a:lnTo>
                  <a:lnTo>
                    <a:pt x="26747" y="15931"/>
                  </a:lnTo>
                  <a:lnTo>
                    <a:pt x="26816" y="14895"/>
                  </a:lnTo>
                  <a:lnTo>
                    <a:pt x="26851" y="13893"/>
                  </a:lnTo>
                  <a:lnTo>
                    <a:pt x="26885" y="12165"/>
                  </a:lnTo>
                  <a:lnTo>
                    <a:pt x="26851" y="10644"/>
                  </a:lnTo>
                  <a:lnTo>
                    <a:pt x="26782" y="9297"/>
                  </a:lnTo>
                  <a:lnTo>
                    <a:pt x="26713" y="7776"/>
                  </a:lnTo>
                  <a:lnTo>
                    <a:pt x="26713" y="7016"/>
                  </a:lnTo>
                  <a:lnTo>
                    <a:pt x="26713" y="6256"/>
                  </a:lnTo>
                  <a:lnTo>
                    <a:pt x="26678" y="5046"/>
                  </a:lnTo>
                  <a:lnTo>
                    <a:pt x="26609" y="3768"/>
                  </a:lnTo>
                  <a:lnTo>
                    <a:pt x="26574" y="3456"/>
                  </a:lnTo>
                  <a:lnTo>
                    <a:pt x="26505" y="3180"/>
                  </a:lnTo>
                  <a:lnTo>
                    <a:pt x="26402" y="2904"/>
                  </a:lnTo>
                  <a:lnTo>
                    <a:pt x="26263" y="2627"/>
                  </a:lnTo>
                  <a:lnTo>
                    <a:pt x="26125" y="2385"/>
                  </a:lnTo>
                  <a:lnTo>
                    <a:pt x="25952" y="2143"/>
                  </a:lnTo>
                  <a:lnTo>
                    <a:pt x="25780" y="1936"/>
                  </a:lnTo>
                  <a:lnTo>
                    <a:pt x="25572" y="1729"/>
                  </a:lnTo>
                  <a:lnTo>
                    <a:pt x="25330" y="1556"/>
                  </a:lnTo>
                  <a:lnTo>
                    <a:pt x="25088" y="1383"/>
                  </a:lnTo>
                  <a:lnTo>
                    <a:pt x="24501" y="1038"/>
                  </a:lnTo>
                  <a:lnTo>
                    <a:pt x="23879" y="796"/>
                  </a:lnTo>
                  <a:lnTo>
                    <a:pt x="23188" y="554"/>
                  </a:lnTo>
                  <a:lnTo>
                    <a:pt x="22462" y="381"/>
                  </a:lnTo>
                  <a:lnTo>
                    <a:pt x="21667" y="243"/>
                  </a:lnTo>
                  <a:lnTo>
                    <a:pt x="20838" y="139"/>
                  </a:lnTo>
                  <a:lnTo>
                    <a:pt x="19940" y="70"/>
                  </a:lnTo>
                  <a:lnTo>
                    <a:pt x="19076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3" name="Google Shape;14193;p81">
              <a:extLst>
                <a:ext uri="{FF2B5EF4-FFF2-40B4-BE49-F238E27FC236}">
                  <a16:creationId xmlns:a16="http://schemas.microsoft.com/office/drawing/2014/main" id="{E145B42E-54FB-E59A-BB8B-8DB91DF4F02E}"/>
                </a:ext>
              </a:extLst>
            </p:cNvPr>
            <p:cNvSpPr/>
            <p:nvPr/>
          </p:nvSpPr>
          <p:spPr>
            <a:xfrm>
              <a:off x="5740825" y="2709750"/>
              <a:ext cx="672150" cy="1752050"/>
            </a:xfrm>
            <a:custGeom>
              <a:avLst/>
              <a:gdLst/>
              <a:ahLst/>
              <a:cxnLst/>
              <a:rect l="l" t="t" r="r" b="b"/>
              <a:pathLst>
                <a:path w="26886" h="70082" fill="none" extrusionOk="0">
                  <a:moveTo>
                    <a:pt x="26747" y="15931"/>
                  </a:moveTo>
                  <a:lnTo>
                    <a:pt x="26747" y="15931"/>
                  </a:lnTo>
                  <a:lnTo>
                    <a:pt x="26643" y="17141"/>
                  </a:lnTo>
                  <a:lnTo>
                    <a:pt x="26505" y="18454"/>
                  </a:lnTo>
                  <a:lnTo>
                    <a:pt x="26505" y="18454"/>
                  </a:lnTo>
                  <a:lnTo>
                    <a:pt x="26332" y="20113"/>
                  </a:lnTo>
                  <a:lnTo>
                    <a:pt x="26125" y="22393"/>
                  </a:lnTo>
                  <a:lnTo>
                    <a:pt x="25952" y="25123"/>
                  </a:lnTo>
                  <a:lnTo>
                    <a:pt x="25745" y="28199"/>
                  </a:lnTo>
                  <a:lnTo>
                    <a:pt x="25572" y="31447"/>
                  </a:lnTo>
                  <a:lnTo>
                    <a:pt x="25469" y="34730"/>
                  </a:lnTo>
                  <a:lnTo>
                    <a:pt x="25434" y="37909"/>
                  </a:lnTo>
                  <a:lnTo>
                    <a:pt x="25434" y="39430"/>
                  </a:lnTo>
                  <a:lnTo>
                    <a:pt x="25469" y="40847"/>
                  </a:lnTo>
                  <a:lnTo>
                    <a:pt x="25469" y="40847"/>
                  </a:lnTo>
                  <a:lnTo>
                    <a:pt x="25469" y="42332"/>
                  </a:lnTo>
                  <a:lnTo>
                    <a:pt x="25503" y="44026"/>
                  </a:lnTo>
                  <a:lnTo>
                    <a:pt x="25469" y="47792"/>
                  </a:lnTo>
                  <a:lnTo>
                    <a:pt x="25399" y="51939"/>
                  </a:lnTo>
                  <a:lnTo>
                    <a:pt x="25296" y="56155"/>
                  </a:lnTo>
                  <a:lnTo>
                    <a:pt x="25123" y="63619"/>
                  </a:lnTo>
                  <a:lnTo>
                    <a:pt x="25054" y="66315"/>
                  </a:lnTo>
                  <a:lnTo>
                    <a:pt x="25019" y="67939"/>
                  </a:lnTo>
                  <a:lnTo>
                    <a:pt x="25019" y="67939"/>
                  </a:lnTo>
                  <a:lnTo>
                    <a:pt x="24605" y="68112"/>
                  </a:lnTo>
                  <a:lnTo>
                    <a:pt x="24225" y="68250"/>
                  </a:lnTo>
                  <a:lnTo>
                    <a:pt x="23844" y="68353"/>
                  </a:lnTo>
                  <a:lnTo>
                    <a:pt x="23464" y="68457"/>
                  </a:lnTo>
                  <a:lnTo>
                    <a:pt x="23084" y="68492"/>
                  </a:lnTo>
                  <a:lnTo>
                    <a:pt x="22739" y="68561"/>
                  </a:lnTo>
                  <a:lnTo>
                    <a:pt x="22358" y="68561"/>
                  </a:lnTo>
                  <a:lnTo>
                    <a:pt x="21978" y="68561"/>
                  </a:lnTo>
                  <a:lnTo>
                    <a:pt x="21184" y="68492"/>
                  </a:lnTo>
                  <a:lnTo>
                    <a:pt x="20320" y="68353"/>
                  </a:lnTo>
                  <a:lnTo>
                    <a:pt x="19352" y="68181"/>
                  </a:lnTo>
                  <a:lnTo>
                    <a:pt x="18246" y="67939"/>
                  </a:lnTo>
                  <a:lnTo>
                    <a:pt x="18246" y="67939"/>
                  </a:lnTo>
                  <a:lnTo>
                    <a:pt x="17866" y="59334"/>
                  </a:lnTo>
                  <a:lnTo>
                    <a:pt x="17486" y="50799"/>
                  </a:lnTo>
                  <a:lnTo>
                    <a:pt x="17037" y="41434"/>
                  </a:lnTo>
                  <a:lnTo>
                    <a:pt x="17037" y="41434"/>
                  </a:lnTo>
                  <a:lnTo>
                    <a:pt x="16864" y="38117"/>
                  </a:lnTo>
                  <a:lnTo>
                    <a:pt x="16691" y="35559"/>
                  </a:lnTo>
                  <a:lnTo>
                    <a:pt x="16518" y="33486"/>
                  </a:lnTo>
                  <a:lnTo>
                    <a:pt x="16277" y="31516"/>
                  </a:lnTo>
                  <a:lnTo>
                    <a:pt x="16000" y="29477"/>
                  </a:lnTo>
                  <a:lnTo>
                    <a:pt x="15620" y="26989"/>
                  </a:lnTo>
                  <a:lnTo>
                    <a:pt x="14549" y="19594"/>
                  </a:lnTo>
                  <a:lnTo>
                    <a:pt x="14549" y="19594"/>
                  </a:lnTo>
                  <a:lnTo>
                    <a:pt x="14549" y="19594"/>
                  </a:lnTo>
                  <a:lnTo>
                    <a:pt x="14203" y="20493"/>
                  </a:lnTo>
                  <a:lnTo>
                    <a:pt x="13408" y="22808"/>
                  </a:lnTo>
                  <a:lnTo>
                    <a:pt x="13408" y="22808"/>
                  </a:lnTo>
                  <a:lnTo>
                    <a:pt x="12233" y="26367"/>
                  </a:lnTo>
                  <a:lnTo>
                    <a:pt x="11542" y="28441"/>
                  </a:lnTo>
                  <a:lnTo>
                    <a:pt x="10886" y="30618"/>
                  </a:lnTo>
                  <a:lnTo>
                    <a:pt x="10195" y="32829"/>
                  </a:lnTo>
                  <a:lnTo>
                    <a:pt x="9573" y="35076"/>
                  </a:lnTo>
                  <a:lnTo>
                    <a:pt x="9020" y="37218"/>
                  </a:lnTo>
                  <a:lnTo>
                    <a:pt x="8536" y="39222"/>
                  </a:lnTo>
                  <a:lnTo>
                    <a:pt x="8536" y="39222"/>
                  </a:lnTo>
                  <a:lnTo>
                    <a:pt x="8398" y="40017"/>
                  </a:lnTo>
                  <a:lnTo>
                    <a:pt x="8259" y="40881"/>
                  </a:lnTo>
                  <a:lnTo>
                    <a:pt x="8121" y="41814"/>
                  </a:lnTo>
                  <a:lnTo>
                    <a:pt x="8018" y="42816"/>
                  </a:lnTo>
                  <a:lnTo>
                    <a:pt x="7810" y="44924"/>
                  </a:lnTo>
                  <a:lnTo>
                    <a:pt x="7672" y="47205"/>
                  </a:lnTo>
                  <a:lnTo>
                    <a:pt x="7568" y="49589"/>
                  </a:lnTo>
                  <a:lnTo>
                    <a:pt x="7465" y="52043"/>
                  </a:lnTo>
                  <a:lnTo>
                    <a:pt x="7396" y="56915"/>
                  </a:lnTo>
                  <a:lnTo>
                    <a:pt x="7326" y="61477"/>
                  </a:lnTo>
                  <a:lnTo>
                    <a:pt x="7292" y="65278"/>
                  </a:lnTo>
                  <a:lnTo>
                    <a:pt x="7257" y="66764"/>
                  </a:lnTo>
                  <a:lnTo>
                    <a:pt x="7188" y="67939"/>
                  </a:lnTo>
                  <a:lnTo>
                    <a:pt x="7085" y="68734"/>
                  </a:lnTo>
                  <a:lnTo>
                    <a:pt x="7050" y="68975"/>
                  </a:lnTo>
                  <a:lnTo>
                    <a:pt x="6981" y="69114"/>
                  </a:lnTo>
                  <a:lnTo>
                    <a:pt x="6981" y="69114"/>
                  </a:lnTo>
                  <a:lnTo>
                    <a:pt x="6566" y="69321"/>
                  </a:lnTo>
                  <a:lnTo>
                    <a:pt x="6082" y="69528"/>
                  </a:lnTo>
                  <a:lnTo>
                    <a:pt x="5633" y="69701"/>
                  </a:lnTo>
                  <a:lnTo>
                    <a:pt x="5115" y="69839"/>
                  </a:lnTo>
                  <a:lnTo>
                    <a:pt x="4631" y="69943"/>
                  </a:lnTo>
                  <a:lnTo>
                    <a:pt x="4113" y="70012"/>
                  </a:lnTo>
                  <a:lnTo>
                    <a:pt x="3594" y="70081"/>
                  </a:lnTo>
                  <a:lnTo>
                    <a:pt x="3111" y="70081"/>
                  </a:lnTo>
                  <a:lnTo>
                    <a:pt x="2592" y="70047"/>
                  </a:lnTo>
                  <a:lnTo>
                    <a:pt x="2143" y="69978"/>
                  </a:lnTo>
                  <a:lnTo>
                    <a:pt x="1694" y="69874"/>
                  </a:lnTo>
                  <a:lnTo>
                    <a:pt x="1279" y="69736"/>
                  </a:lnTo>
                  <a:lnTo>
                    <a:pt x="934" y="69528"/>
                  </a:lnTo>
                  <a:lnTo>
                    <a:pt x="588" y="69321"/>
                  </a:lnTo>
                  <a:lnTo>
                    <a:pt x="312" y="69045"/>
                  </a:lnTo>
                  <a:lnTo>
                    <a:pt x="104" y="68734"/>
                  </a:lnTo>
                  <a:lnTo>
                    <a:pt x="104" y="68734"/>
                  </a:lnTo>
                  <a:lnTo>
                    <a:pt x="70" y="64587"/>
                  </a:lnTo>
                  <a:lnTo>
                    <a:pt x="35" y="60267"/>
                  </a:lnTo>
                  <a:lnTo>
                    <a:pt x="1" y="55187"/>
                  </a:lnTo>
                  <a:lnTo>
                    <a:pt x="1" y="49935"/>
                  </a:lnTo>
                  <a:lnTo>
                    <a:pt x="104" y="45028"/>
                  </a:lnTo>
                  <a:lnTo>
                    <a:pt x="139" y="42885"/>
                  </a:lnTo>
                  <a:lnTo>
                    <a:pt x="242" y="41054"/>
                  </a:lnTo>
                  <a:lnTo>
                    <a:pt x="346" y="39602"/>
                  </a:lnTo>
                  <a:lnTo>
                    <a:pt x="415" y="39050"/>
                  </a:lnTo>
                  <a:lnTo>
                    <a:pt x="484" y="38600"/>
                  </a:lnTo>
                  <a:lnTo>
                    <a:pt x="484" y="38600"/>
                  </a:lnTo>
                  <a:lnTo>
                    <a:pt x="1486" y="32657"/>
                  </a:lnTo>
                  <a:lnTo>
                    <a:pt x="3283" y="21668"/>
                  </a:lnTo>
                  <a:lnTo>
                    <a:pt x="5149" y="9849"/>
                  </a:lnTo>
                  <a:lnTo>
                    <a:pt x="5910" y="4942"/>
                  </a:lnTo>
                  <a:lnTo>
                    <a:pt x="6428" y="1349"/>
                  </a:lnTo>
                  <a:lnTo>
                    <a:pt x="6428" y="1349"/>
                  </a:lnTo>
                  <a:lnTo>
                    <a:pt x="7257" y="1176"/>
                  </a:lnTo>
                  <a:lnTo>
                    <a:pt x="8225" y="1003"/>
                  </a:lnTo>
                  <a:lnTo>
                    <a:pt x="9504" y="796"/>
                  </a:lnTo>
                  <a:lnTo>
                    <a:pt x="10989" y="554"/>
                  </a:lnTo>
                  <a:lnTo>
                    <a:pt x="12648" y="346"/>
                  </a:lnTo>
                  <a:lnTo>
                    <a:pt x="14445" y="174"/>
                  </a:lnTo>
                  <a:lnTo>
                    <a:pt x="16277" y="35"/>
                  </a:lnTo>
                  <a:lnTo>
                    <a:pt x="17210" y="1"/>
                  </a:lnTo>
                  <a:lnTo>
                    <a:pt x="18143" y="1"/>
                  </a:lnTo>
                  <a:lnTo>
                    <a:pt x="19076" y="1"/>
                  </a:lnTo>
                  <a:lnTo>
                    <a:pt x="19940" y="70"/>
                  </a:lnTo>
                  <a:lnTo>
                    <a:pt x="20838" y="139"/>
                  </a:lnTo>
                  <a:lnTo>
                    <a:pt x="21667" y="243"/>
                  </a:lnTo>
                  <a:lnTo>
                    <a:pt x="22462" y="381"/>
                  </a:lnTo>
                  <a:lnTo>
                    <a:pt x="23188" y="554"/>
                  </a:lnTo>
                  <a:lnTo>
                    <a:pt x="23879" y="796"/>
                  </a:lnTo>
                  <a:lnTo>
                    <a:pt x="24501" y="1038"/>
                  </a:lnTo>
                  <a:lnTo>
                    <a:pt x="25088" y="1383"/>
                  </a:lnTo>
                  <a:lnTo>
                    <a:pt x="25330" y="1556"/>
                  </a:lnTo>
                  <a:lnTo>
                    <a:pt x="25572" y="1729"/>
                  </a:lnTo>
                  <a:lnTo>
                    <a:pt x="25780" y="1936"/>
                  </a:lnTo>
                  <a:lnTo>
                    <a:pt x="25952" y="2143"/>
                  </a:lnTo>
                  <a:lnTo>
                    <a:pt x="26125" y="2385"/>
                  </a:lnTo>
                  <a:lnTo>
                    <a:pt x="26263" y="2627"/>
                  </a:lnTo>
                  <a:lnTo>
                    <a:pt x="26402" y="2904"/>
                  </a:lnTo>
                  <a:lnTo>
                    <a:pt x="26505" y="3180"/>
                  </a:lnTo>
                  <a:lnTo>
                    <a:pt x="26574" y="3456"/>
                  </a:lnTo>
                  <a:lnTo>
                    <a:pt x="26609" y="3768"/>
                  </a:lnTo>
                  <a:lnTo>
                    <a:pt x="26609" y="3768"/>
                  </a:lnTo>
                  <a:lnTo>
                    <a:pt x="26678" y="5046"/>
                  </a:lnTo>
                  <a:lnTo>
                    <a:pt x="26713" y="6256"/>
                  </a:lnTo>
                  <a:lnTo>
                    <a:pt x="26713" y="6256"/>
                  </a:lnTo>
                  <a:lnTo>
                    <a:pt x="26713" y="7016"/>
                  </a:lnTo>
                  <a:lnTo>
                    <a:pt x="26713" y="7776"/>
                  </a:lnTo>
                  <a:lnTo>
                    <a:pt x="26782" y="9297"/>
                  </a:lnTo>
                  <a:lnTo>
                    <a:pt x="26782" y="9297"/>
                  </a:lnTo>
                  <a:lnTo>
                    <a:pt x="26851" y="10644"/>
                  </a:lnTo>
                  <a:lnTo>
                    <a:pt x="26885" y="12165"/>
                  </a:lnTo>
                  <a:lnTo>
                    <a:pt x="26851" y="13893"/>
                  </a:lnTo>
                  <a:lnTo>
                    <a:pt x="26816" y="14895"/>
                  </a:lnTo>
                  <a:lnTo>
                    <a:pt x="26747" y="1593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4" name="Google Shape;14194;p81">
              <a:extLst>
                <a:ext uri="{FF2B5EF4-FFF2-40B4-BE49-F238E27FC236}">
                  <a16:creationId xmlns:a16="http://schemas.microsoft.com/office/drawing/2014/main" id="{64874EAD-F22B-66DB-C79A-22F7B30E09AA}"/>
                </a:ext>
              </a:extLst>
            </p:cNvPr>
            <p:cNvSpPr/>
            <p:nvPr/>
          </p:nvSpPr>
          <p:spPr>
            <a:xfrm>
              <a:off x="6146000" y="3107150"/>
              <a:ext cx="1750" cy="900"/>
            </a:xfrm>
            <a:custGeom>
              <a:avLst/>
              <a:gdLst/>
              <a:ahLst/>
              <a:cxnLst/>
              <a:rect l="l" t="t" r="r" b="b"/>
              <a:pathLst>
                <a:path w="70" h="36" extrusionOk="0">
                  <a:moveTo>
                    <a:pt x="0" y="1"/>
                  </a:moveTo>
                  <a:lnTo>
                    <a:pt x="35" y="35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3434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5" name="Google Shape;14195;p81">
              <a:extLst>
                <a:ext uri="{FF2B5EF4-FFF2-40B4-BE49-F238E27FC236}">
                  <a16:creationId xmlns:a16="http://schemas.microsoft.com/office/drawing/2014/main" id="{C9FA5316-E753-61CC-8CA7-BCFB1F1B15CD}"/>
                </a:ext>
              </a:extLst>
            </p:cNvPr>
            <p:cNvSpPr/>
            <p:nvPr/>
          </p:nvSpPr>
          <p:spPr>
            <a:xfrm>
              <a:off x="6146000" y="3107150"/>
              <a:ext cx="1750" cy="900"/>
            </a:xfrm>
            <a:custGeom>
              <a:avLst/>
              <a:gdLst/>
              <a:ahLst/>
              <a:cxnLst/>
              <a:rect l="l" t="t" r="r" b="b"/>
              <a:pathLst>
                <a:path w="70" h="36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35" y="35"/>
                  </a:lnTo>
                  <a:lnTo>
                    <a:pt x="7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6" name="Google Shape;14196;p81">
              <a:extLst>
                <a:ext uri="{FF2B5EF4-FFF2-40B4-BE49-F238E27FC236}">
                  <a16:creationId xmlns:a16="http://schemas.microsoft.com/office/drawing/2014/main" id="{DB2D56A2-8564-BF36-0A8E-95AB53AAD9D7}"/>
                </a:ext>
              </a:extLst>
            </p:cNvPr>
            <p:cNvSpPr/>
            <p:nvPr/>
          </p:nvSpPr>
          <p:spPr>
            <a:xfrm>
              <a:off x="6084650" y="3115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131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7" name="Google Shape;14197;p81">
              <a:extLst>
                <a:ext uri="{FF2B5EF4-FFF2-40B4-BE49-F238E27FC236}">
                  <a16:creationId xmlns:a16="http://schemas.microsoft.com/office/drawing/2014/main" id="{FF0C492A-7DFB-AB8C-3D11-B7D2C9098AD3}"/>
                </a:ext>
              </a:extLst>
            </p:cNvPr>
            <p:cNvSpPr/>
            <p:nvPr/>
          </p:nvSpPr>
          <p:spPr>
            <a:xfrm>
              <a:off x="6084650" y="3115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8" name="Google Shape;14198;p81">
              <a:extLst>
                <a:ext uri="{FF2B5EF4-FFF2-40B4-BE49-F238E27FC236}">
                  <a16:creationId xmlns:a16="http://schemas.microsoft.com/office/drawing/2014/main" id="{8B9FE04C-E04B-76F5-B932-989E7E33346C}"/>
                </a:ext>
              </a:extLst>
            </p:cNvPr>
            <p:cNvSpPr/>
            <p:nvPr/>
          </p:nvSpPr>
          <p:spPr>
            <a:xfrm>
              <a:off x="6087250" y="3199600"/>
              <a:ext cx="17300" cy="47525"/>
            </a:xfrm>
            <a:custGeom>
              <a:avLst/>
              <a:gdLst/>
              <a:ahLst/>
              <a:cxnLst/>
              <a:rect l="l" t="t" r="r" b="b"/>
              <a:pathLst>
                <a:path w="692" h="1901" extrusionOk="0">
                  <a:moveTo>
                    <a:pt x="692" y="0"/>
                  </a:moveTo>
                  <a:lnTo>
                    <a:pt x="692" y="0"/>
                  </a:lnTo>
                  <a:lnTo>
                    <a:pt x="1" y="1901"/>
                  </a:lnTo>
                  <a:lnTo>
                    <a:pt x="1" y="1901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rgbClr val="8686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59" name="Google Shape;14199;p81">
              <a:extLst>
                <a:ext uri="{FF2B5EF4-FFF2-40B4-BE49-F238E27FC236}">
                  <a16:creationId xmlns:a16="http://schemas.microsoft.com/office/drawing/2014/main" id="{95F94A80-2189-014C-1B78-F63A5092D276}"/>
                </a:ext>
              </a:extLst>
            </p:cNvPr>
            <p:cNvSpPr/>
            <p:nvPr/>
          </p:nvSpPr>
          <p:spPr>
            <a:xfrm>
              <a:off x="6087250" y="3199600"/>
              <a:ext cx="17300" cy="47525"/>
            </a:xfrm>
            <a:custGeom>
              <a:avLst/>
              <a:gdLst/>
              <a:ahLst/>
              <a:cxnLst/>
              <a:rect l="l" t="t" r="r" b="b"/>
              <a:pathLst>
                <a:path w="692" h="1901" fill="none" extrusionOk="0">
                  <a:moveTo>
                    <a:pt x="692" y="0"/>
                  </a:moveTo>
                  <a:lnTo>
                    <a:pt x="692" y="0"/>
                  </a:lnTo>
                  <a:lnTo>
                    <a:pt x="1" y="1901"/>
                  </a:lnTo>
                  <a:lnTo>
                    <a:pt x="1" y="1901"/>
                  </a:lnTo>
                  <a:lnTo>
                    <a:pt x="69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0" name="Google Shape;14200;p81">
              <a:extLst>
                <a:ext uri="{FF2B5EF4-FFF2-40B4-BE49-F238E27FC236}">
                  <a16:creationId xmlns:a16="http://schemas.microsoft.com/office/drawing/2014/main" id="{65EBE85E-0700-4D16-BE8C-11A70B47E35B}"/>
                </a:ext>
              </a:extLst>
            </p:cNvPr>
            <p:cNvSpPr/>
            <p:nvPr/>
          </p:nvSpPr>
          <p:spPr>
            <a:xfrm>
              <a:off x="6065650" y="3115800"/>
              <a:ext cx="38900" cy="193525"/>
            </a:xfrm>
            <a:custGeom>
              <a:avLst/>
              <a:gdLst/>
              <a:ahLst/>
              <a:cxnLst/>
              <a:rect l="l" t="t" r="r" b="b"/>
              <a:pathLst>
                <a:path w="1556" h="7741" extrusionOk="0">
                  <a:moveTo>
                    <a:pt x="761" y="0"/>
                  </a:moveTo>
                  <a:lnTo>
                    <a:pt x="1" y="7741"/>
                  </a:lnTo>
                  <a:lnTo>
                    <a:pt x="865" y="5253"/>
                  </a:lnTo>
                  <a:lnTo>
                    <a:pt x="1556" y="3352"/>
                  </a:lnTo>
                  <a:lnTo>
                    <a:pt x="1107" y="1625"/>
                  </a:lnTo>
                  <a:lnTo>
                    <a:pt x="865" y="588"/>
                  </a:lnTo>
                  <a:lnTo>
                    <a:pt x="796" y="139"/>
                  </a:lnTo>
                  <a:lnTo>
                    <a:pt x="761" y="0"/>
                  </a:lnTo>
                  <a:close/>
                </a:path>
              </a:pathLst>
            </a:custGeom>
            <a:solidFill>
              <a:srgbClr val="3131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1" name="Google Shape;14201;p81">
              <a:extLst>
                <a:ext uri="{FF2B5EF4-FFF2-40B4-BE49-F238E27FC236}">
                  <a16:creationId xmlns:a16="http://schemas.microsoft.com/office/drawing/2014/main" id="{45ED9791-063D-CE85-CCC2-821204DAB215}"/>
                </a:ext>
              </a:extLst>
            </p:cNvPr>
            <p:cNvSpPr/>
            <p:nvPr/>
          </p:nvSpPr>
          <p:spPr>
            <a:xfrm>
              <a:off x="6065650" y="3115800"/>
              <a:ext cx="38900" cy="193525"/>
            </a:xfrm>
            <a:custGeom>
              <a:avLst/>
              <a:gdLst/>
              <a:ahLst/>
              <a:cxnLst/>
              <a:rect l="l" t="t" r="r" b="b"/>
              <a:pathLst>
                <a:path w="1556" h="7741" fill="none" extrusionOk="0">
                  <a:moveTo>
                    <a:pt x="761" y="0"/>
                  </a:moveTo>
                  <a:lnTo>
                    <a:pt x="1" y="7741"/>
                  </a:lnTo>
                  <a:lnTo>
                    <a:pt x="1" y="7741"/>
                  </a:lnTo>
                  <a:lnTo>
                    <a:pt x="865" y="5253"/>
                  </a:lnTo>
                  <a:lnTo>
                    <a:pt x="865" y="5253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107" y="1625"/>
                  </a:lnTo>
                  <a:lnTo>
                    <a:pt x="865" y="588"/>
                  </a:lnTo>
                  <a:lnTo>
                    <a:pt x="796" y="139"/>
                  </a:lnTo>
                  <a:lnTo>
                    <a:pt x="76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2" name="Google Shape;14202;p81">
              <a:extLst>
                <a:ext uri="{FF2B5EF4-FFF2-40B4-BE49-F238E27FC236}">
                  <a16:creationId xmlns:a16="http://schemas.microsoft.com/office/drawing/2014/main" id="{F15F0F68-2662-7E42-CC6C-08DDB1DF5C9B}"/>
                </a:ext>
              </a:extLst>
            </p:cNvPr>
            <p:cNvSpPr/>
            <p:nvPr/>
          </p:nvSpPr>
          <p:spPr>
            <a:xfrm>
              <a:off x="6194375" y="2923150"/>
              <a:ext cx="105425" cy="96775"/>
            </a:xfrm>
            <a:custGeom>
              <a:avLst/>
              <a:gdLst/>
              <a:ahLst/>
              <a:cxnLst/>
              <a:rect l="l" t="t" r="r" b="b"/>
              <a:pathLst>
                <a:path w="4217" h="3871" extrusionOk="0">
                  <a:moveTo>
                    <a:pt x="1" y="0"/>
                  </a:moveTo>
                  <a:lnTo>
                    <a:pt x="104" y="311"/>
                  </a:lnTo>
                  <a:lnTo>
                    <a:pt x="243" y="622"/>
                  </a:lnTo>
                  <a:lnTo>
                    <a:pt x="415" y="899"/>
                  </a:lnTo>
                  <a:lnTo>
                    <a:pt x="588" y="1210"/>
                  </a:lnTo>
                  <a:lnTo>
                    <a:pt x="795" y="1486"/>
                  </a:lnTo>
                  <a:lnTo>
                    <a:pt x="1037" y="1763"/>
                  </a:lnTo>
                  <a:lnTo>
                    <a:pt x="1556" y="2246"/>
                  </a:lnTo>
                  <a:lnTo>
                    <a:pt x="2178" y="2730"/>
                  </a:lnTo>
                  <a:lnTo>
                    <a:pt x="2834" y="3145"/>
                  </a:lnTo>
                  <a:lnTo>
                    <a:pt x="3491" y="3525"/>
                  </a:lnTo>
                  <a:lnTo>
                    <a:pt x="4216" y="3871"/>
                  </a:lnTo>
                  <a:lnTo>
                    <a:pt x="3664" y="3594"/>
                  </a:lnTo>
                  <a:lnTo>
                    <a:pt x="3975" y="2938"/>
                  </a:lnTo>
                  <a:lnTo>
                    <a:pt x="3525" y="2834"/>
                  </a:lnTo>
                  <a:lnTo>
                    <a:pt x="3111" y="2696"/>
                  </a:lnTo>
                  <a:lnTo>
                    <a:pt x="2661" y="2523"/>
                  </a:lnTo>
                  <a:lnTo>
                    <a:pt x="2247" y="2316"/>
                  </a:lnTo>
                  <a:lnTo>
                    <a:pt x="1832" y="2074"/>
                  </a:lnTo>
                  <a:lnTo>
                    <a:pt x="1452" y="1797"/>
                  </a:lnTo>
                  <a:lnTo>
                    <a:pt x="1072" y="1452"/>
                  </a:lnTo>
                  <a:lnTo>
                    <a:pt x="692" y="1106"/>
                  </a:lnTo>
                  <a:lnTo>
                    <a:pt x="450" y="830"/>
                  </a:lnTo>
                  <a:lnTo>
                    <a:pt x="277" y="553"/>
                  </a:lnTo>
                  <a:lnTo>
                    <a:pt x="104" y="27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8384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3" name="Google Shape;14203;p81">
              <a:extLst>
                <a:ext uri="{FF2B5EF4-FFF2-40B4-BE49-F238E27FC236}">
                  <a16:creationId xmlns:a16="http://schemas.microsoft.com/office/drawing/2014/main" id="{19EB534B-18AA-E8CF-528C-F7BB0932FDFD}"/>
                </a:ext>
              </a:extLst>
            </p:cNvPr>
            <p:cNvSpPr/>
            <p:nvPr/>
          </p:nvSpPr>
          <p:spPr>
            <a:xfrm>
              <a:off x="6194375" y="2923150"/>
              <a:ext cx="105425" cy="96775"/>
            </a:xfrm>
            <a:custGeom>
              <a:avLst/>
              <a:gdLst/>
              <a:ahLst/>
              <a:cxnLst/>
              <a:rect l="l" t="t" r="r" b="b"/>
              <a:pathLst>
                <a:path w="4217" h="387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04" y="311"/>
                  </a:lnTo>
                  <a:lnTo>
                    <a:pt x="243" y="622"/>
                  </a:lnTo>
                  <a:lnTo>
                    <a:pt x="415" y="899"/>
                  </a:lnTo>
                  <a:lnTo>
                    <a:pt x="588" y="1210"/>
                  </a:lnTo>
                  <a:lnTo>
                    <a:pt x="795" y="1486"/>
                  </a:lnTo>
                  <a:lnTo>
                    <a:pt x="1037" y="1763"/>
                  </a:lnTo>
                  <a:lnTo>
                    <a:pt x="1556" y="2246"/>
                  </a:lnTo>
                  <a:lnTo>
                    <a:pt x="2178" y="2730"/>
                  </a:lnTo>
                  <a:lnTo>
                    <a:pt x="2834" y="3145"/>
                  </a:lnTo>
                  <a:lnTo>
                    <a:pt x="3491" y="3525"/>
                  </a:lnTo>
                  <a:lnTo>
                    <a:pt x="4216" y="3871"/>
                  </a:lnTo>
                  <a:lnTo>
                    <a:pt x="4216" y="3871"/>
                  </a:lnTo>
                  <a:lnTo>
                    <a:pt x="3664" y="3594"/>
                  </a:lnTo>
                  <a:lnTo>
                    <a:pt x="3664" y="3594"/>
                  </a:lnTo>
                  <a:lnTo>
                    <a:pt x="3975" y="2938"/>
                  </a:lnTo>
                  <a:lnTo>
                    <a:pt x="3975" y="2938"/>
                  </a:lnTo>
                  <a:lnTo>
                    <a:pt x="3525" y="2834"/>
                  </a:lnTo>
                  <a:lnTo>
                    <a:pt x="3111" y="2696"/>
                  </a:lnTo>
                  <a:lnTo>
                    <a:pt x="2661" y="2523"/>
                  </a:lnTo>
                  <a:lnTo>
                    <a:pt x="2247" y="2316"/>
                  </a:lnTo>
                  <a:lnTo>
                    <a:pt x="1832" y="2074"/>
                  </a:lnTo>
                  <a:lnTo>
                    <a:pt x="1452" y="1797"/>
                  </a:lnTo>
                  <a:lnTo>
                    <a:pt x="1072" y="1452"/>
                  </a:lnTo>
                  <a:lnTo>
                    <a:pt x="692" y="1106"/>
                  </a:lnTo>
                  <a:lnTo>
                    <a:pt x="692" y="1106"/>
                  </a:lnTo>
                  <a:lnTo>
                    <a:pt x="450" y="830"/>
                  </a:lnTo>
                  <a:lnTo>
                    <a:pt x="277" y="553"/>
                  </a:lnTo>
                  <a:lnTo>
                    <a:pt x="104" y="27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4" name="Google Shape;14204;p81">
              <a:extLst>
                <a:ext uri="{FF2B5EF4-FFF2-40B4-BE49-F238E27FC236}">
                  <a16:creationId xmlns:a16="http://schemas.microsoft.com/office/drawing/2014/main" id="{B42489D5-143E-8C61-CB49-1C9C0A5164E5}"/>
                </a:ext>
              </a:extLst>
            </p:cNvPr>
            <p:cNvSpPr/>
            <p:nvPr/>
          </p:nvSpPr>
          <p:spPr>
            <a:xfrm>
              <a:off x="6412075" y="3016450"/>
              <a:ext cx="900" cy="41500"/>
            </a:xfrm>
            <a:custGeom>
              <a:avLst/>
              <a:gdLst/>
              <a:ahLst/>
              <a:cxnLst/>
              <a:rect l="l" t="t" r="r" b="b"/>
              <a:pathLst>
                <a:path w="36" h="1660" extrusionOk="0">
                  <a:moveTo>
                    <a:pt x="35" y="0"/>
                  </a:moveTo>
                  <a:lnTo>
                    <a:pt x="1" y="1659"/>
                  </a:lnTo>
                  <a:lnTo>
                    <a:pt x="35" y="933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B1B1B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5" name="Google Shape;14205;p81">
              <a:extLst>
                <a:ext uri="{FF2B5EF4-FFF2-40B4-BE49-F238E27FC236}">
                  <a16:creationId xmlns:a16="http://schemas.microsoft.com/office/drawing/2014/main" id="{B1995D67-F59A-4211-6AFC-084BAC574A5E}"/>
                </a:ext>
              </a:extLst>
            </p:cNvPr>
            <p:cNvSpPr/>
            <p:nvPr/>
          </p:nvSpPr>
          <p:spPr>
            <a:xfrm>
              <a:off x="6412075" y="3016450"/>
              <a:ext cx="900" cy="41500"/>
            </a:xfrm>
            <a:custGeom>
              <a:avLst/>
              <a:gdLst/>
              <a:ahLst/>
              <a:cxnLst/>
              <a:rect l="l" t="t" r="r" b="b"/>
              <a:pathLst>
                <a:path w="36" h="1660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1" y="1659"/>
                  </a:lnTo>
                  <a:lnTo>
                    <a:pt x="1" y="1659"/>
                  </a:lnTo>
                  <a:lnTo>
                    <a:pt x="35" y="933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6" name="Google Shape;14206;p81">
              <a:extLst>
                <a:ext uri="{FF2B5EF4-FFF2-40B4-BE49-F238E27FC236}">
                  <a16:creationId xmlns:a16="http://schemas.microsoft.com/office/drawing/2014/main" id="{20247BBB-DD8B-DA22-BB00-06C44C634E5F}"/>
                </a:ext>
              </a:extLst>
            </p:cNvPr>
            <p:cNvSpPr/>
            <p:nvPr/>
          </p:nvSpPr>
          <p:spPr>
            <a:xfrm>
              <a:off x="6391350" y="3016450"/>
              <a:ext cx="21625" cy="41500"/>
            </a:xfrm>
            <a:custGeom>
              <a:avLst/>
              <a:gdLst/>
              <a:ahLst/>
              <a:cxnLst/>
              <a:rect l="l" t="t" r="r" b="b"/>
              <a:pathLst>
                <a:path w="865" h="1660" extrusionOk="0">
                  <a:moveTo>
                    <a:pt x="864" y="0"/>
                  </a:moveTo>
                  <a:lnTo>
                    <a:pt x="104" y="1383"/>
                  </a:lnTo>
                  <a:lnTo>
                    <a:pt x="70" y="1417"/>
                  </a:lnTo>
                  <a:lnTo>
                    <a:pt x="0" y="1452"/>
                  </a:lnTo>
                  <a:lnTo>
                    <a:pt x="830" y="1659"/>
                  </a:lnTo>
                  <a:lnTo>
                    <a:pt x="864" y="0"/>
                  </a:lnTo>
                  <a:close/>
                </a:path>
              </a:pathLst>
            </a:custGeom>
            <a:solidFill>
              <a:srgbClr val="38384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7" name="Google Shape;14207;p81">
              <a:extLst>
                <a:ext uri="{FF2B5EF4-FFF2-40B4-BE49-F238E27FC236}">
                  <a16:creationId xmlns:a16="http://schemas.microsoft.com/office/drawing/2014/main" id="{4EE320EE-AB8A-326A-5581-ED6E18E57119}"/>
                </a:ext>
              </a:extLst>
            </p:cNvPr>
            <p:cNvSpPr/>
            <p:nvPr/>
          </p:nvSpPr>
          <p:spPr>
            <a:xfrm>
              <a:off x="6391350" y="3016450"/>
              <a:ext cx="21625" cy="41500"/>
            </a:xfrm>
            <a:custGeom>
              <a:avLst/>
              <a:gdLst/>
              <a:ahLst/>
              <a:cxnLst/>
              <a:rect l="l" t="t" r="r" b="b"/>
              <a:pathLst>
                <a:path w="865" h="1660" fill="none" extrusionOk="0">
                  <a:moveTo>
                    <a:pt x="864" y="0"/>
                  </a:moveTo>
                  <a:lnTo>
                    <a:pt x="864" y="0"/>
                  </a:lnTo>
                  <a:lnTo>
                    <a:pt x="104" y="1383"/>
                  </a:lnTo>
                  <a:lnTo>
                    <a:pt x="104" y="1383"/>
                  </a:lnTo>
                  <a:lnTo>
                    <a:pt x="70" y="1417"/>
                  </a:lnTo>
                  <a:lnTo>
                    <a:pt x="0" y="1452"/>
                  </a:lnTo>
                  <a:lnTo>
                    <a:pt x="0" y="1452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6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8" name="Google Shape;14208;p81">
              <a:extLst>
                <a:ext uri="{FF2B5EF4-FFF2-40B4-BE49-F238E27FC236}">
                  <a16:creationId xmlns:a16="http://schemas.microsoft.com/office/drawing/2014/main" id="{6BEDF16E-3DAA-E9BE-2EFF-4043A17EC5D0}"/>
                </a:ext>
              </a:extLst>
            </p:cNvPr>
            <p:cNvSpPr/>
            <p:nvPr/>
          </p:nvSpPr>
          <p:spPr>
            <a:xfrm>
              <a:off x="5885950" y="1997025"/>
              <a:ext cx="484700" cy="919225"/>
            </a:xfrm>
            <a:custGeom>
              <a:avLst/>
              <a:gdLst/>
              <a:ahLst/>
              <a:cxnLst/>
              <a:rect l="l" t="t" r="r" b="b"/>
              <a:pathLst>
                <a:path w="19388" h="36769" extrusionOk="0">
                  <a:moveTo>
                    <a:pt x="8744" y="1"/>
                  </a:moveTo>
                  <a:lnTo>
                    <a:pt x="8502" y="70"/>
                  </a:lnTo>
                  <a:lnTo>
                    <a:pt x="8260" y="208"/>
                  </a:lnTo>
                  <a:lnTo>
                    <a:pt x="8087" y="381"/>
                  </a:lnTo>
                  <a:lnTo>
                    <a:pt x="7880" y="588"/>
                  </a:lnTo>
                  <a:lnTo>
                    <a:pt x="7534" y="1038"/>
                  </a:lnTo>
                  <a:lnTo>
                    <a:pt x="7154" y="1556"/>
                  </a:lnTo>
                  <a:lnTo>
                    <a:pt x="6981" y="1798"/>
                  </a:lnTo>
                  <a:lnTo>
                    <a:pt x="6774" y="2005"/>
                  </a:lnTo>
                  <a:lnTo>
                    <a:pt x="6567" y="2212"/>
                  </a:lnTo>
                  <a:lnTo>
                    <a:pt x="6325" y="2351"/>
                  </a:lnTo>
                  <a:lnTo>
                    <a:pt x="6048" y="2454"/>
                  </a:lnTo>
                  <a:lnTo>
                    <a:pt x="5737" y="2523"/>
                  </a:lnTo>
                  <a:lnTo>
                    <a:pt x="5461" y="2523"/>
                  </a:lnTo>
                  <a:lnTo>
                    <a:pt x="5254" y="2489"/>
                  </a:lnTo>
                  <a:lnTo>
                    <a:pt x="5081" y="2420"/>
                  </a:lnTo>
                  <a:lnTo>
                    <a:pt x="4977" y="2316"/>
                  </a:lnTo>
                  <a:lnTo>
                    <a:pt x="4839" y="2074"/>
                  </a:lnTo>
                  <a:lnTo>
                    <a:pt x="4735" y="1936"/>
                  </a:lnTo>
                  <a:lnTo>
                    <a:pt x="4597" y="1763"/>
                  </a:lnTo>
                  <a:lnTo>
                    <a:pt x="4424" y="1590"/>
                  </a:lnTo>
                  <a:lnTo>
                    <a:pt x="4321" y="1521"/>
                  </a:lnTo>
                  <a:lnTo>
                    <a:pt x="4217" y="1452"/>
                  </a:lnTo>
                  <a:lnTo>
                    <a:pt x="3975" y="1452"/>
                  </a:lnTo>
                  <a:lnTo>
                    <a:pt x="3837" y="1521"/>
                  </a:lnTo>
                  <a:lnTo>
                    <a:pt x="3699" y="1660"/>
                  </a:lnTo>
                  <a:lnTo>
                    <a:pt x="3318" y="2074"/>
                  </a:lnTo>
                  <a:lnTo>
                    <a:pt x="2938" y="2523"/>
                  </a:lnTo>
                  <a:lnTo>
                    <a:pt x="2593" y="2973"/>
                  </a:lnTo>
                  <a:lnTo>
                    <a:pt x="2282" y="3422"/>
                  </a:lnTo>
                  <a:lnTo>
                    <a:pt x="2005" y="3906"/>
                  </a:lnTo>
                  <a:lnTo>
                    <a:pt x="1729" y="4424"/>
                  </a:lnTo>
                  <a:lnTo>
                    <a:pt x="1487" y="4942"/>
                  </a:lnTo>
                  <a:lnTo>
                    <a:pt x="1280" y="5461"/>
                  </a:lnTo>
                  <a:lnTo>
                    <a:pt x="1072" y="6014"/>
                  </a:lnTo>
                  <a:lnTo>
                    <a:pt x="899" y="6567"/>
                  </a:lnTo>
                  <a:lnTo>
                    <a:pt x="727" y="7119"/>
                  </a:lnTo>
                  <a:lnTo>
                    <a:pt x="588" y="7707"/>
                  </a:lnTo>
                  <a:lnTo>
                    <a:pt x="347" y="8882"/>
                  </a:lnTo>
                  <a:lnTo>
                    <a:pt x="174" y="10091"/>
                  </a:lnTo>
                  <a:lnTo>
                    <a:pt x="36" y="11335"/>
                  </a:lnTo>
                  <a:lnTo>
                    <a:pt x="1" y="12614"/>
                  </a:lnTo>
                  <a:lnTo>
                    <a:pt x="1" y="13893"/>
                  </a:lnTo>
                  <a:lnTo>
                    <a:pt x="36" y="15171"/>
                  </a:lnTo>
                  <a:lnTo>
                    <a:pt x="105" y="16484"/>
                  </a:lnTo>
                  <a:lnTo>
                    <a:pt x="243" y="17763"/>
                  </a:lnTo>
                  <a:lnTo>
                    <a:pt x="381" y="19076"/>
                  </a:lnTo>
                  <a:lnTo>
                    <a:pt x="554" y="20320"/>
                  </a:lnTo>
                  <a:lnTo>
                    <a:pt x="761" y="21599"/>
                  </a:lnTo>
                  <a:lnTo>
                    <a:pt x="969" y="22808"/>
                  </a:lnTo>
                  <a:lnTo>
                    <a:pt x="1452" y="25158"/>
                  </a:lnTo>
                  <a:lnTo>
                    <a:pt x="1902" y="27300"/>
                  </a:lnTo>
                  <a:lnTo>
                    <a:pt x="2351" y="29236"/>
                  </a:lnTo>
                  <a:lnTo>
                    <a:pt x="2696" y="30894"/>
                  </a:lnTo>
                  <a:lnTo>
                    <a:pt x="2938" y="32207"/>
                  </a:lnTo>
                  <a:lnTo>
                    <a:pt x="3007" y="32726"/>
                  </a:lnTo>
                  <a:lnTo>
                    <a:pt x="3042" y="33140"/>
                  </a:lnTo>
                  <a:lnTo>
                    <a:pt x="3042" y="33451"/>
                  </a:lnTo>
                  <a:lnTo>
                    <a:pt x="3007" y="33555"/>
                  </a:lnTo>
                  <a:lnTo>
                    <a:pt x="2973" y="33659"/>
                  </a:lnTo>
                  <a:lnTo>
                    <a:pt x="2904" y="33762"/>
                  </a:lnTo>
                  <a:lnTo>
                    <a:pt x="2904" y="33901"/>
                  </a:lnTo>
                  <a:lnTo>
                    <a:pt x="2904" y="34039"/>
                  </a:lnTo>
                  <a:lnTo>
                    <a:pt x="2973" y="34177"/>
                  </a:lnTo>
                  <a:lnTo>
                    <a:pt x="3111" y="34315"/>
                  </a:lnTo>
                  <a:lnTo>
                    <a:pt x="3249" y="34488"/>
                  </a:lnTo>
                  <a:lnTo>
                    <a:pt x="3629" y="34799"/>
                  </a:lnTo>
                  <a:lnTo>
                    <a:pt x="4148" y="35110"/>
                  </a:lnTo>
                  <a:lnTo>
                    <a:pt x="4804" y="35387"/>
                  </a:lnTo>
                  <a:lnTo>
                    <a:pt x="5530" y="35698"/>
                  </a:lnTo>
                  <a:lnTo>
                    <a:pt x="6325" y="35974"/>
                  </a:lnTo>
                  <a:lnTo>
                    <a:pt x="7189" y="36216"/>
                  </a:lnTo>
                  <a:lnTo>
                    <a:pt x="8087" y="36423"/>
                  </a:lnTo>
                  <a:lnTo>
                    <a:pt x="9055" y="36596"/>
                  </a:lnTo>
                  <a:lnTo>
                    <a:pt x="10022" y="36700"/>
                  </a:lnTo>
                  <a:lnTo>
                    <a:pt x="10955" y="36769"/>
                  </a:lnTo>
                  <a:lnTo>
                    <a:pt x="11923" y="36769"/>
                  </a:lnTo>
                  <a:lnTo>
                    <a:pt x="12821" y="36700"/>
                  </a:lnTo>
                  <a:lnTo>
                    <a:pt x="13271" y="36631"/>
                  </a:lnTo>
                  <a:lnTo>
                    <a:pt x="13720" y="36527"/>
                  </a:lnTo>
                  <a:lnTo>
                    <a:pt x="14273" y="36389"/>
                  </a:lnTo>
                  <a:lnTo>
                    <a:pt x="14791" y="36181"/>
                  </a:lnTo>
                  <a:lnTo>
                    <a:pt x="15275" y="35974"/>
                  </a:lnTo>
                  <a:lnTo>
                    <a:pt x="15724" y="35732"/>
                  </a:lnTo>
                  <a:lnTo>
                    <a:pt x="16139" y="35490"/>
                  </a:lnTo>
                  <a:lnTo>
                    <a:pt x="16519" y="35214"/>
                  </a:lnTo>
                  <a:lnTo>
                    <a:pt x="16864" y="34903"/>
                  </a:lnTo>
                  <a:lnTo>
                    <a:pt x="17210" y="34592"/>
                  </a:lnTo>
                  <a:lnTo>
                    <a:pt x="17487" y="34281"/>
                  </a:lnTo>
                  <a:lnTo>
                    <a:pt x="17763" y="33935"/>
                  </a:lnTo>
                  <a:lnTo>
                    <a:pt x="18005" y="33590"/>
                  </a:lnTo>
                  <a:lnTo>
                    <a:pt x="18212" y="33210"/>
                  </a:lnTo>
                  <a:lnTo>
                    <a:pt x="18420" y="32829"/>
                  </a:lnTo>
                  <a:lnTo>
                    <a:pt x="18592" y="32484"/>
                  </a:lnTo>
                  <a:lnTo>
                    <a:pt x="18869" y="31724"/>
                  </a:lnTo>
                  <a:lnTo>
                    <a:pt x="19076" y="30963"/>
                  </a:lnTo>
                  <a:lnTo>
                    <a:pt x="19214" y="30238"/>
                  </a:lnTo>
                  <a:lnTo>
                    <a:pt x="19318" y="29547"/>
                  </a:lnTo>
                  <a:lnTo>
                    <a:pt x="19353" y="28890"/>
                  </a:lnTo>
                  <a:lnTo>
                    <a:pt x="19387" y="28303"/>
                  </a:lnTo>
                  <a:lnTo>
                    <a:pt x="19353" y="27784"/>
                  </a:lnTo>
                  <a:lnTo>
                    <a:pt x="19283" y="27093"/>
                  </a:lnTo>
                  <a:lnTo>
                    <a:pt x="18592" y="22946"/>
                  </a:lnTo>
                  <a:lnTo>
                    <a:pt x="17176" y="15137"/>
                  </a:lnTo>
                  <a:lnTo>
                    <a:pt x="15171" y="4113"/>
                  </a:lnTo>
                  <a:lnTo>
                    <a:pt x="14618" y="3837"/>
                  </a:lnTo>
                  <a:lnTo>
                    <a:pt x="14031" y="3491"/>
                  </a:lnTo>
                  <a:lnTo>
                    <a:pt x="13271" y="3007"/>
                  </a:lnTo>
                  <a:lnTo>
                    <a:pt x="12372" y="2420"/>
                  </a:lnTo>
                  <a:lnTo>
                    <a:pt x="11370" y="1694"/>
                  </a:lnTo>
                  <a:lnTo>
                    <a:pt x="10333" y="899"/>
                  </a:lnTo>
                  <a:lnTo>
                    <a:pt x="9297" y="35"/>
                  </a:lnTo>
                  <a:lnTo>
                    <a:pt x="902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69" name="Google Shape;14209;p81">
              <a:extLst>
                <a:ext uri="{FF2B5EF4-FFF2-40B4-BE49-F238E27FC236}">
                  <a16:creationId xmlns:a16="http://schemas.microsoft.com/office/drawing/2014/main" id="{D1745183-A4E8-143B-3590-1CC90A40C047}"/>
                </a:ext>
              </a:extLst>
            </p:cNvPr>
            <p:cNvSpPr/>
            <p:nvPr/>
          </p:nvSpPr>
          <p:spPr>
            <a:xfrm>
              <a:off x="5885950" y="1997025"/>
              <a:ext cx="484700" cy="919225"/>
            </a:xfrm>
            <a:custGeom>
              <a:avLst/>
              <a:gdLst/>
              <a:ahLst/>
              <a:cxnLst/>
              <a:rect l="l" t="t" r="r" b="b"/>
              <a:pathLst>
                <a:path w="19388" h="36769" fill="none" extrusionOk="0">
                  <a:moveTo>
                    <a:pt x="9297" y="35"/>
                  </a:moveTo>
                  <a:lnTo>
                    <a:pt x="9297" y="35"/>
                  </a:lnTo>
                  <a:lnTo>
                    <a:pt x="9020" y="1"/>
                  </a:lnTo>
                  <a:lnTo>
                    <a:pt x="8744" y="1"/>
                  </a:lnTo>
                  <a:lnTo>
                    <a:pt x="8502" y="70"/>
                  </a:lnTo>
                  <a:lnTo>
                    <a:pt x="8260" y="208"/>
                  </a:lnTo>
                  <a:lnTo>
                    <a:pt x="8087" y="381"/>
                  </a:lnTo>
                  <a:lnTo>
                    <a:pt x="7880" y="588"/>
                  </a:lnTo>
                  <a:lnTo>
                    <a:pt x="7534" y="1038"/>
                  </a:lnTo>
                  <a:lnTo>
                    <a:pt x="7154" y="1556"/>
                  </a:lnTo>
                  <a:lnTo>
                    <a:pt x="6981" y="1798"/>
                  </a:lnTo>
                  <a:lnTo>
                    <a:pt x="6774" y="2005"/>
                  </a:lnTo>
                  <a:lnTo>
                    <a:pt x="6567" y="2212"/>
                  </a:lnTo>
                  <a:lnTo>
                    <a:pt x="6325" y="2351"/>
                  </a:lnTo>
                  <a:lnTo>
                    <a:pt x="6048" y="2454"/>
                  </a:lnTo>
                  <a:lnTo>
                    <a:pt x="5737" y="2523"/>
                  </a:lnTo>
                  <a:lnTo>
                    <a:pt x="5737" y="2523"/>
                  </a:lnTo>
                  <a:lnTo>
                    <a:pt x="5461" y="2523"/>
                  </a:lnTo>
                  <a:lnTo>
                    <a:pt x="5254" y="2489"/>
                  </a:lnTo>
                  <a:lnTo>
                    <a:pt x="5081" y="2420"/>
                  </a:lnTo>
                  <a:lnTo>
                    <a:pt x="4977" y="2316"/>
                  </a:lnTo>
                  <a:lnTo>
                    <a:pt x="4839" y="2074"/>
                  </a:lnTo>
                  <a:lnTo>
                    <a:pt x="4735" y="1936"/>
                  </a:lnTo>
                  <a:lnTo>
                    <a:pt x="4597" y="1763"/>
                  </a:lnTo>
                  <a:lnTo>
                    <a:pt x="4597" y="1763"/>
                  </a:lnTo>
                  <a:lnTo>
                    <a:pt x="4424" y="1590"/>
                  </a:lnTo>
                  <a:lnTo>
                    <a:pt x="4321" y="1521"/>
                  </a:lnTo>
                  <a:lnTo>
                    <a:pt x="4217" y="1452"/>
                  </a:lnTo>
                  <a:lnTo>
                    <a:pt x="4079" y="1452"/>
                  </a:lnTo>
                  <a:lnTo>
                    <a:pt x="3975" y="1452"/>
                  </a:lnTo>
                  <a:lnTo>
                    <a:pt x="3837" y="1521"/>
                  </a:lnTo>
                  <a:lnTo>
                    <a:pt x="3699" y="1660"/>
                  </a:lnTo>
                  <a:lnTo>
                    <a:pt x="3699" y="1660"/>
                  </a:lnTo>
                  <a:lnTo>
                    <a:pt x="3318" y="2074"/>
                  </a:lnTo>
                  <a:lnTo>
                    <a:pt x="2938" y="2523"/>
                  </a:lnTo>
                  <a:lnTo>
                    <a:pt x="2593" y="2973"/>
                  </a:lnTo>
                  <a:lnTo>
                    <a:pt x="2282" y="3422"/>
                  </a:lnTo>
                  <a:lnTo>
                    <a:pt x="2005" y="3906"/>
                  </a:lnTo>
                  <a:lnTo>
                    <a:pt x="1729" y="4424"/>
                  </a:lnTo>
                  <a:lnTo>
                    <a:pt x="1487" y="4942"/>
                  </a:lnTo>
                  <a:lnTo>
                    <a:pt x="1280" y="5461"/>
                  </a:lnTo>
                  <a:lnTo>
                    <a:pt x="1072" y="6014"/>
                  </a:lnTo>
                  <a:lnTo>
                    <a:pt x="899" y="6567"/>
                  </a:lnTo>
                  <a:lnTo>
                    <a:pt x="727" y="7119"/>
                  </a:lnTo>
                  <a:lnTo>
                    <a:pt x="588" y="7707"/>
                  </a:lnTo>
                  <a:lnTo>
                    <a:pt x="347" y="8882"/>
                  </a:lnTo>
                  <a:lnTo>
                    <a:pt x="174" y="10091"/>
                  </a:lnTo>
                  <a:lnTo>
                    <a:pt x="36" y="11335"/>
                  </a:lnTo>
                  <a:lnTo>
                    <a:pt x="1" y="12614"/>
                  </a:lnTo>
                  <a:lnTo>
                    <a:pt x="1" y="13893"/>
                  </a:lnTo>
                  <a:lnTo>
                    <a:pt x="36" y="15171"/>
                  </a:lnTo>
                  <a:lnTo>
                    <a:pt x="105" y="16484"/>
                  </a:lnTo>
                  <a:lnTo>
                    <a:pt x="243" y="17763"/>
                  </a:lnTo>
                  <a:lnTo>
                    <a:pt x="381" y="19076"/>
                  </a:lnTo>
                  <a:lnTo>
                    <a:pt x="554" y="20320"/>
                  </a:lnTo>
                  <a:lnTo>
                    <a:pt x="761" y="21599"/>
                  </a:lnTo>
                  <a:lnTo>
                    <a:pt x="969" y="22808"/>
                  </a:lnTo>
                  <a:lnTo>
                    <a:pt x="1452" y="25158"/>
                  </a:lnTo>
                  <a:lnTo>
                    <a:pt x="1902" y="27300"/>
                  </a:lnTo>
                  <a:lnTo>
                    <a:pt x="2351" y="29236"/>
                  </a:lnTo>
                  <a:lnTo>
                    <a:pt x="2696" y="30894"/>
                  </a:lnTo>
                  <a:lnTo>
                    <a:pt x="2938" y="32207"/>
                  </a:lnTo>
                  <a:lnTo>
                    <a:pt x="3007" y="32726"/>
                  </a:lnTo>
                  <a:lnTo>
                    <a:pt x="3042" y="33140"/>
                  </a:lnTo>
                  <a:lnTo>
                    <a:pt x="3042" y="33451"/>
                  </a:lnTo>
                  <a:lnTo>
                    <a:pt x="3007" y="33555"/>
                  </a:lnTo>
                  <a:lnTo>
                    <a:pt x="2973" y="33659"/>
                  </a:lnTo>
                  <a:lnTo>
                    <a:pt x="2973" y="33659"/>
                  </a:lnTo>
                  <a:lnTo>
                    <a:pt x="2904" y="33762"/>
                  </a:lnTo>
                  <a:lnTo>
                    <a:pt x="2904" y="33901"/>
                  </a:lnTo>
                  <a:lnTo>
                    <a:pt x="2904" y="34039"/>
                  </a:lnTo>
                  <a:lnTo>
                    <a:pt x="2973" y="34177"/>
                  </a:lnTo>
                  <a:lnTo>
                    <a:pt x="3111" y="34315"/>
                  </a:lnTo>
                  <a:lnTo>
                    <a:pt x="3249" y="34488"/>
                  </a:lnTo>
                  <a:lnTo>
                    <a:pt x="3629" y="34799"/>
                  </a:lnTo>
                  <a:lnTo>
                    <a:pt x="4148" y="35110"/>
                  </a:lnTo>
                  <a:lnTo>
                    <a:pt x="4804" y="35387"/>
                  </a:lnTo>
                  <a:lnTo>
                    <a:pt x="5530" y="35698"/>
                  </a:lnTo>
                  <a:lnTo>
                    <a:pt x="6325" y="35974"/>
                  </a:lnTo>
                  <a:lnTo>
                    <a:pt x="7189" y="36216"/>
                  </a:lnTo>
                  <a:lnTo>
                    <a:pt x="8087" y="36423"/>
                  </a:lnTo>
                  <a:lnTo>
                    <a:pt x="9055" y="36596"/>
                  </a:lnTo>
                  <a:lnTo>
                    <a:pt x="10022" y="36700"/>
                  </a:lnTo>
                  <a:lnTo>
                    <a:pt x="10955" y="36769"/>
                  </a:lnTo>
                  <a:lnTo>
                    <a:pt x="11923" y="36769"/>
                  </a:lnTo>
                  <a:lnTo>
                    <a:pt x="12821" y="36700"/>
                  </a:lnTo>
                  <a:lnTo>
                    <a:pt x="13271" y="36631"/>
                  </a:lnTo>
                  <a:lnTo>
                    <a:pt x="13720" y="36527"/>
                  </a:lnTo>
                  <a:lnTo>
                    <a:pt x="13720" y="36527"/>
                  </a:lnTo>
                  <a:lnTo>
                    <a:pt x="14273" y="36389"/>
                  </a:lnTo>
                  <a:lnTo>
                    <a:pt x="14791" y="36181"/>
                  </a:lnTo>
                  <a:lnTo>
                    <a:pt x="15275" y="35974"/>
                  </a:lnTo>
                  <a:lnTo>
                    <a:pt x="15724" y="35732"/>
                  </a:lnTo>
                  <a:lnTo>
                    <a:pt x="16139" y="35490"/>
                  </a:lnTo>
                  <a:lnTo>
                    <a:pt x="16519" y="35214"/>
                  </a:lnTo>
                  <a:lnTo>
                    <a:pt x="16864" y="34903"/>
                  </a:lnTo>
                  <a:lnTo>
                    <a:pt x="17210" y="34592"/>
                  </a:lnTo>
                  <a:lnTo>
                    <a:pt x="17487" y="34281"/>
                  </a:lnTo>
                  <a:lnTo>
                    <a:pt x="17763" y="33935"/>
                  </a:lnTo>
                  <a:lnTo>
                    <a:pt x="18005" y="33590"/>
                  </a:lnTo>
                  <a:lnTo>
                    <a:pt x="18212" y="33210"/>
                  </a:lnTo>
                  <a:lnTo>
                    <a:pt x="18420" y="32829"/>
                  </a:lnTo>
                  <a:lnTo>
                    <a:pt x="18592" y="32484"/>
                  </a:lnTo>
                  <a:lnTo>
                    <a:pt x="18869" y="31724"/>
                  </a:lnTo>
                  <a:lnTo>
                    <a:pt x="19076" y="30963"/>
                  </a:lnTo>
                  <a:lnTo>
                    <a:pt x="19214" y="30238"/>
                  </a:lnTo>
                  <a:lnTo>
                    <a:pt x="19318" y="29547"/>
                  </a:lnTo>
                  <a:lnTo>
                    <a:pt x="19353" y="28890"/>
                  </a:lnTo>
                  <a:lnTo>
                    <a:pt x="19387" y="28303"/>
                  </a:lnTo>
                  <a:lnTo>
                    <a:pt x="19353" y="27784"/>
                  </a:lnTo>
                  <a:lnTo>
                    <a:pt x="19283" y="27093"/>
                  </a:lnTo>
                  <a:lnTo>
                    <a:pt x="19283" y="27093"/>
                  </a:lnTo>
                  <a:lnTo>
                    <a:pt x="18592" y="22946"/>
                  </a:lnTo>
                  <a:lnTo>
                    <a:pt x="17176" y="15137"/>
                  </a:lnTo>
                  <a:lnTo>
                    <a:pt x="15171" y="4113"/>
                  </a:lnTo>
                  <a:lnTo>
                    <a:pt x="15171" y="4113"/>
                  </a:lnTo>
                  <a:lnTo>
                    <a:pt x="14618" y="3837"/>
                  </a:lnTo>
                  <a:lnTo>
                    <a:pt x="14031" y="3491"/>
                  </a:lnTo>
                  <a:lnTo>
                    <a:pt x="13271" y="3007"/>
                  </a:lnTo>
                  <a:lnTo>
                    <a:pt x="12372" y="2420"/>
                  </a:lnTo>
                  <a:lnTo>
                    <a:pt x="11370" y="1694"/>
                  </a:lnTo>
                  <a:lnTo>
                    <a:pt x="10333" y="899"/>
                  </a:lnTo>
                  <a:lnTo>
                    <a:pt x="9297" y="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0" name="Google Shape;14210;p81">
              <a:extLst>
                <a:ext uri="{FF2B5EF4-FFF2-40B4-BE49-F238E27FC236}">
                  <a16:creationId xmlns:a16="http://schemas.microsoft.com/office/drawing/2014/main" id="{65C91C28-DBDE-62DF-CEDF-0608E29634C2}"/>
                </a:ext>
              </a:extLst>
            </p:cNvPr>
            <p:cNvSpPr/>
            <p:nvPr/>
          </p:nvSpPr>
          <p:spPr>
            <a:xfrm>
              <a:off x="5226800" y="1711950"/>
              <a:ext cx="787900" cy="1279475"/>
            </a:xfrm>
            <a:custGeom>
              <a:avLst/>
              <a:gdLst/>
              <a:ahLst/>
              <a:cxnLst/>
              <a:rect l="l" t="t" r="r" b="b"/>
              <a:pathLst>
                <a:path w="31516" h="51179" extrusionOk="0">
                  <a:moveTo>
                    <a:pt x="2489" y="0"/>
                  </a:moveTo>
                  <a:lnTo>
                    <a:pt x="2385" y="69"/>
                  </a:lnTo>
                  <a:lnTo>
                    <a:pt x="2143" y="208"/>
                  </a:lnTo>
                  <a:lnTo>
                    <a:pt x="1867" y="449"/>
                  </a:lnTo>
                  <a:lnTo>
                    <a:pt x="1625" y="760"/>
                  </a:lnTo>
                  <a:lnTo>
                    <a:pt x="1348" y="1141"/>
                  </a:lnTo>
                  <a:lnTo>
                    <a:pt x="1106" y="1590"/>
                  </a:lnTo>
                  <a:lnTo>
                    <a:pt x="864" y="2039"/>
                  </a:lnTo>
                  <a:lnTo>
                    <a:pt x="657" y="2523"/>
                  </a:lnTo>
                  <a:lnTo>
                    <a:pt x="450" y="3007"/>
                  </a:lnTo>
                  <a:lnTo>
                    <a:pt x="277" y="3456"/>
                  </a:lnTo>
                  <a:lnTo>
                    <a:pt x="139" y="3905"/>
                  </a:lnTo>
                  <a:lnTo>
                    <a:pt x="35" y="4320"/>
                  </a:lnTo>
                  <a:lnTo>
                    <a:pt x="0" y="4665"/>
                  </a:lnTo>
                  <a:lnTo>
                    <a:pt x="0" y="4942"/>
                  </a:lnTo>
                  <a:lnTo>
                    <a:pt x="35" y="5080"/>
                  </a:lnTo>
                  <a:lnTo>
                    <a:pt x="70" y="5149"/>
                  </a:lnTo>
                  <a:lnTo>
                    <a:pt x="242" y="5322"/>
                  </a:lnTo>
                  <a:lnTo>
                    <a:pt x="588" y="5667"/>
                  </a:lnTo>
                  <a:lnTo>
                    <a:pt x="1694" y="6670"/>
                  </a:lnTo>
                  <a:lnTo>
                    <a:pt x="3283" y="8052"/>
                  </a:lnTo>
                  <a:lnTo>
                    <a:pt x="5149" y="9641"/>
                  </a:lnTo>
                  <a:lnTo>
                    <a:pt x="7085" y="11266"/>
                  </a:lnTo>
                  <a:lnTo>
                    <a:pt x="8951" y="12786"/>
                  </a:lnTo>
                  <a:lnTo>
                    <a:pt x="10575" y="14030"/>
                  </a:lnTo>
                  <a:lnTo>
                    <a:pt x="11231" y="14479"/>
                  </a:lnTo>
                  <a:lnTo>
                    <a:pt x="11784" y="14825"/>
                  </a:lnTo>
                  <a:lnTo>
                    <a:pt x="12406" y="15240"/>
                  </a:lnTo>
                  <a:lnTo>
                    <a:pt x="13166" y="15758"/>
                  </a:lnTo>
                  <a:lnTo>
                    <a:pt x="14860" y="16967"/>
                  </a:lnTo>
                  <a:lnTo>
                    <a:pt x="16691" y="18350"/>
                  </a:lnTo>
                  <a:lnTo>
                    <a:pt x="18557" y="19801"/>
                  </a:lnTo>
                  <a:lnTo>
                    <a:pt x="21840" y="22393"/>
                  </a:lnTo>
                  <a:lnTo>
                    <a:pt x="23602" y="23810"/>
                  </a:lnTo>
                  <a:lnTo>
                    <a:pt x="23741" y="23982"/>
                  </a:lnTo>
                  <a:lnTo>
                    <a:pt x="23948" y="24224"/>
                  </a:lnTo>
                  <a:lnTo>
                    <a:pt x="24121" y="24535"/>
                  </a:lnTo>
                  <a:lnTo>
                    <a:pt x="24328" y="24915"/>
                  </a:lnTo>
                  <a:lnTo>
                    <a:pt x="24743" y="25848"/>
                  </a:lnTo>
                  <a:lnTo>
                    <a:pt x="25123" y="26885"/>
                  </a:lnTo>
                  <a:lnTo>
                    <a:pt x="25469" y="27991"/>
                  </a:lnTo>
                  <a:lnTo>
                    <a:pt x="25745" y="29028"/>
                  </a:lnTo>
                  <a:lnTo>
                    <a:pt x="25814" y="29511"/>
                  </a:lnTo>
                  <a:lnTo>
                    <a:pt x="25883" y="29961"/>
                  </a:lnTo>
                  <a:lnTo>
                    <a:pt x="25883" y="30375"/>
                  </a:lnTo>
                  <a:lnTo>
                    <a:pt x="25883" y="30721"/>
                  </a:lnTo>
                  <a:lnTo>
                    <a:pt x="25572" y="32587"/>
                  </a:lnTo>
                  <a:lnTo>
                    <a:pt x="25434" y="33451"/>
                  </a:lnTo>
                  <a:lnTo>
                    <a:pt x="25330" y="34176"/>
                  </a:lnTo>
                  <a:lnTo>
                    <a:pt x="25158" y="35421"/>
                  </a:lnTo>
                  <a:lnTo>
                    <a:pt x="24916" y="37183"/>
                  </a:lnTo>
                  <a:lnTo>
                    <a:pt x="24674" y="39325"/>
                  </a:lnTo>
                  <a:lnTo>
                    <a:pt x="24570" y="40500"/>
                  </a:lnTo>
                  <a:lnTo>
                    <a:pt x="24501" y="41675"/>
                  </a:lnTo>
                  <a:lnTo>
                    <a:pt x="24466" y="42885"/>
                  </a:lnTo>
                  <a:lnTo>
                    <a:pt x="24466" y="44060"/>
                  </a:lnTo>
                  <a:lnTo>
                    <a:pt x="24535" y="45235"/>
                  </a:lnTo>
                  <a:lnTo>
                    <a:pt x="24674" y="46306"/>
                  </a:lnTo>
                  <a:lnTo>
                    <a:pt x="24777" y="46824"/>
                  </a:lnTo>
                  <a:lnTo>
                    <a:pt x="24881" y="47342"/>
                  </a:lnTo>
                  <a:lnTo>
                    <a:pt x="25019" y="47792"/>
                  </a:lnTo>
                  <a:lnTo>
                    <a:pt x="25192" y="48241"/>
                  </a:lnTo>
                  <a:lnTo>
                    <a:pt x="25365" y="48656"/>
                  </a:lnTo>
                  <a:lnTo>
                    <a:pt x="25572" y="49036"/>
                  </a:lnTo>
                  <a:lnTo>
                    <a:pt x="25814" y="49381"/>
                  </a:lnTo>
                  <a:lnTo>
                    <a:pt x="26091" y="49692"/>
                  </a:lnTo>
                  <a:lnTo>
                    <a:pt x="26436" y="50038"/>
                  </a:lnTo>
                  <a:lnTo>
                    <a:pt x="26782" y="50349"/>
                  </a:lnTo>
                  <a:lnTo>
                    <a:pt x="27093" y="50591"/>
                  </a:lnTo>
                  <a:lnTo>
                    <a:pt x="27438" y="50764"/>
                  </a:lnTo>
                  <a:lnTo>
                    <a:pt x="27749" y="50936"/>
                  </a:lnTo>
                  <a:lnTo>
                    <a:pt x="28060" y="51040"/>
                  </a:lnTo>
                  <a:lnTo>
                    <a:pt x="28337" y="51144"/>
                  </a:lnTo>
                  <a:lnTo>
                    <a:pt x="28648" y="51178"/>
                  </a:lnTo>
                  <a:lnTo>
                    <a:pt x="28924" y="51178"/>
                  </a:lnTo>
                  <a:lnTo>
                    <a:pt x="29201" y="51144"/>
                  </a:lnTo>
                  <a:lnTo>
                    <a:pt x="29443" y="51109"/>
                  </a:lnTo>
                  <a:lnTo>
                    <a:pt x="29719" y="51005"/>
                  </a:lnTo>
                  <a:lnTo>
                    <a:pt x="29961" y="50902"/>
                  </a:lnTo>
                  <a:lnTo>
                    <a:pt x="30203" y="50764"/>
                  </a:lnTo>
                  <a:lnTo>
                    <a:pt x="30410" y="50591"/>
                  </a:lnTo>
                  <a:lnTo>
                    <a:pt x="30617" y="50418"/>
                  </a:lnTo>
                  <a:lnTo>
                    <a:pt x="30790" y="50245"/>
                  </a:lnTo>
                  <a:lnTo>
                    <a:pt x="30963" y="50038"/>
                  </a:lnTo>
                  <a:lnTo>
                    <a:pt x="31067" y="49761"/>
                  </a:lnTo>
                  <a:lnTo>
                    <a:pt x="31170" y="49485"/>
                  </a:lnTo>
                  <a:lnTo>
                    <a:pt x="31274" y="49174"/>
                  </a:lnTo>
                  <a:lnTo>
                    <a:pt x="31343" y="48828"/>
                  </a:lnTo>
                  <a:lnTo>
                    <a:pt x="31447" y="48034"/>
                  </a:lnTo>
                  <a:lnTo>
                    <a:pt x="31516" y="47135"/>
                  </a:lnTo>
                  <a:lnTo>
                    <a:pt x="31516" y="46168"/>
                  </a:lnTo>
                  <a:lnTo>
                    <a:pt x="31481" y="45062"/>
                  </a:lnTo>
                  <a:lnTo>
                    <a:pt x="31447" y="43921"/>
                  </a:lnTo>
                  <a:lnTo>
                    <a:pt x="31309" y="41399"/>
                  </a:lnTo>
                  <a:lnTo>
                    <a:pt x="31205" y="38669"/>
                  </a:lnTo>
                  <a:lnTo>
                    <a:pt x="31205" y="37252"/>
                  </a:lnTo>
                  <a:lnTo>
                    <a:pt x="31205" y="35801"/>
                  </a:lnTo>
                  <a:lnTo>
                    <a:pt x="31274" y="34349"/>
                  </a:lnTo>
                  <a:lnTo>
                    <a:pt x="31378" y="32863"/>
                  </a:lnTo>
                  <a:lnTo>
                    <a:pt x="31447" y="31758"/>
                  </a:lnTo>
                  <a:lnTo>
                    <a:pt x="31447" y="30721"/>
                  </a:lnTo>
                  <a:lnTo>
                    <a:pt x="31378" y="29719"/>
                  </a:lnTo>
                  <a:lnTo>
                    <a:pt x="31274" y="28751"/>
                  </a:lnTo>
                  <a:lnTo>
                    <a:pt x="31136" y="27818"/>
                  </a:lnTo>
                  <a:lnTo>
                    <a:pt x="30928" y="26920"/>
                  </a:lnTo>
                  <a:lnTo>
                    <a:pt x="30548" y="25192"/>
                  </a:lnTo>
                  <a:lnTo>
                    <a:pt x="30134" y="23499"/>
                  </a:lnTo>
                  <a:lnTo>
                    <a:pt x="29961" y="22669"/>
                  </a:lnTo>
                  <a:lnTo>
                    <a:pt x="29823" y="21840"/>
                  </a:lnTo>
                  <a:lnTo>
                    <a:pt x="29719" y="20976"/>
                  </a:lnTo>
                  <a:lnTo>
                    <a:pt x="29684" y="20112"/>
                  </a:lnTo>
                  <a:lnTo>
                    <a:pt x="29684" y="19214"/>
                  </a:lnTo>
                  <a:lnTo>
                    <a:pt x="29788" y="18281"/>
                  </a:lnTo>
                  <a:lnTo>
                    <a:pt x="29926" y="16967"/>
                  </a:lnTo>
                  <a:lnTo>
                    <a:pt x="30030" y="15862"/>
                  </a:lnTo>
                  <a:lnTo>
                    <a:pt x="30065" y="14963"/>
                  </a:lnTo>
                  <a:lnTo>
                    <a:pt x="30099" y="14272"/>
                  </a:lnTo>
                  <a:lnTo>
                    <a:pt x="30065" y="13339"/>
                  </a:lnTo>
                  <a:lnTo>
                    <a:pt x="30065" y="13063"/>
                  </a:lnTo>
                  <a:lnTo>
                    <a:pt x="29408" y="13235"/>
                  </a:lnTo>
                  <a:lnTo>
                    <a:pt x="28786" y="13374"/>
                  </a:lnTo>
                  <a:lnTo>
                    <a:pt x="28164" y="13477"/>
                  </a:lnTo>
                  <a:lnTo>
                    <a:pt x="27542" y="13581"/>
                  </a:lnTo>
                  <a:lnTo>
                    <a:pt x="26954" y="13615"/>
                  </a:lnTo>
                  <a:lnTo>
                    <a:pt x="26367" y="13650"/>
                  </a:lnTo>
                  <a:lnTo>
                    <a:pt x="25192" y="13650"/>
                  </a:lnTo>
                  <a:lnTo>
                    <a:pt x="24639" y="13581"/>
                  </a:lnTo>
                  <a:lnTo>
                    <a:pt x="24052" y="13512"/>
                  </a:lnTo>
                  <a:lnTo>
                    <a:pt x="22980" y="13339"/>
                  </a:lnTo>
                  <a:lnTo>
                    <a:pt x="21909" y="13097"/>
                  </a:lnTo>
                  <a:lnTo>
                    <a:pt x="20873" y="12752"/>
                  </a:lnTo>
                  <a:lnTo>
                    <a:pt x="19905" y="12406"/>
                  </a:lnTo>
                  <a:lnTo>
                    <a:pt x="18937" y="11991"/>
                  </a:lnTo>
                  <a:lnTo>
                    <a:pt x="18004" y="11577"/>
                  </a:lnTo>
                  <a:lnTo>
                    <a:pt x="17140" y="11127"/>
                  </a:lnTo>
                  <a:lnTo>
                    <a:pt x="15482" y="10194"/>
                  </a:lnTo>
                  <a:lnTo>
                    <a:pt x="13996" y="9365"/>
                  </a:lnTo>
                  <a:lnTo>
                    <a:pt x="13616" y="9089"/>
                  </a:lnTo>
                  <a:lnTo>
                    <a:pt x="13097" y="8708"/>
                  </a:lnTo>
                  <a:lnTo>
                    <a:pt x="11681" y="7603"/>
                  </a:lnTo>
                  <a:lnTo>
                    <a:pt x="9987" y="6186"/>
                  </a:lnTo>
                  <a:lnTo>
                    <a:pt x="8156" y="4596"/>
                  </a:lnTo>
                  <a:lnTo>
                    <a:pt x="4735" y="1659"/>
                  </a:lnTo>
                  <a:lnTo>
                    <a:pt x="3491" y="622"/>
                  </a:lnTo>
                  <a:lnTo>
                    <a:pt x="2800" y="69"/>
                  </a:lnTo>
                  <a:lnTo>
                    <a:pt x="2696" y="35"/>
                  </a:lnTo>
                  <a:lnTo>
                    <a:pt x="2592" y="0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1" name="Google Shape;14211;p81">
              <a:extLst>
                <a:ext uri="{FF2B5EF4-FFF2-40B4-BE49-F238E27FC236}">
                  <a16:creationId xmlns:a16="http://schemas.microsoft.com/office/drawing/2014/main" id="{62DA2B43-019B-1492-A42D-B643CD117373}"/>
                </a:ext>
              </a:extLst>
            </p:cNvPr>
            <p:cNvSpPr/>
            <p:nvPr/>
          </p:nvSpPr>
          <p:spPr>
            <a:xfrm>
              <a:off x="6280775" y="3011275"/>
              <a:ext cx="110600" cy="54450"/>
            </a:xfrm>
            <a:custGeom>
              <a:avLst/>
              <a:gdLst/>
              <a:ahLst/>
              <a:cxnLst/>
              <a:rect l="l" t="t" r="r" b="b"/>
              <a:pathLst>
                <a:path w="4424" h="2178" extrusionOk="0">
                  <a:moveTo>
                    <a:pt x="484" y="0"/>
                  </a:moveTo>
                  <a:lnTo>
                    <a:pt x="380" y="104"/>
                  </a:lnTo>
                  <a:lnTo>
                    <a:pt x="311" y="173"/>
                  </a:lnTo>
                  <a:lnTo>
                    <a:pt x="104" y="276"/>
                  </a:lnTo>
                  <a:lnTo>
                    <a:pt x="35" y="346"/>
                  </a:lnTo>
                  <a:lnTo>
                    <a:pt x="0" y="380"/>
                  </a:lnTo>
                  <a:lnTo>
                    <a:pt x="0" y="415"/>
                  </a:lnTo>
                  <a:lnTo>
                    <a:pt x="69" y="484"/>
                  </a:lnTo>
                  <a:lnTo>
                    <a:pt x="277" y="622"/>
                  </a:lnTo>
                  <a:lnTo>
                    <a:pt x="691" y="829"/>
                  </a:lnTo>
                  <a:lnTo>
                    <a:pt x="1832" y="1348"/>
                  </a:lnTo>
                  <a:lnTo>
                    <a:pt x="3387" y="2073"/>
                  </a:lnTo>
                  <a:lnTo>
                    <a:pt x="3456" y="2108"/>
                  </a:lnTo>
                  <a:lnTo>
                    <a:pt x="3490" y="2143"/>
                  </a:lnTo>
                  <a:lnTo>
                    <a:pt x="3594" y="2177"/>
                  </a:lnTo>
                  <a:lnTo>
                    <a:pt x="3698" y="2143"/>
                  </a:lnTo>
                  <a:lnTo>
                    <a:pt x="3801" y="2108"/>
                  </a:lnTo>
                  <a:lnTo>
                    <a:pt x="3905" y="2004"/>
                  </a:lnTo>
                  <a:lnTo>
                    <a:pt x="4043" y="1866"/>
                  </a:lnTo>
                  <a:lnTo>
                    <a:pt x="4182" y="1659"/>
                  </a:lnTo>
                  <a:lnTo>
                    <a:pt x="4251" y="1451"/>
                  </a:lnTo>
                  <a:lnTo>
                    <a:pt x="4354" y="1140"/>
                  </a:lnTo>
                  <a:lnTo>
                    <a:pt x="4389" y="899"/>
                  </a:lnTo>
                  <a:lnTo>
                    <a:pt x="4423" y="795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79E9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2" name="Google Shape;14212;p81">
              <a:extLst>
                <a:ext uri="{FF2B5EF4-FFF2-40B4-BE49-F238E27FC236}">
                  <a16:creationId xmlns:a16="http://schemas.microsoft.com/office/drawing/2014/main" id="{41D0CBE2-3BC9-BC86-45FD-E7F34F833DCA}"/>
                </a:ext>
              </a:extLst>
            </p:cNvPr>
            <p:cNvSpPr/>
            <p:nvPr/>
          </p:nvSpPr>
          <p:spPr>
            <a:xfrm>
              <a:off x="6110575" y="1997900"/>
              <a:ext cx="331775" cy="1002150"/>
            </a:xfrm>
            <a:custGeom>
              <a:avLst/>
              <a:gdLst/>
              <a:ahLst/>
              <a:cxnLst/>
              <a:rect l="l" t="t" r="r" b="b"/>
              <a:pathLst>
                <a:path w="13271" h="40086" extrusionOk="0">
                  <a:moveTo>
                    <a:pt x="312" y="0"/>
                  </a:moveTo>
                  <a:lnTo>
                    <a:pt x="243" y="1037"/>
                  </a:lnTo>
                  <a:lnTo>
                    <a:pt x="173" y="2627"/>
                  </a:lnTo>
                  <a:lnTo>
                    <a:pt x="104" y="4631"/>
                  </a:lnTo>
                  <a:lnTo>
                    <a:pt x="35" y="6981"/>
                  </a:lnTo>
                  <a:lnTo>
                    <a:pt x="1" y="9573"/>
                  </a:lnTo>
                  <a:lnTo>
                    <a:pt x="35" y="12268"/>
                  </a:lnTo>
                  <a:lnTo>
                    <a:pt x="139" y="15067"/>
                  </a:lnTo>
                  <a:lnTo>
                    <a:pt x="208" y="16415"/>
                  </a:lnTo>
                  <a:lnTo>
                    <a:pt x="312" y="17762"/>
                  </a:lnTo>
                  <a:lnTo>
                    <a:pt x="450" y="19076"/>
                  </a:lnTo>
                  <a:lnTo>
                    <a:pt x="657" y="20492"/>
                  </a:lnTo>
                  <a:lnTo>
                    <a:pt x="934" y="21944"/>
                  </a:lnTo>
                  <a:lnTo>
                    <a:pt x="1245" y="23395"/>
                  </a:lnTo>
                  <a:lnTo>
                    <a:pt x="1590" y="24846"/>
                  </a:lnTo>
                  <a:lnTo>
                    <a:pt x="1970" y="26229"/>
                  </a:lnTo>
                  <a:lnTo>
                    <a:pt x="2627" y="28544"/>
                  </a:lnTo>
                  <a:lnTo>
                    <a:pt x="2869" y="29442"/>
                  </a:lnTo>
                  <a:lnTo>
                    <a:pt x="3007" y="30272"/>
                  </a:lnTo>
                  <a:lnTo>
                    <a:pt x="3111" y="31067"/>
                  </a:lnTo>
                  <a:lnTo>
                    <a:pt x="3180" y="31792"/>
                  </a:lnTo>
                  <a:lnTo>
                    <a:pt x="3214" y="32483"/>
                  </a:lnTo>
                  <a:lnTo>
                    <a:pt x="3180" y="33175"/>
                  </a:lnTo>
                  <a:lnTo>
                    <a:pt x="3145" y="34384"/>
                  </a:lnTo>
                  <a:lnTo>
                    <a:pt x="3111" y="35455"/>
                  </a:lnTo>
                  <a:lnTo>
                    <a:pt x="3145" y="35974"/>
                  </a:lnTo>
                  <a:lnTo>
                    <a:pt x="3214" y="36423"/>
                  </a:lnTo>
                  <a:lnTo>
                    <a:pt x="3318" y="36872"/>
                  </a:lnTo>
                  <a:lnTo>
                    <a:pt x="3491" y="37321"/>
                  </a:lnTo>
                  <a:lnTo>
                    <a:pt x="3733" y="37736"/>
                  </a:lnTo>
                  <a:lnTo>
                    <a:pt x="4044" y="38116"/>
                  </a:lnTo>
                  <a:lnTo>
                    <a:pt x="4493" y="38565"/>
                  </a:lnTo>
                  <a:lnTo>
                    <a:pt x="4977" y="38945"/>
                  </a:lnTo>
                  <a:lnTo>
                    <a:pt x="5495" y="39256"/>
                  </a:lnTo>
                  <a:lnTo>
                    <a:pt x="6013" y="39533"/>
                  </a:lnTo>
                  <a:lnTo>
                    <a:pt x="6566" y="39740"/>
                  </a:lnTo>
                  <a:lnTo>
                    <a:pt x="7119" y="39913"/>
                  </a:lnTo>
                  <a:lnTo>
                    <a:pt x="7672" y="40017"/>
                  </a:lnTo>
                  <a:lnTo>
                    <a:pt x="8225" y="40051"/>
                  </a:lnTo>
                  <a:lnTo>
                    <a:pt x="8813" y="40086"/>
                  </a:lnTo>
                  <a:lnTo>
                    <a:pt x="9400" y="40051"/>
                  </a:lnTo>
                  <a:lnTo>
                    <a:pt x="9953" y="39948"/>
                  </a:lnTo>
                  <a:lnTo>
                    <a:pt x="10540" y="39809"/>
                  </a:lnTo>
                  <a:lnTo>
                    <a:pt x="11093" y="39637"/>
                  </a:lnTo>
                  <a:lnTo>
                    <a:pt x="11646" y="39429"/>
                  </a:lnTo>
                  <a:lnTo>
                    <a:pt x="12164" y="39187"/>
                  </a:lnTo>
                  <a:lnTo>
                    <a:pt x="12683" y="38876"/>
                  </a:lnTo>
                  <a:lnTo>
                    <a:pt x="12787" y="38773"/>
                  </a:lnTo>
                  <a:lnTo>
                    <a:pt x="12925" y="38669"/>
                  </a:lnTo>
                  <a:lnTo>
                    <a:pt x="12994" y="38496"/>
                  </a:lnTo>
                  <a:lnTo>
                    <a:pt x="13098" y="38323"/>
                  </a:lnTo>
                  <a:lnTo>
                    <a:pt x="13201" y="37909"/>
                  </a:lnTo>
                  <a:lnTo>
                    <a:pt x="13236" y="37390"/>
                  </a:lnTo>
                  <a:lnTo>
                    <a:pt x="13270" y="36803"/>
                  </a:lnTo>
                  <a:lnTo>
                    <a:pt x="13201" y="36146"/>
                  </a:lnTo>
                  <a:lnTo>
                    <a:pt x="13132" y="35421"/>
                  </a:lnTo>
                  <a:lnTo>
                    <a:pt x="13028" y="34626"/>
                  </a:lnTo>
                  <a:lnTo>
                    <a:pt x="12717" y="32933"/>
                  </a:lnTo>
                  <a:lnTo>
                    <a:pt x="12303" y="31136"/>
                  </a:lnTo>
                  <a:lnTo>
                    <a:pt x="11473" y="27507"/>
                  </a:lnTo>
                  <a:lnTo>
                    <a:pt x="11128" y="25918"/>
                  </a:lnTo>
                  <a:lnTo>
                    <a:pt x="10817" y="24466"/>
                  </a:lnTo>
                  <a:lnTo>
                    <a:pt x="10713" y="23810"/>
                  </a:lnTo>
                  <a:lnTo>
                    <a:pt x="10644" y="23222"/>
                  </a:lnTo>
                  <a:lnTo>
                    <a:pt x="10609" y="22669"/>
                  </a:lnTo>
                  <a:lnTo>
                    <a:pt x="10575" y="22186"/>
                  </a:lnTo>
                  <a:lnTo>
                    <a:pt x="10644" y="20320"/>
                  </a:lnTo>
                  <a:lnTo>
                    <a:pt x="10713" y="19041"/>
                  </a:lnTo>
                  <a:lnTo>
                    <a:pt x="10748" y="17520"/>
                  </a:lnTo>
                  <a:lnTo>
                    <a:pt x="10782" y="16657"/>
                  </a:lnTo>
                  <a:lnTo>
                    <a:pt x="10748" y="15620"/>
                  </a:lnTo>
                  <a:lnTo>
                    <a:pt x="10644" y="12994"/>
                  </a:lnTo>
                  <a:lnTo>
                    <a:pt x="10575" y="11715"/>
                  </a:lnTo>
                  <a:lnTo>
                    <a:pt x="10402" y="10402"/>
                  </a:lnTo>
                  <a:lnTo>
                    <a:pt x="10160" y="9054"/>
                  </a:lnTo>
                  <a:lnTo>
                    <a:pt x="9884" y="7741"/>
                  </a:lnTo>
                  <a:lnTo>
                    <a:pt x="9711" y="7119"/>
                  </a:lnTo>
                  <a:lnTo>
                    <a:pt x="9504" y="6497"/>
                  </a:lnTo>
                  <a:lnTo>
                    <a:pt x="9331" y="5944"/>
                  </a:lnTo>
                  <a:lnTo>
                    <a:pt x="9089" y="5391"/>
                  </a:lnTo>
                  <a:lnTo>
                    <a:pt x="8882" y="4907"/>
                  </a:lnTo>
                  <a:lnTo>
                    <a:pt x="8640" y="4458"/>
                  </a:lnTo>
                  <a:lnTo>
                    <a:pt x="8363" y="4078"/>
                  </a:lnTo>
                  <a:lnTo>
                    <a:pt x="8087" y="3767"/>
                  </a:lnTo>
                  <a:lnTo>
                    <a:pt x="7430" y="3110"/>
                  </a:lnTo>
                  <a:lnTo>
                    <a:pt x="6774" y="2558"/>
                  </a:lnTo>
                  <a:lnTo>
                    <a:pt x="6083" y="2074"/>
                  </a:lnTo>
                  <a:lnTo>
                    <a:pt x="5391" y="1625"/>
                  </a:lnTo>
                  <a:lnTo>
                    <a:pt x="4735" y="1279"/>
                  </a:lnTo>
                  <a:lnTo>
                    <a:pt x="4113" y="968"/>
                  </a:lnTo>
                  <a:lnTo>
                    <a:pt x="3491" y="726"/>
                  </a:lnTo>
                  <a:lnTo>
                    <a:pt x="2903" y="519"/>
                  </a:lnTo>
                  <a:lnTo>
                    <a:pt x="2350" y="346"/>
                  </a:lnTo>
                  <a:lnTo>
                    <a:pt x="1867" y="242"/>
                  </a:lnTo>
                  <a:lnTo>
                    <a:pt x="1037" y="7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3" name="Google Shape;14213;p81">
              <a:extLst>
                <a:ext uri="{FF2B5EF4-FFF2-40B4-BE49-F238E27FC236}">
                  <a16:creationId xmlns:a16="http://schemas.microsoft.com/office/drawing/2014/main" id="{BE556E53-BC75-91AA-D073-4995F79F7C44}"/>
                </a:ext>
              </a:extLst>
            </p:cNvPr>
            <p:cNvSpPr/>
            <p:nvPr/>
          </p:nvSpPr>
          <p:spPr>
            <a:xfrm>
              <a:off x="6110575" y="1997900"/>
              <a:ext cx="331775" cy="1002150"/>
            </a:xfrm>
            <a:custGeom>
              <a:avLst/>
              <a:gdLst/>
              <a:ahLst/>
              <a:cxnLst/>
              <a:rect l="l" t="t" r="r" b="b"/>
              <a:pathLst>
                <a:path w="13271" h="40086" fill="none" extrusionOk="0">
                  <a:moveTo>
                    <a:pt x="12683" y="38876"/>
                  </a:moveTo>
                  <a:lnTo>
                    <a:pt x="12683" y="38876"/>
                  </a:lnTo>
                  <a:lnTo>
                    <a:pt x="12164" y="39187"/>
                  </a:lnTo>
                  <a:lnTo>
                    <a:pt x="11646" y="39429"/>
                  </a:lnTo>
                  <a:lnTo>
                    <a:pt x="11093" y="39637"/>
                  </a:lnTo>
                  <a:lnTo>
                    <a:pt x="10540" y="39809"/>
                  </a:lnTo>
                  <a:lnTo>
                    <a:pt x="9953" y="39948"/>
                  </a:lnTo>
                  <a:lnTo>
                    <a:pt x="9400" y="40051"/>
                  </a:lnTo>
                  <a:lnTo>
                    <a:pt x="8813" y="40086"/>
                  </a:lnTo>
                  <a:lnTo>
                    <a:pt x="8225" y="40051"/>
                  </a:lnTo>
                  <a:lnTo>
                    <a:pt x="7672" y="40017"/>
                  </a:lnTo>
                  <a:lnTo>
                    <a:pt x="7119" y="39913"/>
                  </a:lnTo>
                  <a:lnTo>
                    <a:pt x="6566" y="39740"/>
                  </a:lnTo>
                  <a:lnTo>
                    <a:pt x="6013" y="39533"/>
                  </a:lnTo>
                  <a:lnTo>
                    <a:pt x="5495" y="39256"/>
                  </a:lnTo>
                  <a:lnTo>
                    <a:pt x="4977" y="38945"/>
                  </a:lnTo>
                  <a:lnTo>
                    <a:pt x="4493" y="38565"/>
                  </a:lnTo>
                  <a:lnTo>
                    <a:pt x="4044" y="38116"/>
                  </a:lnTo>
                  <a:lnTo>
                    <a:pt x="4044" y="38116"/>
                  </a:lnTo>
                  <a:lnTo>
                    <a:pt x="3733" y="37736"/>
                  </a:lnTo>
                  <a:lnTo>
                    <a:pt x="3491" y="37321"/>
                  </a:lnTo>
                  <a:lnTo>
                    <a:pt x="3318" y="36872"/>
                  </a:lnTo>
                  <a:lnTo>
                    <a:pt x="3214" y="36423"/>
                  </a:lnTo>
                  <a:lnTo>
                    <a:pt x="3145" y="35974"/>
                  </a:lnTo>
                  <a:lnTo>
                    <a:pt x="3111" y="35455"/>
                  </a:lnTo>
                  <a:lnTo>
                    <a:pt x="3145" y="34384"/>
                  </a:lnTo>
                  <a:lnTo>
                    <a:pt x="3180" y="33175"/>
                  </a:lnTo>
                  <a:lnTo>
                    <a:pt x="3214" y="32483"/>
                  </a:lnTo>
                  <a:lnTo>
                    <a:pt x="3180" y="31792"/>
                  </a:lnTo>
                  <a:lnTo>
                    <a:pt x="3111" y="31067"/>
                  </a:lnTo>
                  <a:lnTo>
                    <a:pt x="3007" y="30272"/>
                  </a:lnTo>
                  <a:lnTo>
                    <a:pt x="2869" y="29442"/>
                  </a:lnTo>
                  <a:lnTo>
                    <a:pt x="2627" y="28544"/>
                  </a:lnTo>
                  <a:lnTo>
                    <a:pt x="2627" y="28544"/>
                  </a:lnTo>
                  <a:lnTo>
                    <a:pt x="1970" y="26229"/>
                  </a:lnTo>
                  <a:lnTo>
                    <a:pt x="1590" y="24846"/>
                  </a:lnTo>
                  <a:lnTo>
                    <a:pt x="1245" y="23395"/>
                  </a:lnTo>
                  <a:lnTo>
                    <a:pt x="934" y="21944"/>
                  </a:lnTo>
                  <a:lnTo>
                    <a:pt x="657" y="20492"/>
                  </a:lnTo>
                  <a:lnTo>
                    <a:pt x="450" y="19076"/>
                  </a:lnTo>
                  <a:lnTo>
                    <a:pt x="312" y="17762"/>
                  </a:lnTo>
                  <a:lnTo>
                    <a:pt x="312" y="17762"/>
                  </a:lnTo>
                  <a:lnTo>
                    <a:pt x="208" y="16415"/>
                  </a:lnTo>
                  <a:lnTo>
                    <a:pt x="139" y="15067"/>
                  </a:lnTo>
                  <a:lnTo>
                    <a:pt x="35" y="12268"/>
                  </a:lnTo>
                  <a:lnTo>
                    <a:pt x="1" y="9573"/>
                  </a:lnTo>
                  <a:lnTo>
                    <a:pt x="35" y="6981"/>
                  </a:lnTo>
                  <a:lnTo>
                    <a:pt x="104" y="4631"/>
                  </a:lnTo>
                  <a:lnTo>
                    <a:pt x="173" y="2627"/>
                  </a:lnTo>
                  <a:lnTo>
                    <a:pt x="243" y="1037"/>
                  </a:lnTo>
                  <a:lnTo>
                    <a:pt x="312" y="0"/>
                  </a:lnTo>
                  <a:lnTo>
                    <a:pt x="312" y="0"/>
                  </a:lnTo>
                  <a:lnTo>
                    <a:pt x="519" y="0"/>
                  </a:lnTo>
                  <a:lnTo>
                    <a:pt x="1037" y="70"/>
                  </a:lnTo>
                  <a:lnTo>
                    <a:pt x="1867" y="242"/>
                  </a:lnTo>
                  <a:lnTo>
                    <a:pt x="2350" y="346"/>
                  </a:lnTo>
                  <a:lnTo>
                    <a:pt x="2903" y="519"/>
                  </a:lnTo>
                  <a:lnTo>
                    <a:pt x="3491" y="726"/>
                  </a:lnTo>
                  <a:lnTo>
                    <a:pt x="4113" y="968"/>
                  </a:lnTo>
                  <a:lnTo>
                    <a:pt x="4735" y="1279"/>
                  </a:lnTo>
                  <a:lnTo>
                    <a:pt x="5391" y="1625"/>
                  </a:lnTo>
                  <a:lnTo>
                    <a:pt x="6083" y="2074"/>
                  </a:lnTo>
                  <a:lnTo>
                    <a:pt x="6774" y="2558"/>
                  </a:lnTo>
                  <a:lnTo>
                    <a:pt x="7430" y="3110"/>
                  </a:lnTo>
                  <a:lnTo>
                    <a:pt x="8087" y="3767"/>
                  </a:lnTo>
                  <a:lnTo>
                    <a:pt x="8087" y="3767"/>
                  </a:lnTo>
                  <a:lnTo>
                    <a:pt x="8363" y="4078"/>
                  </a:lnTo>
                  <a:lnTo>
                    <a:pt x="8640" y="4458"/>
                  </a:lnTo>
                  <a:lnTo>
                    <a:pt x="8882" y="4907"/>
                  </a:lnTo>
                  <a:lnTo>
                    <a:pt x="9089" y="5391"/>
                  </a:lnTo>
                  <a:lnTo>
                    <a:pt x="9331" y="5944"/>
                  </a:lnTo>
                  <a:lnTo>
                    <a:pt x="9504" y="6497"/>
                  </a:lnTo>
                  <a:lnTo>
                    <a:pt x="9711" y="7119"/>
                  </a:lnTo>
                  <a:lnTo>
                    <a:pt x="9884" y="7741"/>
                  </a:lnTo>
                  <a:lnTo>
                    <a:pt x="10160" y="9054"/>
                  </a:lnTo>
                  <a:lnTo>
                    <a:pt x="10402" y="10402"/>
                  </a:lnTo>
                  <a:lnTo>
                    <a:pt x="10575" y="11715"/>
                  </a:lnTo>
                  <a:lnTo>
                    <a:pt x="10644" y="12994"/>
                  </a:lnTo>
                  <a:lnTo>
                    <a:pt x="10644" y="12994"/>
                  </a:lnTo>
                  <a:lnTo>
                    <a:pt x="10748" y="15620"/>
                  </a:lnTo>
                  <a:lnTo>
                    <a:pt x="10748" y="15620"/>
                  </a:lnTo>
                  <a:lnTo>
                    <a:pt x="10782" y="16657"/>
                  </a:lnTo>
                  <a:lnTo>
                    <a:pt x="10748" y="17520"/>
                  </a:lnTo>
                  <a:lnTo>
                    <a:pt x="10713" y="19041"/>
                  </a:lnTo>
                  <a:lnTo>
                    <a:pt x="10713" y="19041"/>
                  </a:lnTo>
                  <a:lnTo>
                    <a:pt x="10644" y="20320"/>
                  </a:lnTo>
                  <a:lnTo>
                    <a:pt x="10644" y="20320"/>
                  </a:lnTo>
                  <a:lnTo>
                    <a:pt x="10644" y="20320"/>
                  </a:lnTo>
                  <a:lnTo>
                    <a:pt x="10575" y="22186"/>
                  </a:lnTo>
                  <a:lnTo>
                    <a:pt x="10575" y="22186"/>
                  </a:lnTo>
                  <a:lnTo>
                    <a:pt x="10609" y="22669"/>
                  </a:lnTo>
                  <a:lnTo>
                    <a:pt x="10644" y="23222"/>
                  </a:lnTo>
                  <a:lnTo>
                    <a:pt x="10713" y="23810"/>
                  </a:lnTo>
                  <a:lnTo>
                    <a:pt x="10817" y="24466"/>
                  </a:lnTo>
                  <a:lnTo>
                    <a:pt x="11128" y="25918"/>
                  </a:lnTo>
                  <a:lnTo>
                    <a:pt x="11473" y="27507"/>
                  </a:lnTo>
                  <a:lnTo>
                    <a:pt x="11473" y="27507"/>
                  </a:lnTo>
                  <a:lnTo>
                    <a:pt x="11473" y="27507"/>
                  </a:lnTo>
                  <a:lnTo>
                    <a:pt x="12303" y="31136"/>
                  </a:lnTo>
                  <a:lnTo>
                    <a:pt x="12717" y="32933"/>
                  </a:lnTo>
                  <a:lnTo>
                    <a:pt x="13028" y="34626"/>
                  </a:lnTo>
                  <a:lnTo>
                    <a:pt x="13132" y="35421"/>
                  </a:lnTo>
                  <a:lnTo>
                    <a:pt x="13201" y="36146"/>
                  </a:lnTo>
                  <a:lnTo>
                    <a:pt x="13270" y="36803"/>
                  </a:lnTo>
                  <a:lnTo>
                    <a:pt x="13236" y="37390"/>
                  </a:lnTo>
                  <a:lnTo>
                    <a:pt x="13201" y="37909"/>
                  </a:lnTo>
                  <a:lnTo>
                    <a:pt x="13098" y="38323"/>
                  </a:lnTo>
                  <a:lnTo>
                    <a:pt x="12994" y="38496"/>
                  </a:lnTo>
                  <a:lnTo>
                    <a:pt x="12925" y="38669"/>
                  </a:lnTo>
                  <a:lnTo>
                    <a:pt x="12787" y="38773"/>
                  </a:lnTo>
                  <a:lnTo>
                    <a:pt x="12683" y="3887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4" name="Google Shape;14214;p81">
              <a:extLst>
                <a:ext uri="{FF2B5EF4-FFF2-40B4-BE49-F238E27FC236}">
                  <a16:creationId xmlns:a16="http://schemas.microsoft.com/office/drawing/2014/main" id="{0D712EEC-6B4B-FAD8-8BBE-DF0B3B58A82C}"/>
                </a:ext>
              </a:extLst>
            </p:cNvPr>
            <p:cNvSpPr/>
            <p:nvPr/>
          </p:nvSpPr>
          <p:spPr>
            <a:xfrm>
              <a:off x="6154650" y="2061825"/>
              <a:ext cx="450100" cy="991800"/>
            </a:xfrm>
            <a:custGeom>
              <a:avLst/>
              <a:gdLst/>
              <a:ahLst/>
              <a:cxnLst/>
              <a:rect l="l" t="t" r="r" b="b"/>
              <a:pathLst>
                <a:path w="18004" h="39672" extrusionOk="0">
                  <a:moveTo>
                    <a:pt x="2695" y="1"/>
                  </a:moveTo>
                  <a:lnTo>
                    <a:pt x="2177" y="35"/>
                  </a:lnTo>
                  <a:lnTo>
                    <a:pt x="1659" y="104"/>
                  </a:lnTo>
                  <a:lnTo>
                    <a:pt x="1209" y="208"/>
                  </a:lnTo>
                  <a:lnTo>
                    <a:pt x="795" y="381"/>
                  </a:lnTo>
                  <a:lnTo>
                    <a:pt x="622" y="484"/>
                  </a:lnTo>
                  <a:lnTo>
                    <a:pt x="484" y="623"/>
                  </a:lnTo>
                  <a:lnTo>
                    <a:pt x="346" y="761"/>
                  </a:lnTo>
                  <a:lnTo>
                    <a:pt x="207" y="899"/>
                  </a:lnTo>
                  <a:lnTo>
                    <a:pt x="138" y="1072"/>
                  </a:lnTo>
                  <a:lnTo>
                    <a:pt x="69" y="1279"/>
                  </a:lnTo>
                  <a:lnTo>
                    <a:pt x="35" y="1486"/>
                  </a:lnTo>
                  <a:lnTo>
                    <a:pt x="0" y="1694"/>
                  </a:lnTo>
                  <a:lnTo>
                    <a:pt x="35" y="2143"/>
                  </a:lnTo>
                  <a:lnTo>
                    <a:pt x="69" y="2592"/>
                  </a:lnTo>
                  <a:lnTo>
                    <a:pt x="138" y="3007"/>
                  </a:lnTo>
                  <a:lnTo>
                    <a:pt x="242" y="3387"/>
                  </a:lnTo>
                  <a:lnTo>
                    <a:pt x="449" y="4113"/>
                  </a:lnTo>
                  <a:lnTo>
                    <a:pt x="691" y="4735"/>
                  </a:lnTo>
                  <a:lnTo>
                    <a:pt x="933" y="5219"/>
                  </a:lnTo>
                  <a:lnTo>
                    <a:pt x="1106" y="5599"/>
                  </a:lnTo>
                  <a:lnTo>
                    <a:pt x="1313" y="5910"/>
                  </a:lnTo>
                  <a:lnTo>
                    <a:pt x="2972" y="8605"/>
                  </a:lnTo>
                  <a:lnTo>
                    <a:pt x="4458" y="10920"/>
                  </a:lnTo>
                  <a:lnTo>
                    <a:pt x="5736" y="12890"/>
                  </a:lnTo>
                  <a:lnTo>
                    <a:pt x="6842" y="14549"/>
                  </a:lnTo>
                  <a:lnTo>
                    <a:pt x="7810" y="15931"/>
                  </a:lnTo>
                  <a:lnTo>
                    <a:pt x="8605" y="17071"/>
                  </a:lnTo>
                  <a:lnTo>
                    <a:pt x="9849" y="18730"/>
                  </a:lnTo>
                  <a:lnTo>
                    <a:pt x="10643" y="19767"/>
                  </a:lnTo>
                  <a:lnTo>
                    <a:pt x="10920" y="20147"/>
                  </a:lnTo>
                  <a:lnTo>
                    <a:pt x="11127" y="20458"/>
                  </a:lnTo>
                  <a:lnTo>
                    <a:pt x="11265" y="20734"/>
                  </a:lnTo>
                  <a:lnTo>
                    <a:pt x="11369" y="21045"/>
                  </a:lnTo>
                  <a:lnTo>
                    <a:pt x="11438" y="21426"/>
                  </a:lnTo>
                  <a:lnTo>
                    <a:pt x="11507" y="21840"/>
                  </a:lnTo>
                  <a:lnTo>
                    <a:pt x="11507" y="22117"/>
                  </a:lnTo>
                  <a:lnTo>
                    <a:pt x="11473" y="22428"/>
                  </a:lnTo>
                  <a:lnTo>
                    <a:pt x="11404" y="22808"/>
                  </a:lnTo>
                  <a:lnTo>
                    <a:pt x="11300" y="23257"/>
                  </a:lnTo>
                  <a:lnTo>
                    <a:pt x="11024" y="24259"/>
                  </a:lnTo>
                  <a:lnTo>
                    <a:pt x="10609" y="25434"/>
                  </a:lnTo>
                  <a:lnTo>
                    <a:pt x="10160" y="26713"/>
                  </a:lnTo>
                  <a:lnTo>
                    <a:pt x="9641" y="28060"/>
                  </a:lnTo>
                  <a:lnTo>
                    <a:pt x="8466" y="30894"/>
                  </a:lnTo>
                  <a:lnTo>
                    <a:pt x="7291" y="33589"/>
                  </a:lnTo>
                  <a:lnTo>
                    <a:pt x="6255" y="35870"/>
                  </a:lnTo>
                  <a:lnTo>
                    <a:pt x="5253" y="38047"/>
                  </a:lnTo>
                  <a:lnTo>
                    <a:pt x="5875" y="38393"/>
                  </a:lnTo>
                  <a:lnTo>
                    <a:pt x="6497" y="38704"/>
                  </a:lnTo>
                  <a:lnTo>
                    <a:pt x="7257" y="39049"/>
                  </a:lnTo>
                  <a:lnTo>
                    <a:pt x="8017" y="39360"/>
                  </a:lnTo>
                  <a:lnTo>
                    <a:pt x="8397" y="39499"/>
                  </a:lnTo>
                  <a:lnTo>
                    <a:pt x="8708" y="39602"/>
                  </a:lnTo>
                  <a:lnTo>
                    <a:pt x="9019" y="39671"/>
                  </a:lnTo>
                  <a:lnTo>
                    <a:pt x="9261" y="39671"/>
                  </a:lnTo>
                  <a:lnTo>
                    <a:pt x="9468" y="39637"/>
                  </a:lnTo>
                  <a:lnTo>
                    <a:pt x="9538" y="39602"/>
                  </a:lnTo>
                  <a:lnTo>
                    <a:pt x="9572" y="39568"/>
                  </a:lnTo>
                  <a:lnTo>
                    <a:pt x="10090" y="38669"/>
                  </a:lnTo>
                  <a:lnTo>
                    <a:pt x="11127" y="36734"/>
                  </a:lnTo>
                  <a:lnTo>
                    <a:pt x="12509" y="34039"/>
                  </a:lnTo>
                  <a:lnTo>
                    <a:pt x="14064" y="30894"/>
                  </a:lnTo>
                  <a:lnTo>
                    <a:pt x="14859" y="29270"/>
                  </a:lnTo>
                  <a:lnTo>
                    <a:pt x="15585" y="27646"/>
                  </a:lnTo>
                  <a:lnTo>
                    <a:pt x="16276" y="26091"/>
                  </a:lnTo>
                  <a:lnTo>
                    <a:pt x="16864" y="24605"/>
                  </a:lnTo>
                  <a:lnTo>
                    <a:pt x="17382" y="23222"/>
                  </a:lnTo>
                  <a:lnTo>
                    <a:pt x="17589" y="22600"/>
                  </a:lnTo>
                  <a:lnTo>
                    <a:pt x="17727" y="22048"/>
                  </a:lnTo>
                  <a:lnTo>
                    <a:pt x="17866" y="21495"/>
                  </a:lnTo>
                  <a:lnTo>
                    <a:pt x="17969" y="21045"/>
                  </a:lnTo>
                  <a:lnTo>
                    <a:pt x="18004" y="20631"/>
                  </a:lnTo>
                  <a:lnTo>
                    <a:pt x="18004" y="20285"/>
                  </a:lnTo>
                  <a:lnTo>
                    <a:pt x="17935" y="19905"/>
                  </a:lnTo>
                  <a:lnTo>
                    <a:pt x="17831" y="19490"/>
                  </a:lnTo>
                  <a:lnTo>
                    <a:pt x="17658" y="19007"/>
                  </a:lnTo>
                  <a:lnTo>
                    <a:pt x="17451" y="18488"/>
                  </a:lnTo>
                  <a:lnTo>
                    <a:pt x="16898" y="17313"/>
                  </a:lnTo>
                  <a:lnTo>
                    <a:pt x="16172" y="15966"/>
                  </a:lnTo>
                  <a:lnTo>
                    <a:pt x="15378" y="14549"/>
                  </a:lnTo>
                  <a:lnTo>
                    <a:pt x="14445" y="13028"/>
                  </a:lnTo>
                  <a:lnTo>
                    <a:pt x="13477" y="11473"/>
                  </a:lnTo>
                  <a:lnTo>
                    <a:pt x="12475" y="9918"/>
                  </a:lnTo>
                  <a:lnTo>
                    <a:pt x="10436" y="6877"/>
                  </a:lnTo>
                  <a:lnTo>
                    <a:pt x="8570" y="4251"/>
                  </a:lnTo>
                  <a:lnTo>
                    <a:pt x="7119" y="2281"/>
                  </a:lnTo>
                  <a:lnTo>
                    <a:pt x="6289" y="1210"/>
                  </a:lnTo>
                  <a:lnTo>
                    <a:pt x="6047" y="968"/>
                  </a:lnTo>
                  <a:lnTo>
                    <a:pt x="5702" y="726"/>
                  </a:lnTo>
                  <a:lnTo>
                    <a:pt x="5287" y="519"/>
                  </a:lnTo>
                  <a:lnTo>
                    <a:pt x="4803" y="346"/>
                  </a:lnTo>
                  <a:lnTo>
                    <a:pt x="4320" y="208"/>
                  </a:lnTo>
                  <a:lnTo>
                    <a:pt x="3767" y="104"/>
                  </a:lnTo>
                  <a:lnTo>
                    <a:pt x="3214" y="35"/>
                  </a:lnTo>
                  <a:lnTo>
                    <a:pt x="2695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5" name="Google Shape;14215;p81">
              <a:extLst>
                <a:ext uri="{FF2B5EF4-FFF2-40B4-BE49-F238E27FC236}">
                  <a16:creationId xmlns:a16="http://schemas.microsoft.com/office/drawing/2014/main" id="{74D542B9-F055-B456-00D8-8A4CA10D63BF}"/>
                </a:ext>
              </a:extLst>
            </p:cNvPr>
            <p:cNvSpPr/>
            <p:nvPr/>
          </p:nvSpPr>
          <p:spPr>
            <a:xfrm>
              <a:off x="6154650" y="2061825"/>
              <a:ext cx="450100" cy="991800"/>
            </a:xfrm>
            <a:custGeom>
              <a:avLst/>
              <a:gdLst/>
              <a:ahLst/>
              <a:cxnLst/>
              <a:rect l="l" t="t" r="r" b="b"/>
              <a:pathLst>
                <a:path w="18004" h="39672" fill="none" extrusionOk="0">
                  <a:moveTo>
                    <a:pt x="1313" y="5910"/>
                  </a:moveTo>
                  <a:lnTo>
                    <a:pt x="1313" y="5910"/>
                  </a:lnTo>
                  <a:lnTo>
                    <a:pt x="2972" y="8605"/>
                  </a:lnTo>
                  <a:lnTo>
                    <a:pt x="4458" y="10920"/>
                  </a:lnTo>
                  <a:lnTo>
                    <a:pt x="5736" y="12890"/>
                  </a:lnTo>
                  <a:lnTo>
                    <a:pt x="6842" y="14549"/>
                  </a:lnTo>
                  <a:lnTo>
                    <a:pt x="7810" y="15931"/>
                  </a:lnTo>
                  <a:lnTo>
                    <a:pt x="8605" y="17071"/>
                  </a:lnTo>
                  <a:lnTo>
                    <a:pt x="9849" y="18730"/>
                  </a:lnTo>
                  <a:lnTo>
                    <a:pt x="10643" y="19767"/>
                  </a:lnTo>
                  <a:lnTo>
                    <a:pt x="10920" y="20147"/>
                  </a:lnTo>
                  <a:lnTo>
                    <a:pt x="11127" y="20458"/>
                  </a:lnTo>
                  <a:lnTo>
                    <a:pt x="11265" y="20734"/>
                  </a:lnTo>
                  <a:lnTo>
                    <a:pt x="11369" y="21045"/>
                  </a:lnTo>
                  <a:lnTo>
                    <a:pt x="11438" y="21426"/>
                  </a:lnTo>
                  <a:lnTo>
                    <a:pt x="11507" y="21840"/>
                  </a:lnTo>
                  <a:lnTo>
                    <a:pt x="11507" y="21840"/>
                  </a:lnTo>
                  <a:lnTo>
                    <a:pt x="11507" y="22117"/>
                  </a:lnTo>
                  <a:lnTo>
                    <a:pt x="11473" y="22428"/>
                  </a:lnTo>
                  <a:lnTo>
                    <a:pt x="11404" y="22808"/>
                  </a:lnTo>
                  <a:lnTo>
                    <a:pt x="11300" y="23257"/>
                  </a:lnTo>
                  <a:lnTo>
                    <a:pt x="11024" y="24259"/>
                  </a:lnTo>
                  <a:lnTo>
                    <a:pt x="10609" y="25434"/>
                  </a:lnTo>
                  <a:lnTo>
                    <a:pt x="10160" y="26713"/>
                  </a:lnTo>
                  <a:lnTo>
                    <a:pt x="9641" y="28060"/>
                  </a:lnTo>
                  <a:lnTo>
                    <a:pt x="8466" y="30894"/>
                  </a:lnTo>
                  <a:lnTo>
                    <a:pt x="7291" y="33589"/>
                  </a:lnTo>
                  <a:lnTo>
                    <a:pt x="6255" y="35870"/>
                  </a:lnTo>
                  <a:lnTo>
                    <a:pt x="5253" y="38047"/>
                  </a:lnTo>
                  <a:lnTo>
                    <a:pt x="5253" y="38047"/>
                  </a:lnTo>
                  <a:lnTo>
                    <a:pt x="5875" y="38393"/>
                  </a:lnTo>
                  <a:lnTo>
                    <a:pt x="6497" y="38704"/>
                  </a:lnTo>
                  <a:lnTo>
                    <a:pt x="7257" y="39049"/>
                  </a:lnTo>
                  <a:lnTo>
                    <a:pt x="8017" y="39360"/>
                  </a:lnTo>
                  <a:lnTo>
                    <a:pt x="8397" y="39499"/>
                  </a:lnTo>
                  <a:lnTo>
                    <a:pt x="8708" y="39602"/>
                  </a:lnTo>
                  <a:lnTo>
                    <a:pt x="9019" y="39671"/>
                  </a:lnTo>
                  <a:lnTo>
                    <a:pt x="9261" y="39671"/>
                  </a:lnTo>
                  <a:lnTo>
                    <a:pt x="9468" y="39637"/>
                  </a:lnTo>
                  <a:lnTo>
                    <a:pt x="9538" y="39602"/>
                  </a:lnTo>
                  <a:lnTo>
                    <a:pt x="9572" y="39568"/>
                  </a:lnTo>
                  <a:lnTo>
                    <a:pt x="9572" y="39568"/>
                  </a:lnTo>
                  <a:lnTo>
                    <a:pt x="10090" y="38669"/>
                  </a:lnTo>
                  <a:lnTo>
                    <a:pt x="11127" y="36734"/>
                  </a:lnTo>
                  <a:lnTo>
                    <a:pt x="12509" y="34039"/>
                  </a:lnTo>
                  <a:lnTo>
                    <a:pt x="14064" y="30894"/>
                  </a:lnTo>
                  <a:lnTo>
                    <a:pt x="14859" y="29270"/>
                  </a:lnTo>
                  <a:lnTo>
                    <a:pt x="15585" y="27646"/>
                  </a:lnTo>
                  <a:lnTo>
                    <a:pt x="16276" y="26091"/>
                  </a:lnTo>
                  <a:lnTo>
                    <a:pt x="16864" y="24605"/>
                  </a:lnTo>
                  <a:lnTo>
                    <a:pt x="17382" y="23222"/>
                  </a:lnTo>
                  <a:lnTo>
                    <a:pt x="17589" y="22600"/>
                  </a:lnTo>
                  <a:lnTo>
                    <a:pt x="17727" y="22048"/>
                  </a:lnTo>
                  <a:lnTo>
                    <a:pt x="17866" y="21495"/>
                  </a:lnTo>
                  <a:lnTo>
                    <a:pt x="17969" y="21045"/>
                  </a:lnTo>
                  <a:lnTo>
                    <a:pt x="18004" y="20631"/>
                  </a:lnTo>
                  <a:lnTo>
                    <a:pt x="18004" y="20285"/>
                  </a:lnTo>
                  <a:lnTo>
                    <a:pt x="18004" y="20285"/>
                  </a:lnTo>
                  <a:lnTo>
                    <a:pt x="17935" y="19905"/>
                  </a:lnTo>
                  <a:lnTo>
                    <a:pt x="17831" y="19490"/>
                  </a:lnTo>
                  <a:lnTo>
                    <a:pt x="17658" y="19007"/>
                  </a:lnTo>
                  <a:lnTo>
                    <a:pt x="17451" y="18488"/>
                  </a:lnTo>
                  <a:lnTo>
                    <a:pt x="16898" y="17313"/>
                  </a:lnTo>
                  <a:lnTo>
                    <a:pt x="16172" y="15966"/>
                  </a:lnTo>
                  <a:lnTo>
                    <a:pt x="15378" y="14549"/>
                  </a:lnTo>
                  <a:lnTo>
                    <a:pt x="14445" y="13028"/>
                  </a:lnTo>
                  <a:lnTo>
                    <a:pt x="13477" y="11473"/>
                  </a:lnTo>
                  <a:lnTo>
                    <a:pt x="12475" y="9918"/>
                  </a:lnTo>
                  <a:lnTo>
                    <a:pt x="10436" y="6877"/>
                  </a:lnTo>
                  <a:lnTo>
                    <a:pt x="8570" y="4251"/>
                  </a:lnTo>
                  <a:lnTo>
                    <a:pt x="7119" y="2281"/>
                  </a:lnTo>
                  <a:lnTo>
                    <a:pt x="6289" y="1210"/>
                  </a:lnTo>
                  <a:lnTo>
                    <a:pt x="6289" y="1210"/>
                  </a:lnTo>
                  <a:lnTo>
                    <a:pt x="6047" y="968"/>
                  </a:lnTo>
                  <a:lnTo>
                    <a:pt x="5702" y="726"/>
                  </a:lnTo>
                  <a:lnTo>
                    <a:pt x="5287" y="519"/>
                  </a:lnTo>
                  <a:lnTo>
                    <a:pt x="4803" y="346"/>
                  </a:lnTo>
                  <a:lnTo>
                    <a:pt x="4320" y="208"/>
                  </a:lnTo>
                  <a:lnTo>
                    <a:pt x="3767" y="104"/>
                  </a:lnTo>
                  <a:lnTo>
                    <a:pt x="3214" y="35"/>
                  </a:lnTo>
                  <a:lnTo>
                    <a:pt x="2695" y="1"/>
                  </a:lnTo>
                  <a:lnTo>
                    <a:pt x="2177" y="35"/>
                  </a:lnTo>
                  <a:lnTo>
                    <a:pt x="1659" y="104"/>
                  </a:lnTo>
                  <a:lnTo>
                    <a:pt x="1209" y="208"/>
                  </a:lnTo>
                  <a:lnTo>
                    <a:pt x="795" y="381"/>
                  </a:lnTo>
                  <a:lnTo>
                    <a:pt x="622" y="484"/>
                  </a:lnTo>
                  <a:lnTo>
                    <a:pt x="484" y="623"/>
                  </a:lnTo>
                  <a:lnTo>
                    <a:pt x="346" y="761"/>
                  </a:lnTo>
                  <a:lnTo>
                    <a:pt x="207" y="899"/>
                  </a:lnTo>
                  <a:lnTo>
                    <a:pt x="138" y="1072"/>
                  </a:lnTo>
                  <a:lnTo>
                    <a:pt x="69" y="1279"/>
                  </a:lnTo>
                  <a:lnTo>
                    <a:pt x="35" y="1486"/>
                  </a:lnTo>
                  <a:lnTo>
                    <a:pt x="0" y="1694"/>
                  </a:lnTo>
                  <a:lnTo>
                    <a:pt x="0" y="1694"/>
                  </a:lnTo>
                  <a:lnTo>
                    <a:pt x="35" y="2143"/>
                  </a:lnTo>
                  <a:lnTo>
                    <a:pt x="69" y="2592"/>
                  </a:lnTo>
                  <a:lnTo>
                    <a:pt x="138" y="3007"/>
                  </a:lnTo>
                  <a:lnTo>
                    <a:pt x="242" y="3387"/>
                  </a:lnTo>
                  <a:lnTo>
                    <a:pt x="449" y="4113"/>
                  </a:lnTo>
                  <a:lnTo>
                    <a:pt x="691" y="4735"/>
                  </a:lnTo>
                  <a:lnTo>
                    <a:pt x="933" y="5219"/>
                  </a:lnTo>
                  <a:lnTo>
                    <a:pt x="1106" y="5599"/>
                  </a:lnTo>
                  <a:lnTo>
                    <a:pt x="1313" y="59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56" name="Google Shape;14216;p81">
              <a:extLst>
                <a:ext uri="{FF2B5EF4-FFF2-40B4-BE49-F238E27FC236}">
                  <a16:creationId xmlns:a16="http://schemas.microsoft.com/office/drawing/2014/main" id="{045F45CE-8F40-D1FD-2A15-F5ED417CA7C2}"/>
                </a:ext>
              </a:extLst>
            </p:cNvPr>
            <p:cNvSpPr/>
            <p:nvPr/>
          </p:nvSpPr>
          <p:spPr>
            <a:xfrm>
              <a:off x="6302375" y="2405675"/>
              <a:ext cx="95050" cy="279925"/>
            </a:xfrm>
            <a:custGeom>
              <a:avLst/>
              <a:gdLst/>
              <a:ahLst/>
              <a:cxnLst/>
              <a:rect l="l" t="t" r="r" b="b"/>
              <a:pathLst>
                <a:path w="3802" h="11197" extrusionOk="0">
                  <a:moveTo>
                    <a:pt x="0" y="0"/>
                  </a:moveTo>
                  <a:lnTo>
                    <a:pt x="35" y="380"/>
                  </a:lnTo>
                  <a:lnTo>
                    <a:pt x="104" y="1313"/>
                  </a:lnTo>
                  <a:lnTo>
                    <a:pt x="277" y="2730"/>
                  </a:lnTo>
                  <a:lnTo>
                    <a:pt x="415" y="3525"/>
                  </a:lnTo>
                  <a:lnTo>
                    <a:pt x="588" y="4423"/>
                  </a:lnTo>
                  <a:lnTo>
                    <a:pt x="795" y="5322"/>
                  </a:lnTo>
                  <a:lnTo>
                    <a:pt x="1037" y="6255"/>
                  </a:lnTo>
                  <a:lnTo>
                    <a:pt x="1348" y="7188"/>
                  </a:lnTo>
                  <a:lnTo>
                    <a:pt x="1693" y="8121"/>
                  </a:lnTo>
                  <a:lnTo>
                    <a:pt x="2143" y="8985"/>
                  </a:lnTo>
                  <a:lnTo>
                    <a:pt x="2350" y="9399"/>
                  </a:lnTo>
                  <a:lnTo>
                    <a:pt x="2626" y="9814"/>
                  </a:lnTo>
                  <a:lnTo>
                    <a:pt x="2868" y="10194"/>
                  </a:lnTo>
                  <a:lnTo>
                    <a:pt x="3179" y="10540"/>
                  </a:lnTo>
                  <a:lnTo>
                    <a:pt x="3456" y="10885"/>
                  </a:lnTo>
                  <a:lnTo>
                    <a:pt x="3801" y="11196"/>
                  </a:lnTo>
                  <a:lnTo>
                    <a:pt x="3801" y="11196"/>
                  </a:lnTo>
                  <a:lnTo>
                    <a:pt x="3456" y="9641"/>
                  </a:lnTo>
                  <a:lnTo>
                    <a:pt x="3179" y="8259"/>
                  </a:lnTo>
                  <a:lnTo>
                    <a:pt x="2972" y="7015"/>
                  </a:lnTo>
                  <a:lnTo>
                    <a:pt x="2937" y="6462"/>
                  </a:lnTo>
                  <a:lnTo>
                    <a:pt x="2903" y="5978"/>
                  </a:lnTo>
                  <a:lnTo>
                    <a:pt x="2903" y="5875"/>
                  </a:lnTo>
                  <a:lnTo>
                    <a:pt x="2972" y="4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57" name="Google Shape;14217;p81">
              <a:extLst>
                <a:ext uri="{FF2B5EF4-FFF2-40B4-BE49-F238E27FC236}">
                  <a16:creationId xmlns:a16="http://schemas.microsoft.com/office/drawing/2014/main" id="{FEA93C9C-AF15-2192-EFB4-F2BC65E62B71}"/>
                </a:ext>
              </a:extLst>
            </p:cNvPr>
            <p:cNvSpPr/>
            <p:nvPr/>
          </p:nvSpPr>
          <p:spPr>
            <a:xfrm>
              <a:off x="6302375" y="2405675"/>
              <a:ext cx="95050" cy="279925"/>
            </a:xfrm>
            <a:custGeom>
              <a:avLst/>
              <a:gdLst/>
              <a:ahLst/>
              <a:cxnLst/>
              <a:rect l="l" t="t" r="r" b="b"/>
              <a:pathLst>
                <a:path w="3802" h="11197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35" y="380"/>
                  </a:lnTo>
                  <a:lnTo>
                    <a:pt x="104" y="1313"/>
                  </a:lnTo>
                  <a:lnTo>
                    <a:pt x="277" y="2730"/>
                  </a:lnTo>
                  <a:lnTo>
                    <a:pt x="415" y="3525"/>
                  </a:lnTo>
                  <a:lnTo>
                    <a:pt x="588" y="4423"/>
                  </a:lnTo>
                  <a:lnTo>
                    <a:pt x="795" y="5322"/>
                  </a:lnTo>
                  <a:lnTo>
                    <a:pt x="1037" y="6255"/>
                  </a:lnTo>
                  <a:lnTo>
                    <a:pt x="1348" y="7188"/>
                  </a:lnTo>
                  <a:lnTo>
                    <a:pt x="1693" y="8121"/>
                  </a:lnTo>
                  <a:lnTo>
                    <a:pt x="2143" y="8985"/>
                  </a:lnTo>
                  <a:lnTo>
                    <a:pt x="2350" y="9399"/>
                  </a:lnTo>
                  <a:lnTo>
                    <a:pt x="2626" y="9814"/>
                  </a:lnTo>
                  <a:lnTo>
                    <a:pt x="2868" y="10194"/>
                  </a:lnTo>
                  <a:lnTo>
                    <a:pt x="3179" y="10540"/>
                  </a:lnTo>
                  <a:lnTo>
                    <a:pt x="3456" y="10885"/>
                  </a:lnTo>
                  <a:lnTo>
                    <a:pt x="3801" y="11196"/>
                  </a:lnTo>
                  <a:lnTo>
                    <a:pt x="3801" y="11196"/>
                  </a:lnTo>
                  <a:lnTo>
                    <a:pt x="3456" y="9641"/>
                  </a:lnTo>
                  <a:lnTo>
                    <a:pt x="3179" y="8259"/>
                  </a:lnTo>
                  <a:lnTo>
                    <a:pt x="2972" y="7015"/>
                  </a:lnTo>
                  <a:lnTo>
                    <a:pt x="2937" y="6462"/>
                  </a:lnTo>
                  <a:lnTo>
                    <a:pt x="2903" y="5978"/>
                  </a:lnTo>
                  <a:lnTo>
                    <a:pt x="2903" y="5978"/>
                  </a:lnTo>
                  <a:lnTo>
                    <a:pt x="2903" y="5875"/>
                  </a:lnTo>
                  <a:lnTo>
                    <a:pt x="2903" y="5875"/>
                  </a:lnTo>
                  <a:lnTo>
                    <a:pt x="2972" y="4009"/>
                  </a:lnTo>
                  <a:lnTo>
                    <a:pt x="2972" y="4009"/>
                  </a:lnTo>
                  <a:lnTo>
                    <a:pt x="2972" y="400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58" name="Google Shape;14218;p81">
              <a:extLst>
                <a:ext uri="{FF2B5EF4-FFF2-40B4-BE49-F238E27FC236}">
                  <a16:creationId xmlns:a16="http://schemas.microsoft.com/office/drawing/2014/main" id="{8AC34E44-1416-3A5A-F41B-446C0FF9798A}"/>
                </a:ext>
              </a:extLst>
            </p:cNvPr>
            <p:cNvSpPr/>
            <p:nvPr/>
          </p:nvSpPr>
          <p:spPr>
            <a:xfrm>
              <a:off x="6402575" y="27071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7C7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59" name="Google Shape;14219;p81">
              <a:extLst>
                <a:ext uri="{FF2B5EF4-FFF2-40B4-BE49-F238E27FC236}">
                  <a16:creationId xmlns:a16="http://schemas.microsoft.com/office/drawing/2014/main" id="{2996E2F9-5BF1-0A13-9260-8476FE9D7960}"/>
                </a:ext>
              </a:extLst>
            </p:cNvPr>
            <p:cNvSpPr/>
            <p:nvPr/>
          </p:nvSpPr>
          <p:spPr>
            <a:xfrm>
              <a:off x="6402575" y="27071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60" name="Google Shape;14220;p81">
              <a:extLst>
                <a:ext uri="{FF2B5EF4-FFF2-40B4-BE49-F238E27FC236}">
                  <a16:creationId xmlns:a16="http://schemas.microsoft.com/office/drawing/2014/main" id="{93763DCE-7F02-2427-6C1F-4626A2925714}"/>
                </a:ext>
              </a:extLst>
            </p:cNvPr>
            <p:cNvSpPr/>
            <p:nvPr/>
          </p:nvSpPr>
          <p:spPr>
            <a:xfrm>
              <a:off x="6298900" y="2707175"/>
              <a:ext cx="108900" cy="279050"/>
            </a:xfrm>
            <a:custGeom>
              <a:avLst/>
              <a:gdLst/>
              <a:ahLst/>
              <a:cxnLst/>
              <a:rect l="l" t="t" r="r" b="b"/>
              <a:pathLst>
                <a:path w="4356" h="11162" extrusionOk="0">
                  <a:moveTo>
                    <a:pt x="4148" y="0"/>
                  </a:moveTo>
                  <a:lnTo>
                    <a:pt x="1" y="11162"/>
                  </a:lnTo>
                  <a:lnTo>
                    <a:pt x="865" y="9227"/>
                  </a:lnTo>
                  <a:lnTo>
                    <a:pt x="2005" y="6670"/>
                  </a:lnTo>
                  <a:lnTo>
                    <a:pt x="3215" y="3801"/>
                  </a:lnTo>
                  <a:lnTo>
                    <a:pt x="3802" y="2350"/>
                  </a:lnTo>
                  <a:lnTo>
                    <a:pt x="4355" y="968"/>
                  </a:lnTo>
                  <a:lnTo>
                    <a:pt x="4148" y="0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261" name="Google Shape;14221;p81">
              <a:extLst>
                <a:ext uri="{FF2B5EF4-FFF2-40B4-BE49-F238E27FC236}">
                  <a16:creationId xmlns:a16="http://schemas.microsoft.com/office/drawing/2014/main" id="{DA3C03E0-6821-7AF2-DAB5-49D15E3C8725}"/>
                </a:ext>
              </a:extLst>
            </p:cNvPr>
            <p:cNvSpPr/>
            <p:nvPr/>
          </p:nvSpPr>
          <p:spPr>
            <a:xfrm>
              <a:off x="6298900" y="2707175"/>
              <a:ext cx="108900" cy="279050"/>
            </a:xfrm>
            <a:custGeom>
              <a:avLst/>
              <a:gdLst/>
              <a:ahLst/>
              <a:cxnLst/>
              <a:rect l="l" t="t" r="r" b="b"/>
              <a:pathLst>
                <a:path w="4356" h="11162" fill="none" extrusionOk="0">
                  <a:moveTo>
                    <a:pt x="4148" y="0"/>
                  </a:moveTo>
                  <a:lnTo>
                    <a:pt x="1" y="11162"/>
                  </a:lnTo>
                  <a:lnTo>
                    <a:pt x="1" y="11162"/>
                  </a:lnTo>
                  <a:lnTo>
                    <a:pt x="865" y="9227"/>
                  </a:lnTo>
                  <a:lnTo>
                    <a:pt x="2005" y="6670"/>
                  </a:lnTo>
                  <a:lnTo>
                    <a:pt x="3215" y="3801"/>
                  </a:lnTo>
                  <a:lnTo>
                    <a:pt x="3802" y="2350"/>
                  </a:lnTo>
                  <a:lnTo>
                    <a:pt x="4355" y="968"/>
                  </a:lnTo>
                  <a:lnTo>
                    <a:pt x="4148" y="0"/>
                  </a:lnTo>
                  <a:lnTo>
                    <a:pt x="4148" y="0"/>
                  </a:lnTo>
                  <a:lnTo>
                    <a:pt x="414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6" name="Google Shape;14222;p81">
              <a:extLst>
                <a:ext uri="{FF2B5EF4-FFF2-40B4-BE49-F238E27FC236}">
                  <a16:creationId xmlns:a16="http://schemas.microsoft.com/office/drawing/2014/main" id="{C43374BA-7747-2DA7-3B1B-CCE6A16A8256}"/>
                </a:ext>
              </a:extLst>
            </p:cNvPr>
            <p:cNvSpPr/>
            <p:nvPr/>
          </p:nvSpPr>
          <p:spPr>
            <a:xfrm>
              <a:off x="6295450" y="2731350"/>
              <a:ext cx="115800" cy="263525"/>
            </a:xfrm>
            <a:custGeom>
              <a:avLst/>
              <a:gdLst/>
              <a:ahLst/>
              <a:cxnLst/>
              <a:rect l="l" t="t" r="r" b="b"/>
              <a:pathLst>
                <a:path w="4632" h="10541" extrusionOk="0">
                  <a:moveTo>
                    <a:pt x="4493" y="1"/>
                  </a:moveTo>
                  <a:lnTo>
                    <a:pt x="3940" y="1383"/>
                  </a:lnTo>
                  <a:lnTo>
                    <a:pt x="3353" y="2834"/>
                  </a:lnTo>
                  <a:lnTo>
                    <a:pt x="2143" y="5703"/>
                  </a:lnTo>
                  <a:lnTo>
                    <a:pt x="1003" y="8260"/>
                  </a:lnTo>
                  <a:lnTo>
                    <a:pt x="139" y="10195"/>
                  </a:lnTo>
                  <a:lnTo>
                    <a:pt x="1" y="10540"/>
                  </a:lnTo>
                  <a:lnTo>
                    <a:pt x="692" y="9124"/>
                  </a:lnTo>
                  <a:lnTo>
                    <a:pt x="2247" y="5979"/>
                  </a:lnTo>
                  <a:lnTo>
                    <a:pt x="3076" y="4217"/>
                  </a:lnTo>
                  <a:lnTo>
                    <a:pt x="3802" y="2627"/>
                  </a:lnTo>
                  <a:lnTo>
                    <a:pt x="4355" y="1348"/>
                  </a:lnTo>
                  <a:lnTo>
                    <a:pt x="4562" y="899"/>
                  </a:lnTo>
                  <a:lnTo>
                    <a:pt x="4631" y="588"/>
                  </a:lnTo>
                  <a:lnTo>
                    <a:pt x="4493" y="1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7" name="Google Shape;14223;p81">
              <a:extLst>
                <a:ext uri="{FF2B5EF4-FFF2-40B4-BE49-F238E27FC236}">
                  <a16:creationId xmlns:a16="http://schemas.microsoft.com/office/drawing/2014/main" id="{A6A4FA51-FBF3-30B0-A717-67A2F4069EA5}"/>
                </a:ext>
              </a:extLst>
            </p:cNvPr>
            <p:cNvSpPr/>
            <p:nvPr/>
          </p:nvSpPr>
          <p:spPr>
            <a:xfrm>
              <a:off x="6295450" y="2731350"/>
              <a:ext cx="115800" cy="263525"/>
            </a:xfrm>
            <a:custGeom>
              <a:avLst/>
              <a:gdLst/>
              <a:ahLst/>
              <a:cxnLst/>
              <a:rect l="l" t="t" r="r" b="b"/>
              <a:pathLst>
                <a:path w="4632" h="10541" fill="none" extrusionOk="0">
                  <a:moveTo>
                    <a:pt x="4493" y="1"/>
                  </a:moveTo>
                  <a:lnTo>
                    <a:pt x="4493" y="1"/>
                  </a:lnTo>
                  <a:lnTo>
                    <a:pt x="3940" y="1383"/>
                  </a:lnTo>
                  <a:lnTo>
                    <a:pt x="3353" y="2834"/>
                  </a:lnTo>
                  <a:lnTo>
                    <a:pt x="2143" y="5703"/>
                  </a:lnTo>
                  <a:lnTo>
                    <a:pt x="1003" y="8260"/>
                  </a:lnTo>
                  <a:lnTo>
                    <a:pt x="139" y="10195"/>
                  </a:lnTo>
                  <a:lnTo>
                    <a:pt x="1" y="10540"/>
                  </a:lnTo>
                  <a:lnTo>
                    <a:pt x="1" y="10540"/>
                  </a:lnTo>
                  <a:lnTo>
                    <a:pt x="692" y="9124"/>
                  </a:lnTo>
                  <a:lnTo>
                    <a:pt x="2247" y="5979"/>
                  </a:lnTo>
                  <a:lnTo>
                    <a:pt x="3076" y="4217"/>
                  </a:lnTo>
                  <a:lnTo>
                    <a:pt x="3802" y="2627"/>
                  </a:lnTo>
                  <a:lnTo>
                    <a:pt x="4355" y="1348"/>
                  </a:lnTo>
                  <a:lnTo>
                    <a:pt x="4562" y="899"/>
                  </a:lnTo>
                  <a:lnTo>
                    <a:pt x="4631" y="588"/>
                  </a:lnTo>
                  <a:lnTo>
                    <a:pt x="449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8" name="Google Shape;14224;p81">
              <a:extLst>
                <a:ext uri="{FF2B5EF4-FFF2-40B4-BE49-F238E27FC236}">
                  <a16:creationId xmlns:a16="http://schemas.microsoft.com/office/drawing/2014/main" id="{8A30D24A-0333-133C-306A-1E2F7BD71873}"/>
                </a:ext>
              </a:extLst>
            </p:cNvPr>
            <p:cNvSpPr/>
            <p:nvPr/>
          </p:nvSpPr>
          <p:spPr>
            <a:xfrm>
              <a:off x="6409500" y="2225100"/>
              <a:ext cx="15575" cy="23350"/>
            </a:xfrm>
            <a:custGeom>
              <a:avLst/>
              <a:gdLst/>
              <a:ahLst/>
              <a:cxnLst/>
              <a:rect l="l" t="t" r="r" b="b"/>
              <a:pathLst>
                <a:path w="623" h="934" extrusionOk="0">
                  <a:moveTo>
                    <a:pt x="0" y="1"/>
                  </a:moveTo>
                  <a:lnTo>
                    <a:pt x="622" y="934"/>
                  </a:lnTo>
                  <a:lnTo>
                    <a:pt x="311" y="41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7D7D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79" name="Google Shape;14225;p81">
              <a:extLst>
                <a:ext uri="{FF2B5EF4-FFF2-40B4-BE49-F238E27FC236}">
                  <a16:creationId xmlns:a16="http://schemas.microsoft.com/office/drawing/2014/main" id="{1AAE1550-3EAD-B702-C174-2CF925082FF2}"/>
                </a:ext>
              </a:extLst>
            </p:cNvPr>
            <p:cNvSpPr/>
            <p:nvPr/>
          </p:nvSpPr>
          <p:spPr>
            <a:xfrm>
              <a:off x="6409500" y="2225100"/>
              <a:ext cx="15575" cy="23350"/>
            </a:xfrm>
            <a:custGeom>
              <a:avLst/>
              <a:gdLst/>
              <a:ahLst/>
              <a:cxnLst/>
              <a:rect l="l" t="t" r="r" b="b"/>
              <a:pathLst>
                <a:path w="623" h="934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622" y="934"/>
                  </a:lnTo>
                  <a:lnTo>
                    <a:pt x="622" y="934"/>
                  </a:lnTo>
                  <a:lnTo>
                    <a:pt x="311" y="415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0" name="Google Shape;14226;p81">
              <a:extLst>
                <a:ext uri="{FF2B5EF4-FFF2-40B4-BE49-F238E27FC236}">
                  <a16:creationId xmlns:a16="http://schemas.microsoft.com/office/drawing/2014/main" id="{1C7F376E-0848-34AF-AD85-45A3D3732352}"/>
                </a:ext>
              </a:extLst>
            </p:cNvPr>
            <p:cNvSpPr/>
            <p:nvPr/>
          </p:nvSpPr>
          <p:spPr>
            <a:xfrm>
              <a:off x="6037150" y="2058375"/>
              <a:ext cx="875" cy="25"/>
            </a:xfrm>
            <a:custGeom>
              <a:avLst/>
              <a:gdLst/>
              <a:ahLst/>
              <a:cxnLst/>
              <a:rect l="l" t="t" r="r" b="b"/>
              <a:pathLst>
                <a:path w="35" h="1" extrusionOk="0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C994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1" name="Google Shape;14227;p81">
              <a:extLst>
                <a:ext uri="{FF2B5EF4-FFF2-40B4-BE49-F238E27FC236}">
                  <a16:creationId xmlns:a16="http://schemas.microsoft.com/office/drawing/2014/main" id="{CAE394EA-79BB-1BFC-B955-8215A8F1605E}"/>
                </a:ext>
              </a:extLst>
            </p:cNvPr>
            <p:cNvSpPr/>
            <p:nvPr/>
          </p:nvSpPr>
          <p:spPr>
            <a:xfrm>
              <a:off x="6037150" y="2058375"/>
              <a:ext cx="875" cy="25"/>
            </a:xfrm>
            <a:custGeom>
              <a:avLst/>
              <a:gdLst/>
              <a:ahLst/>
              <a:cxnLst/>
              <a:rect l="l" t="t" r="r" b="b"/>
              <a:pathLst>
                <a:path w="35" h="1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2" name="Google Shape;14228;p81">
              <a:extLst>
                <a:ext uri="{FF2B5EF4-FFF2-40B4-BE49-F238E27FC236}">
                  <a16:creationId xmlns:a16="http://schemas.microsoft.com/office/drawing/2014/main" id="{B3FF55D9-FB22-7B6A-C05E-46857F05EFE4}"/>
                </a:ext>
              </a:extLst>
            </p:cNvPr>
            <p:cNvSpPr/>
            <p:nvPr/>
          </p:nvSpPr>
          <p:spPr>
            <a:xfrm>
              <a:off x="6033700" y="2057500"/>
              <a:ext cx="78625" cy="137400"/>
            </a:xfrm>
            <a:custGeom>
              <a:avLst/>
              <a:gdLst/>
              <a:ahLst/>
              <a:cxnLst/>
              <a:rect l="l" t="t" r="r" b="b"/>
              <a:pathLst>
                <a:path w="3145" h="5496" extrusionOk="0">
                  <a:moveTo>
                    <a:pt x="242" y="1"/>
                  </a:moveTo>
                  <a:lnTo>
                    <a:pt x="173" y="35"/>
                  </a:lnTo>
                  <a:lnTo>
                    <a:pt x="138" y="35"/>
                  </a:lnTo>
                  <a:lnTo>
                    <a:pt x="35" y="104"/>
                  </a:lnTo>
                  <a:lnTo>
                    <a:pt x="0" y="243"/>
                  </a:lnTo>
                  <a:lnTo>
                    <a:pt x="0" y="381"/>
                  </a:lnTo>
                  <a:lnTo>
                    <a:pt x="0" y="554"/>
                  </a:lnTo>
                  <a:lnTo>
                    <a:pt x="69" y="726"/>
                  </a:lnTo>
                  <a:lnTo>
                    <a:pt x="173" y="899"/>
                  </a:lnTo>
                  <a:lnTo>
                    <a:pt x="242" y="1037"/>
                  </a:lnTo>
                  <a:lnTo>
                    <a:pt x="346" y="1072"/>
                  </a:lnTo>
                  <a:lnTo>
                    <a:pt x="380" y="1072"/>
                  </a:lnTo>
                  <a:lnTo>
                    <a:pt x="415" y="1107"/>
                  </a:lnTo>
                  <a:lnTo>
                    <a:pt x="484" y="1176"/>
                  </a:lnTo>
                  <a:lnTo>
                    <a:pt x="657" y="1521"/>
                  </a:lnTo>
                  <a:lnTo>
                    <a:pt x="1210" y="2627"/>
                  </a:lnTo>
                  <a:lnTo>
                    <a:pt x="1590" y="3353"/>
                  </a:lnTo>
                  <a:lnTo>
                    <a:pt x="2004" y="4078"/>
                  </a:lnTo>
                  <a:lnTo>
                    <a:pt x="2523" y="4804"/>
                  </a:lnTo>
                  <a:lnTo>
                    <a:pt x="2799" y="5150"/>
                  </a:lnTo>
                  <a:lnTo>
                    <a:pt x="3110" y="5495"/>
                  </a:lnTo>
                  <a:lnTo>
                    <a:pt x="3145" y="3145"/>
                  </a:lnTo>
                  <a:lnTo>
                    <a:pt x="2592" y="2662"/>
                  </a:lnTo>
                  <a:lnTo>
                    <a:pt x="2108" y="2178"/>
                  </a:lnTo>
                  <a:lnTo>
                    <a:pt x="1659" y="1659"/>
                  </a:lnTo>
                  <a:lnTo>
                    <a:pt x="1244" y="1210"/>
                  </a:lnTo>
                  <a:lnTo>
                    <a:pt x="1106" y="1037"/>
                  </a:lnTo>
                  <a:lnTo>
                    <a:pt x="1002" y="830"/>
                  </a:lnTo>
                  <a:lnTo>
                    <a:pt x="864" y="485"/>
                  </a:lnTo>
                  <a:lnTo>
                    <a:pt x="760" y="312"/>
                  </a:lnTo>
                  <a:lnTo>
                    <a:pt x="657" y="208"/>
                  </a:lnTo>
                  <a:lnTo>
                    <a:pt x="518" y="104"/>
                  </a:lnTo>
                  <a:lnTo>
                    <a:pt x="346" y="35"/>
                  </a:lnTo>
                  <a:lnTo>
                    <a:pt x="242" y="1"/>
                  </a:lnTo>
                  <a:close/>
                </a:path>
              </a:pathLst>
            </a:custGeom>
            <a:solidFill>
              <a:srgbClr val="D7D7D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3" name="Google Shape;14229;p81">
              <a:extLst>
                <a:ext uri="{FF2B5EF4-FFF2-40B4-BE49-F238E27FC236}">
                  <a16:creationId xmlns:a16="http://schemas.microsoft.com/office/drawing/2014/main" id="{2A8C2986-8B73-132E-AAE7-D777D26B4AA4}"/>
                </a:ext>
              </a:extLst>
            </p:cNvPr>
            <p:cNvSpPr/>
            <p:nvPr/>
          </p:nvSpPr>
          <p:spPr>
            <a:xfrm>
              <a:off x="6033700" y="2057500"/>
              <a:ext cx="78625" cy="137400"/>
            </a:xfrm>
            <a:custGeom>
              <a:avLst/>
              <a:gdLst/>
              <a:ahLst/>
              <a:cxnLst/>
              <a:rect l="l" t="t" r="r" b="b"/>
              <a:pathLst>
                <a:path w="3145" h="5496" fill="none" extrusionOk="0">
                  <a:moveTo>
                    <a:pt x="242" y="1"/>
                  </a:moveTo>
                  <a:lnTo>
                    <a:pt x="242" y="1"/>
                  </a:lnTo>
                  <a:lnTo>
                    <a:pt x="173" y="35"/>
                  </a:lnTo>
                  <a:lnTo>
                    <a:pt x="173" y="35"/>
                  </a:lnTo>
                  <a:lnTo>
                    <a:pt x="138" y="35"/>
                  </a:lnTo>
                  <a:lnTo>
                    <a:pt x="138" y="35"/>
                  </a:lnTo>
                  <a:lnTo>
                    <a:pt x="35" y="104"/>
                  </a:lnTo>
                  <a:lnTo>
                    <a:pt x="0" y="243"/>
                  </a:lnTo>
                  <a:lnTo>
                    <a:pt x="0" y="381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69" y="726"/>
                  </a:lnTo>
                  <a:lnTo>
                    <a:pt x="173" y="899"/>
                  </a:lnTo>
                  <a:lnTo>
                    <a:pt x="242" y="1037"/>
                  </a:lnTo>
                  <a:lnTo>
                    <a:pt x="346" y="1072"/>
                  </a:lnTo>
                  <a:lnTo>
                    <a:pt x="346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415" y="1107"/>
                  </a:lnTo>
                  <a:lnTo>
                    <a:pt x="484" y="1176"/>
                  </a:lnTo>
                  <a:lnTo>
                    <a:pt x="657" y="1521"/>
                  </a:lnTo>
                  <a:lnTo>
                    <a:pt x="1210" y="2627"/>
                  </a:lnTo>
                  <a:lnTo>
                    <a:pt x="1590" y="3353"/>
                  </a:lnTo>
                  <a:lnTo>
                    <a:pt x="2004" y="4078"/>
                  </a:lnTo>
                  <a:lnTo>
                    <a:pt x="2523" y="4804"/>
                  </a:lnTo>
                  <a:lnTo>
                    <a:pt x="2799" y="5150"/>
                  </a:lnTo>
                  <a:lnTo>
                    <a:pt x="3110" y="5495"/>
                  </a:lnTo>
                  <a:lnTo>
                    <a:pt x="3110" y="5495"/>
                  </a:lnTo>
                  <a:lnTo>
                    <a:pt x="3145" y="3145"/>
                  </a:lnTo>
                  <a:lnTo>
                    <a:pt x="3145" y="3145"/>
                  </a:lnTo>
                  <a:lnTo>
                    <a:pt x="2592" y="2662"/>
                  </a:lnTo>
                  <a:lnTo>
                    <a:pt x="2108" y="2178"/>
                  </a:lnTo>
                  <a:lnTo>
                    <a:pt x="1659" y="1659"/>
                  </a:lnTo>
                  <a:lnTo>
                    <a:pt x="1244" y="1210"/>
                  </a:lnTo>
                  <a:lnTo>
                    <a:pt x="1244" y="1210"/>
                  </a:lnTo>
                  <a:lnTo>
                    <a:pt x="1106" y="1037"/>
                  </a:lnTo>
                  <a:lnTo>
                    <a:pt x="1002" y="830"/>
                  </a:lnTo>
                  <a:lnTo>
                    <a:pt x="864" y="485"/>
                  </a:lnTo>
                  <a:lnTo>
                    <a:pt x="760" y="312"/>
                  </a:lnTo>
                  <a:lnTo>
                    <a:pt x="657" y="208"/>
                  </a:lnTo>
                  <a:lnTo>
                    <a:pt x="518" y="104"/>
                  </a:lnTo>
                  <a:lnTo>
                    <a:pt x="346" y="35"/>
                  </a:lnTo>
                  <a:lnTo>
                    <a:pt x="346" y="35"/>
                  </a:lnTo>
                  <a:lnTo>
                    <a:pt x="24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4" name="Google Shape;14230;p81">
              <a:extLst>
                <a:ext uri="{FF2B5EF4-FFF2-40B4-BE49-F238E27FC236}">
                  <a16:creationId xmlns:a16="http://schemas.microsoft.com/office/drawing/2014/main" id="{B2827F8C-8E61-DAA6-2AF8-75B7BC5EECA7}"/>
                </a:ext>
              </a:extLst>
            </p:cNvPr>
            <p:cNvSpPr/>
            <p:nvPr/>
          </p:nvSpPr>
          <p:spPr>
            <a:xfrm>
              <a:off x="6111450" y="2136125"/>
              <a:ext cx="94175" cy="102825"/>
            </a:xfrm>
            <a:custGeom>
              <a:avLst/>
              <a:gdLst/>
              <a:ahLst/>
              <a:cxnLst/>
              <a:rect l="l" t="t" r="r" b="b"/>
              <a:pathLst>
                <a:path w="3767" h="4113" extrusionOk="0">
                  <a:moveTo>
                    <a:pt x="35" y="0"/>
                  </a:moveTo>
                  <a:lnTo>
                    <a:pt x="0" y="2350"/>
                  </a:lnTo>
                  <a:lnTo>
                    <a:pt x="380" y="2730"/>
                  </a:lnTo>
                  <a:lnTo>
                    <a:pt x="795" y="3041"/>
                  </a:lnTo>
                  <a:lnTo>
                    <a:pt x="1279" y="3352"/>
                  </a:lnTo>
                  <a:lnTo>
                    <a:pt x="1763" y="3594"/>
                  </a:lnTo>
                  <a:lnTo>
                    <a:pt x="2246" y="3802"/>
                  </a:lnTo>
                  <a:lnTo>
                    <a:pt x="2765" y="3940"/>
                  </a:lnTo>
                  <a:lnTo>
                    <a:pt x="3249" y="4044"/>
                  </a:lnTo>
                  <a:lnTo>
                    <a:pt x="3767" y="4113"/>
                  </a:lnTo>
                  <a:lnTo>
                    <a:pt x="3041" y="2938"/>
                  </a:lnTo>
                  <a:lnTo>
                    <a:pt x="2799" y="2523"/>
                  </a:lnTo>
                  <a:lnTo>
                    <a:pt x="2557" y="2074"/>
                  </a:lnTo>
                  <a:lnTo>
                    <a:pt x="2281" y="1452"/>
                  </a:lnTo>
                  <a:lnTo>
                    <a:pt x="1693" y="1175"/>
                  </a:lnTo>
                  <a:lnTo>
                    <a:pt x="1141" y="830"/>
                  </a:lnTo>
                  <a:lnTo>
                    <a:pt x="588" y="415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B94A6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5" name="Google Shape;14231;p81">
              <a:extLst>
                <a:ext uri="{FF2B5EF4-FFF2-40B4-BE49-F238E27FC236}">
                  <a16:creationId xmlns:a16="http://schemas.microsoft.com/office/drawing/2014/main" id="{5B279D8F-0786-7218-9570-FBC026E618E6}"/>
                </a:ext>
              </a:extLst>
            </p:cNvPr>
            <p:cNvSpPr/>
            <p:nvPr/>
          </p:nvSpPr>
          <p:spPr>
            <a:xfrm>
              <a:off x="6111450" y="2136125"/>
              <a:ext cx="94175" cy="102825"/>
            </a:xfrm>
            <a:custGeom>
              <a:avLst/>
              <a:gdLst/>
              <a:ahLst/>
              <a:cxnLst/>
              <a:rect l="l" t="t" r="r" b="b"/>
              <a:pathLst>
                <a:path w="3767" h="4113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2350"/>
                  </a:lnTo>
                  <a:lnTo>
                    <a:pt x="0" y="2350"/>
                  </a:lnTo>
                  <a:lnTo>
                    <a:pt x="380" y="2730"/>
                  </a:lnTo>
                  <a:lnTo>
                    <a:pt x="795" y="3041"/>
                  </a:lnTo>
                  <a:lnTo>
                    <a:pt x="795" y="3041"/>
                  </a:lnTo>
                  <a:lnTo>
                    <a:pt x="1279" y="3352"/>
                  </a:lnTo>
                  <a:lnTo>
                    <a:pt x="1763" y="3594"/>
                  </a:lnTo>
                  <a:lnTo>
                    <a:pt x="2246" y="3802"/>
                  </a:lnTo>
                  <a:lnTo>
                    <a:pt x="2765" y="3940"/>
                  </a:lnTo>
                  <a:lnTo>
                    <a:pt x="2765" y="3940"/>
                  </a:lnTo>
                  <a:lnTo>
                    <a:pt x="3249" y="4044"/>
                  </a:lnTo>
                  <a:lnTo>
                    <a:pt x="3767" y="4113"/>
                  </a:lnTo>
                  <a:lnTo>
                    <a:pt x="3767" y="4113"/>
                  </a:lnTo>
                  <a:lnTo>
                    <a:pt x="3041" y="2938"/>
                  </a:lnTo>
                  <a:lnTo>
                    <a:pt x="3041" y="2938"/>
                  </a:lnTo>
                  <a:lnTo>
                    <a:pt x="2799" y="2523"/>
                  </a:lnTo>
                  <a:lnTo>
                    <a:pt x="2557" y="2074"/>
                  </a:lnTo>
                  <a:lnTo>
                    <a:pt x="2281" y="1452"/>
                  </a:lnTo>
                  <a:lnTo>
                    <a:pt x="2281" y="1452"/>
                  </a:lnTo>
                  <a:lnTo>
                    <a:pt x="1693" y="1175"/>
                  </a:lnTo>
                  <a:lnTo>
                    <a:pt x="1141" y="830"/>
                  </a:lnTo>
                  <a:lnTo>
                    <a:pt x="1141" y="830"/>
                  </a:lnTo>
                  <a:lnTo>
                    <a:pt x="588" y="415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6" name="Google Shape;14232;p81">
              <a:extLst>
                <a:ext uri="{FF2B5EF4-FFF2-40B4-BE49-F238E27FC236}">
                  <a16:creationId xmlns:a16="http://schemas.microsoft.com/office/drawing/2014/main" id="{C604E800-1028-2E30-2EC2-B89BA6E5B9DF}"/>
                </a:ext>
              </a:extLst>
            </p:cNvPr>
            <p:cNvSpPr/>
            <p:nvPr/>
          </p:nvSpPr>
          <p:spPr>
            <a:xfrm>
              <a:off x="6168450" y="2172400"/>
              <a:ext cx="256625" cy="76050"/>
            </a:xfrm>
            <a:custGeom>
              <a:avLst/>
              <a:gdLst/>
              <a:ahLst/>
              <a:cxnLst/>
              <a:rect l="l" t="t" r="r" b="b"/>
              <a:pathLst>
                <a:path w="10265" h="3042" extrusionOk="0">
                  <a:moveTo>
                    <a:pt x="1" y="1"/>
                  </a:moveTo>
                  <a:lnTo>
                    <a:pt x="277" y="623"/>
                  </a:lnTo>
                  <a:lnTo>
                    <a:pt x="519" y="1072"/>
                  </a:lnTo>
                  <a:lnTo>
                    <a:pt x="761" y="1487"/>
                  </a:lnTo>
                  <a:lnTo>
                    <a:pt x="1487" y="2662"/>
                  </a:lnTo>
                  <a:lnTo>
                    <a:pt x="2454" y="2765"/>
                  </a:lnTo>
                  <a:lnTo>
                    <a:pt x="3560" y="2834"/>
                  </a:lnTo>
                  <a:lnTo>
                    <a:pt x="5910" y="2938"/>
                  </a:lnTo>
                  <a:lnTo>
                    <a:pt x="8225" y="2973"/>
                  </a:lnTo>
                  <a:lnTo>
                    <a:pt x="10264" y="3042"/>
                  </a:lnTo>
                  <a:lnTo>
                    <a:pt x="9642" y="2109"/>
                  </a:lnTo>
                  <a:lnTo>
                    <a:pt x="8986" y="1348"/>
                  </a:lnTo>
                  <a:lnTo>
                    <a:pt x="8605" y="865"/>
                  </a:lnTo>
                  <a:lnTo>
                    <a:pt x="8156" y="174"/>
                  </a:lnTo>
                  <a:lnTo>
                    <a:pt x="6981" y="312"/>
                  </a:lnTo>
                  <a:lnTo>
                    <a:pt x="5668" y="450"/>
                  </a:lnTo>
                  <a:lnTo>
                    <a:pt x="4286" y="519"/>
                  </a:lnTo>
                  <a:lnTo>
                    <a:pt x="2973" y="554"/>
                  </a:lnTo>
                  <a:lnTo>
                    <a:pt x="1867" y="519"/>
                  </a:lnTo>
                  <a:lnTo>
                    <a:pt x="1418" y="450"/>
                  </a:lnTo>
                  <a:lnTo>
                    <a:pt x="1072" y="381"/>
                  </a:lnTo>
                  <a:lnTo>
                    <a:pt x="554" y="20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94A6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7" name="Google Shape;14233;p81">
              <a:extLst>
                <a:ext uri="{FF2B5EF4-FFF2-40B4-BE49-F238E27FC236}">
                  <a16:creationId xmlns:a16="http://schemas.microsoft.com/office/drawing/2014/main" id="{6BAF7DD0-2CD1-7C47-DAA3-625D22E38D6C}"/>
                </a:ext>
              </a:extLst>
            </p:cNvPr>
            <p:cNvSpPr/>
            <p:nvPr/>
          </p:nvSpPr>
          <p:spPr>
            <a:xfrm>
              <a:off x="6168450" y="2172400"/>
              <a:ext cx="256625" cy="76050"/>
            </a:xfrm>
            <a:custGeom>
              <a:avLst/>
              <a:gdLst/>
              <a:ahLst/>
              <a:cxnLst/>
              <a:rect l="l" t="t" r="r" b="b"/>
              <a:pathLst>
                <a:path w="10265" h="3042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277" y="623"/>
                  </a:lnTo>
                  <a:lnTo>
                    <a:pt x="519" y="1072"/>
                  </a:lnTo>
                  <a:lnTo>
                    <a:pt x="761" y="1487"/>
                  </a:lnTo>
                  <a:lnTo>
                    <a:pt x="761" y="1487"/>
                  </a:lnTo>
                  <a:lnTo>
                    <a:pt x="1487" y="2662"/>
                  </a:lnTo>
                  <a:lnTo>
                    <a:pt x="1487" y="2662"/>
                  </a:lnTo>
                  <a:lnTo>
                    <a:pt x="2454" y="2765"/>
                  </a:lnTo>
                  <a:lnTo>
                    <a:pt x="3560" y="2834"/>
                  </a:lnTo>
                  <a:lnTo>
                    <a:pt x="5910" y="2938"/>
                  </a:lnTo>
                  <a:lnTo>
                    <a:pt x="8225" y="2973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9642" y="2109"/>
                  </a:lnTo>
                  <a:lnTo>
                    <a:pt x="9642" y="2109"/>
                  </a:lnTo>
                  <a:lnTo>
                    <a:pt x="8986" y="1348"/>
                  </a:lnTo>
                  <a:lnTo>
                    <a:pt x="8605" y="865"/>
                  </a:lnTo>
                  <a:lnTo>
                    <a:pt x="8156" y="174"/>
                  </a:lnTo>
                  <a:lnTo>
                    <a:pt x="8156" y="174"/>
                  </a:lnTo>
                  <a:lnTo>
                    <a:pt x="6981" y="312"/>
                  </a:lnTo>
                  <a:lnTo>
                    <a:pt x="5668" y="450"/>
                  </a:lnTo>
                  <a:lnTo>
                    <a:pt x="4286" y="519"/>
                  </a:lnTo>
                  <a:lnTo>
                    <a:pt x="2973" y="554"/>
                  </a:lnTo>
                  <a:lnTo>
                    <a:pt x="2973" y="554"/>
                  </a:lnTo>
                  <a:lnTo>
                    <a:pt x="1867" y="519"/>
                  </a:lnTo>
                  <a:lnTo>
                    <a:pt x="1418" y="450"/>
                  </a:lnTo>
                  <a:lnTo>
                    <a:pt x="1072" y="381"/>
                  </a:lnTo>
                  <a:lnTo>
                    <a:pt x="1072" y="381"/>
                  </a:lnTo>
                  <a:lnTo>
                    <a:pt x="554" y="208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8" name="Google Shape;14234;p81">
              <a:extLst>
                <a:ext uri="{FF2B5EF4-FFF2-40B4-BE49-F238E27FC236}">
                  <a16:creationId xmlns:a16="http://schemas.microsoft.com/office/drawing/2014/main" id="{84703DD1-30C5-A66B-D31D-3769E13FFBD4}"/>
                </a:ext>
              </a:extLst>
            </p:cNvPr>
            <p:cNvSpPr/>
            <p:nvPr/>
          </p:nvSpPr>
          <p:spPr>
            <a:xfrm>
              <a:off x="6019000" y="2038500"/>
              <a:ext cx="1054850" cy="372375"/>
            </a:xfrm>
            <a:custGeom>
              <a:avLst/>
              <a:gdLst/>
              <a:ahLst/>
              <a:cxnLst/>
              <a:rect l="l" t="t" r="r" b="b"/>
              <a:pathLst>
                <a:path w="42194" h="14895" extrusionOk="0">
                  <a:moveTo>
                    <a:pt x="934" y="1"/>
                  </a:moveTo>
                  <a:lnTo>
                    <a:pt x="692" y="35"/>
                  </a:lnTo>
                  <a:lnTo>
                    <a:pt x="519" y="104"/>
                  </a:lnTo>
                  <a:lnTo>
                    <a:pt x="381" y="208"/>
                  </a:lnTo>
                  <a:lnTo>
                    <a:pt x="243" y="312"/>
                  </a:lnTo>
                  <a:lnTo>
                    <a:pt x="173" y="450"/>
                  </a:lnTo>
                  <a:lnTo>
                    <a:pt x="104" y="588"/>
                  </a:lnTo>
                  <a:lnTo>
                    <a:pt x="70" y="726"/>
                  </a:lnTo>
                  <a:lnTo>
                    <a:pt x="1" y="1003"/>
                  </a:lnTo>
                  <a:lnTo>
                    <a:pt x="1" y="1314"/>
                  </a:lnTo>
                  <a:lnTo>
                    <a:pt x="1" y="1486"/>
                  </a:lnTo>
                  <a:lnTo>
                    <a:pt x="35" y="1590"/>
                  </a:lnTo>
                  <a:lnTo>
                    <a:pt x="104" y="1694"/>
                  </a:lnTo>
                  <a:lnTo>
                    <a:pt x="208" y="1763"/>
                  </a:lnTo>
                  <a:lnTo>
                    <a:pt x="484" y="1867"/>
                  </a:lnTo>
                  <a:lnTo>
                    <a:pt x="692" y="1867"/>
                  </a:lnTo>
                  <a:lnTo>
                    <a:pt x="899" y="1797"/>
                  </a:lnTo>
                  <a:lnTo>
                    <a:pt x="1072" y="1728"/>
                  </a:lnTo>
                  <a:lnTo>
                    <a:pt x="1141" y="1763"/>
                  </a:lnTo>
                  <a:lnTo>
                    <a:pt x="1245" y="1867"/>
                  </a:lnTo>
                  <a:lnTo>
                    <a:pt x="1590" y="2350"/>
                  </a:lnTo>
                  <a:lnTo>
                    <a:pt x="2109" y="3076"/>
                  </a:lnTo>
                  <a:lnTo>
                    <a:pt x="2765" y="3905"/>
                  </a:lnTo>
                  <a:lnTo>
                    <a:pt x="3145" y="4355"/>
                  </a:lnTo>
                  <a:lnTo>
                    <a:pt x="3560" y="4804"/>
                  </a:lnTo>
                  <a:lnTo>
                    <a:pt x="4009" y="5219"/>
                  </a:lnTo>
                  <a:lnTo>
                    <a:pt x="4493" y="5599"/>
                  </a:lnTo>
                  <a:lnTo>
                    <a:pt x="5011" y="5979"/>
                  </a:lnTo>
                  <a:lnTo>
                    <a:pt x="5564" y="6290"/>
                  </a:lnTo>
                  <a:lnTo>
                    <a:pt x="6117" y="6532"/>
                  </a:lnTo>
                  <a:lnTo>
                    <a:pt x="6428" y="6635"/>
                  </a:lnTo>
                  <a:lnTo>
                    <a:pt x="6739" y="6704"/>
                  </a:lnTo>
                  <a:lnTo>
                    <a:pt x="7327" y="6843"/>
                  </a:lnTo>
                  <a:lnTo>
                    <a:pt x="7983" y="6912"/>
                  </a:lnTo>
                  <a:lnTo>
                    <a:pt x="8640" y="6981"/>
                  </a:lnTo>
                  <a:lnTo>
                    <a:pt x="9365" y="7015"/>
                  </a:lnTo>
                  <a:lnTo>
                    <a:pt x="10920" y="7085"/>
                  </a:lnTo>
                  <a:lnTo>
                    <a:pt x="12476" y="7085"/>
                  </a:lnTo>
                  <a:lnTo>
                    <a:pt x="14031" y="7119"/>
                  </a:lnTo>
                  <a:lnTo>
                    <a:pt x="15516" y="7154"/>
                  </a:lnTo>
                  <a:lnTo>
                    <a:pt x="16173" y="7223"/>
                  </a:lnTo>
                  <a:lnTo>
                    <a:pt x="16795" y="7257"/>
                  </a:lnTo>
                  <a:lnTo>
                    <a:pt x="17383" y="7361"/>
                  </a:lnTo>
                  <a:lnTo>
                    <a:pt x="17901" y="7465"/>
                  </a:lnTo>
                  <a:lnTo>
                    <a:pt x="18385" y="7638"/>
                  </a:lnTo>
                  <a:lnTo>
                    <a:pt x="18868" y="7845"/>
                  </a:lnTo>
                  <a:lnTo>
                    <a:pt x="19352" y="8156"/>
                  </a:lnTo>
                  <a:lnTo>
                    <a:pt x="19871" y="8501"/>
                  </a:lnTo>
                  <a:lnTo>
                    <a:pt x="20389" y="8916"/>
                  </a:lnTo>
                  <a:lnTo>
                    <a:pt x="20907" y="9331"/>
                  </a:lnTo>
                  <a:lnTo>
                    <a:pt x="22013" y="10264"/>
                  </a:lnTo>
                  <a:lnTo>
                    <a:pt x="23188" y="11197"/>
                  </a:lnTo>
                  <a:lnTo>
                    <a:pt x="23775" y="11681"/>
                  </a:lnTo>
                  <a:lnTo>
                    <a:pt x="24432" y="12130"/>
                  </a:lnTo>
                  <a:lnTo>
                    <a:pt x="25054" y="12510"/>
                  </a:lnTo>
                  <a:lnTo>
                    <a:pt x="25745" y="12890"/>
                  </a:lnTo>
                  <a:lnTo>
                    <a:pt x="26436" y="13201"/>
                  </a:lnTo>
                  <a:lnTo>
                    <a:pt x="27162" y="13478"/>
                  </a:lnTo>
                  <a:lnTo>
                    <a:pt x="27680" y="13616"/>
                  </a:lnTo>
                  <a:lnTo>
                    <a:pt x="28337" y="13754"/>
                  </a:lnTo>
                  <a:lnTo>
                    <a:pt x="29996" y="14030"/>
                  </a:lnTo>
                  <a:lnTo>
                    <a:pt x="31965" y="14307"/>
                  </a:lnTo>
                  <a:lnTo>
                    <a:pt x="34039" y="14514"/>
                  </a:lnTo>
                  <a:lnTo>
                    <a:pt x="36078" y="14722"/>
                  </a:lnTo>
                  <a:lnTo>
                    <a:pt x="37874" y="14825"/>
                  </a:lnTo>
                  <a:lnTo>
                    <a:pt x="39222" y="14894"/>
                  </a:lnTo>
                  <a:lnTo>
                    <a:pt x="39706" y="14894"/>
                  </a:lnTo>
                  <a:lnTo>
                    <a:pt x="40017" y="14860"/>
                  </a:lnTo>
                  <a:lnTo>
                    <a:pt x="40397" y="14722"/>
                  </a:lnTo>
                  <a:lnTo>
                    <a:pt x="40777" y="14583"/>
                  </a:lnTo>
                  <a:lnTo>
                    <a:pt x="41157" y="14376"/>
                  </a:lnTo>
                  <a:lnTo>
                    <a:pt x="41468" y="14134"/>
                  </a:lnTo>
                  <a:lnTo>
                    <a:pt x="41710" y="13892"/>
                  </a:lnTo>
                  <a:lnTo>
                    <a:pt x="41918" y="13650"/>
                  </a:lnTo>
                  <a:lnTo>
                    <a:pt x="42090" y="13408"/>
                  </a:lnTo>
                  <a:lnTo>
                    <a:pt x="42159" y="13167"/>
                  </a:lnTo>
                  <a:lnTo>
                    <a:pt x="42194" y="13063"/>
                  </a:lnTo>
                  <a:lnTo>
                    <a:pt x="42159" y="12959"/>
                  </a:lnTo>
                  <a:lnTo>
                    <a:pt x="42125" y="12856"/>
                  </a:lnTo>
                  <a:lnTo>
                    <a:pt x="42090" y="12752"/>
                  </a:lnTo>
                  <a:lnTo>
                    <a:pt x="41918" y="12545"/>
                  </a:lnTo>
                  <a:lnTo>
                    <a:pt x="41676" y="12337"/>
                  </a:lnTo>
                  <a:lnTo>
                    <a:pt x="41365" y="12164"/>
                  </a:lnTo>
                  <a:lnTo>
                    <a:pt x="40950" y="11957"/>
                  </a:lnTo>
                  <a:lnTo>
                    <a:pt x="40501" y="11784"/>
                  </a:lnTo>
                  <a:lnTo>
                    <a:pt x="39982" y="11611"/>
                  </a:lnTo>
                  <a:lnTo>
                    <a:pt x="39671" y="11508"/>
                  </a:lnTo>
                  <a:lnTo>
                    <a:pt x="39257" y="11473"/>
                  </a:lnTo>
                  <a:lnTo>
                    <a:pt x="38185" y="11473"/>
                  </a:lnTo>
                  <a:lnTo>
                    <a:pt x="36803" y="11508"/>
                  </a:lnTo>
                  <a:lnTo>
                    <a:pt x="35214" y="11577"/>
                  </a:lnTo>
                  <a:lnTo>
                    <a:pt x="33451" y="11577"/>
                  </a:lnTo>
                  <a:lnTo>
                    <a:pt x="32518" y="11542"/>
                  </a:lnTo>
                  <a:lnTo>
                    <a:pt x="31585" y="11473"/>
                  </a:lnTo>
                  <a:lnTo>
                    <a:pt x="30652" y="11335"/>
                  </a:lnTo>
                  <a:lnTo>
                    <a:pt x="29685" y="11197"/>
                  </a:lnTo>
                  <a:lnTo>
                    <a:pt x="28752" y="10955"/>
                  </a:lnTo>
                  <a:lnTo>
                    <a:pt x="27819" y="10678"/>
                  </a:lnTo>
                  <a:lnTo>
                    <a:pt x="26955" y="10367"/>
                  </a:lnTo>
                  <a:lnTo>
                    <a:pt x="26160" y="9987"/>
                  </a:lnTo>
                  <a:lnTo>
                    <a:pt x="25469" y="9607"/>
                  </a:lnTo>
                  <a:lnTo>
                    <a:pt x="24812" y="9193"/>
                  </a:lnTo>
                  <a:lnTo>
                    <a:pt x="24259" y="8778"/>
                  </a:lnTo>
                  <a:lnTo>
                    <a:pt x="23741" y="8329"/>
                  </a:lnTo>
                  <a:lnTo>
                    <a:pt x="23257" y="7879"/>
                  </a:lnTo>
                  <a:lnTo>
                    <a:pt x="22808" y="7430"/>
                  </a:lnTo>
                  <a:lnTo>
                    <a:pt x="21944" y="6532"/>
                  </a:lnTo>
                  <a:lnTo>
                    <a:pt x="21529" y="6117"/>
                  </a:lnTo>
                  <a:lnTo>
                    <a:pt x="21080" y="5702"/>
                  </a:lnTo>
                  <a:lnTo>
                    <a:pt x="20596" y="5322"/>
                  </a:lnTo>
                  <a:lnTo>
                    <a:pt x="20112" y="4977"/>
                  </a:lnTo>
                  <a:lnTo>
                    <a:pt x="19560" y="4666"/>
                  </a:lnTo>
                  <a:lnTo>
                    <a:pt x="18972" y="4389"/>
                  </a:lnTo>
                  <a:lnTo>
                    <a:pt x="18627" y="4286"/>
                  </a:lnTo>
                  <a:lnTo>
                    <a:pt x="18281" y="4182"/>
                  </a:lnTo>
                  <a:lnTo>
                    <a:pt x="17590" y="4044"/>
                  </a:lnTo>
                  <a:lnTo>
                    <a:pt x="16830" y="3975"/>
                  </a:lnTo>
                  <a:lnTo>
                    <a:pt x="16035" y="3940"/>
                  </a:lnTo>
                  <a:lnTo>
                    <a:pt x="15240" y="3975"/>
                  </a:lnTo>
                  <a:lnTo>
                    <a:pt x="14411" y="4044"/>
                  </a:lnTo>
                  <a:lnTo>
                    <a:pt x="12752" y="4251"/>
                  </a:lnTo>
                  <a:lnTo>
                    <a:pt x="11128" y="4458"/>
                  </a:lnTo>
                  <a:lnTo>
                    <a:pt x="9642" y="4666"/>
                  </a:lnTo>
                  <a:lnTo>
                    <a:pt x="8985" y="4735"/>
                  </a:lnTo>
                  <a:lnTo>
                    <a:pt x="8363" y="4735"/>
                  </a:lnTo>
                  <a:lnTo>
                    <a:pt x="7810" y="4700"/>
                  </a:lnTo>
                  <a:lnTo>
                    <a:pt x="7327" y="4631"/>
                  </a:lnTo>
                  <a:lnTo>
                    <a:pt x="6877" y="4493"/>
                  </a:lnTo>
                  <a:lnTo>
                    <a:pt x="6463" y="4320"/>
                  </a:lnTo>
                  <a:lnTo>
                    <a:pt x="6083" y="4147"/>
                  </a:lnTo>
                  <a:lnTo>
                    <a:pt x="5668" y="3940"/>
                  </a:lnTo>
                  <a:lnTo>
                    <a:pt x="4942" y="3491"/>
                  </a:lnTo>
                  <a:lnTo>
                    <a:pt x="4251" y="3007"/>
                  </a:lnTo>
                  <a:lnTo>
                    <a:pt x="3629" y="2454"/>
                  </a:lnTo>
                  <a:lnTo>
                    <a:pt x="3076" y="1901"/>
                  </a:lnTo>
                  <a:lnTo>
                    <a:pt x="2558" y="1348"/>
                  </a:lnTo>
                  <a:lnTo>
                    <a:pt x="2074" y="830"/>
                  </a:lnTo>
                  <a:lnTo>
                    <a:pt x="1867" y="519"/>
                  </a:lnTo>
                  <a:lnTo>
                    <a:pt x="1694" y="277"/>
                  </a:lnTo>
                  <a:lnTo>
                    <a:pt x="1590" y="208"/>
                  </a:lnTo>
                  <a:lnTo>
                    <a:pt x="1487" y="139"/>
                  </a:lnTo>
                  <a:lnTo>
                    <a:pt x="1348" y="70"/>
                  </a:lnTo>
                  <a:lnTo>
                    <a:pt x="1176" y="35"/>
                  </a:lnTo>
                  <a:lnTo>
                    <a:pt x="934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89" name="Google Shape;14235;p81">
              <a:extLst>
                <a:ext uri="{FF2B5EF4-FFF2-40B4-BE49-F238E27FC236}">
                  <a16:creationId xmlns:a16="http://schemas.microsoft.com/office/drawing/2014/main" id="{12E07A9C-6D35-6A74-A47C-205371D9BEC1}"/>
                </a:ext>
              </a:extLst>
            </p:cNvPr>
            <p:cNvSpPr/>
            <p:nvPr/>
          </p:nvSpPr>
          <p:spPr>
            <a:xfrm>
              <a:off x="546150" y="5054400"/>
              <a:ext cx="1569725" cy="83825"/>
            </a:xfrm>
            <a:custGeom>
              <a:avLst/>
              <a:gdLst/>
              <a:ahLst/>
              <a:cxnLst/>
              <a:rect l="l" t="t" r="r" b="b"/>
              <a:pathLst>
                <a:path w="62789" h="3353" extrusionOk="0">
                  <a:moveTo>
                    <a:pt x="31896" y="1"/>
                  </a:moveTo>
                  <a:lnTo>
                    <a:pt x="25606" y="35"/>
                  </a:lnTo>
                  <a:lnTo>
                    <a:pt x="19697" y="105"/>
                  </a:lnTo>
                  <a:lnTo>
                    <a:pt x="14272" y="208"/>
                  </a:lnTo>
                  <a:lnTo>
                    <a:pt x="9538" y="346"/>
                  </a:lnTo>
                  <a:lnTo>
                    <a:pt x="7430" y="416"/>
                  </a:lnTo>
                  <a:lnTo>
                    <a:pt x="5564" y="519"/>
                  </a:lnTo>
                  <a:lnTo>
                    <a:pt x="3939" y="623"/>
                  </a:lnTo>
                  <a:lnTo>
                    <a:pt x="2557" y="761"/>
                  </a:lnTo>
                  <a:lnTo>
                    <a:pt x="1451" y="899"/>
                  </a:lnTo>
                  <a:lnTo>
                    <a:pt x="657" y="1038"/>
                  </a:lnTo>
                  <a:lnTo>
                    <a:pt x="380" y="1107"/>
                  </a:lnTo>
                  <a:lnTo>
                    <a:pt x="173" y="1210"/>
                  </a:lnTo>
                  <a:lnTo>
                    <a:pt x="35" y="1280"/>
                  </a:lnTo>
                  <a:lnTo>
                    <a:pt x="0" y="1349"/>
                  </a:lnTo>
                  <a:lnTo>
                    <a:pt x="35" y="1452"/>
                  </a:lnTo>
                  <a:lnTo>
                    <a:pt x="173" y="1521"/>
                  </a:lnTo>
                  <a:lnTo>
                    <a:pt x="380" y="1625"/>
                  </a:lnTo>
                  <a:lnTo>
                    <a:pt x="657" y="1729"/>
                  </a:lnTo>
                  <a:lnTo>
                    <a:pt x="1451" y="1902"/>
                  </a:lnTo>
                  <a:lnTo>
                    <a:pt x="2557" y="2074"/>
                  </a:lnTo>
                  <a:lnTo>
                    <a:pt x="3939" y="2247"/>
                  </a:lnTo>
                  <a:lnTo>
                    <a:pt x="5564" y="2385"/>
                  </a:lnTo>
                  <a:lnTo>
                    <a:pt x="7430" y="2558"/>
                  </a:lnTo>
                  <a:lnTo>
                    <a:pt x="9538" y="2696"/>
                  </a:lnTo>
                  <a:lnTo>
                    <a:pt x="11818" y="2835"/>
                  </a:lnTo>
                  <a:lnTo>
                    <a:pt x="14272" y="2973"/>
                  </a:lnTo>
                  <a:lnTo>
                    <a:pt x="16933" y="3076"/>
                  </a:lnTo>
                  <a:lnTo>
                    <a:pt x="19697" y="3180"/>
                  </a:lnTo>
                  <a:lnTo>
                    <a:pt x="22600" y="3249"/>
                  </a:lnTo>
                  <a:lnTo>
                    <a:pt x="25606" y="3318"/>
                  </a:lnTo>
                  <a:lnTo>
                    <a:pt x="28716" y="3353"/>
                  </a:lnTo>
                  <a:lnTo>
                    <a:pt x="31896" y="3353"/>
                  </a:lnTo>
                  <a:lnTo>
                    <a:pt x="38116" y="3318"/>
                  </a:lnTo>
                  <a:lnTo>
                    <a:pt x="43921" y="3215"/>
                  </a:lnTo>
                  <a:lnTo>
                    <a:pt x="49174" y="3076"/>
                  </a:lnTo>
                  <a:lnTo>
                    <a:pt x="53735" y="2869"/>
                  </a:lnTo>
                  <a:lnTo>
                    <a:pt x="55739" y="2765"/>
                  </a:lnTo>
                  <a:lnTo>
                    <a:pt x="57536" y="2627"/>
                  </a:lnTo>
                  <a:lnTo>
                    <a:pt x="59057" y="2489"/>
                  </a:lnTo>
                  <a:lnTo>
                    <a:pt x="60370" y="2351"/>
                  </a:lnTo>
                  <a:lnTo>
                    <a:pt x="61407" y="2178"/>
                  </a:lnTo>
                  <a:lnTo>
                    <a:pt x="62167" y="2040"/>
                  </a:lnTo>
                  <a:lnTo>
                    <a:pt x="62443" y="1936"/>
                  </a:lnTo>
                  <a:lnTo>
                    <a:pt x="62651" y="1867"/>
                  </a:lnTo>
                  <a:lnTo>
                    <a:pt x="62754" y="1763"/>
                  </a:lnTo>
                  <a:lnTo>
                    <a:pt x="62789" y="1694"/>
                  </a:lnTo>
                  <a:lnTo>
                    <a:pt x="62754" y="1591"/>
                  </a:lnTo>
                  <a:lnTo>
                    <a:pt x="62651" y="1521"/>
                  </a:lnTo>
                  <a:lnTo>
                    <a:pt x="62443" y="1418"/>
                  </a:lnTo>
                  <a:lnTo>
                    <a:pt x="62167" y="1349"/>
                  </a:lnTo>
                  <a:lnTo>
                    <a:pt x="61407" y="1176"/>
                  </a:lnTo>
                  <a:lnTo>
                    <a:pt x="60370" y="1038"/>
                  </a:lnTo>
                  <a:lnTo>
                    <a:pt x="59057" y="899"/>
                  </a:lnTo>
                  <a:lnTo>
                    <a:pt x="57536" y="761"/>
                  </a:lnTo>
                  <a:lnTo>
                    <a:pt x="55739" y="623"/>
                  </a:lnTo>
                  <a:lnTo>
                    <a:pt x="53735" y="485"/>
                  </a:lnTo>
                  <a:lnTo>
                    <a:pt x="49174" y="312"/>
                  </a:lnTo>
                  <a:lnTo>
                    <a:pt x="43921" y="139"/>
                  </a:lnTo>
                  <a:lnTo>
                    <a:pt x="38116" y="35"/>
                  </a:lnTo>
                  <a:lnTo>
                    <a:pt x="31896" y="1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0" name="Google Shape;14236;p81">
              <a:extLst>
                <a:ext uri="{FF2B5EF4-FFF2-40B4-BE49-F238E27FC236}">
                  <a16:creationId xmlns:a16="http://schemas.microsoft.com/office/drawing/2014/main" id="{3062CCE8-E7DB-9FF9-91CA-23BA215EA878}"/>
                </a:ext>
              </a:extLst>
            </p:cNvPr>
            <p:cNvSpPr/>
            <p:nvPr/>
          </p:nvSpPr>
          <p:spPr>
            <a:xfrm>
              <a:off x="546150" y="5054400"/>
              <a:ext cx="1569725" cy="83825"/>
            </a:xfrm>
            <a:custGeom>
              <a:avLst/>
              <a:gdLst/>
              <a:ahLst/>
              <a:cxnLst/>
              <a:rect l="l" t="t" r="r" b="b"/>
              <a:pathLst>
                <a:path w="62789" h="3353" fill="none" extrusionOk="0">
                  <a:moveTo>
                    <a:pt x="31896" y="1"/>
                  </a:moveTo>
                  <a:lnTo>
                    <a:pt x="31896" y="1"/>
                  </a:lnTo>
                  <a:lnTo>
                    <a:pt x="25606" y="35"/>
                  </a:lnTo>
                  <a:lnTo>
                    <a:pt x="19697" y="105"/>
                  </a:lnTo>
                  <a:lnTo>
                    <a:pt x="14272" y="208"/>
                  </a:lnTo>
                  <a:lnTo>
                    <a:pt x="9538" y="346"/>
                  </a:lnTo>
                  <a:lnTo>
                    <a:pt x="7430" y="416"/>
                  </a:lnTo>
                  <a:lnTo>
                    <a:pt x="5564" y="519"/>
                  </a:lnTo>
                  <a:lnTo>
                    <a:pt x="3939" y="623"/>
                  </a:lnTo>
                  <a:lnTo>
                    <a:pt x="2557" y="761"/>
                  </a:lnTo>
                  <a:lnTo>
                    <a:pt x="1451" y="899"/>
                  </a:lnTo>
                  <a:lnTo>
                    <a:pt x="657" y="1038"/>
                  </a:lnTo>
                  <a:lnTo>
                    <a:pt x="380" y="1107"/>
                  </a:lnTo>
                  <a:lnTo>
                    <a:pt x="173" y="1210"/>
                  </a:lnTo>
                  <a:lnTo>
                    <a:pt x="35" y="1280"/>
                  </a:lnTo>
                  <a:lnTo>
                    <a:pt x="0" y="1349"/>
                  </a:lnTo>
                  <a:lnTo>
                    <a:pt x="0" y="1349"/>
                  </a:lnTo>
                  <a:lnTo>
                    <a:pt x="35" y="1452"/>
                  </a:lnTo>
                  <a:lnTo>
                    <a:pt x="173" y="1521"/>
                  </a:lnTo>
                  <a:lnTo>
                    <a:pt x="380" y="1625"/>
                  </a:lnTo>
                  <a:lnTo>
                    <a:pt x="657" y="1729"/>
                  </a:lnTo>
                  <a:lnTo>
                    <a:pt x="1451" y="1902"/>
                  </a:lnTo>
                  <a:lnTo>
                    <a:pt x="2557" y="2074"/>
                  </a:lnTo>
                  <a:lnTo>
                    <a:pt x="3939" y="2247"/>
                  </a:lnTo>
                  <a:lnTo>
                    <a:pt x="5564" y="2385"/>
                  </a:lnTo>
                  <a:lnTo>
                    <a:pt x="7430" y="2558"/>
                  </a:lnTo>
                  <a:lnTo>
                    <a:pt x="9538" y="2696"/>
                  </a:lnTo>
                  <a:lnTo>
                    <a:pt x="11818" y="2835"/>
                  </a:lnTo>
                  <a:lnTo>
                    <a:pt x="14272" y="2973"/>
                  </a:lnTo>
                  <a:lnTo>
                    <a:pt x="16933" y="3076"/>
                  </a:lnTo>
                  <a:lnTo>
                    <a:pt x="19697" y="3180"/>
                  </a:lnTo>
                  <a:lnTo>
                    <a:pt x="22600" y="3249"/>
                  </a:lnTo>
                  <a:lnTo>
                    <a:pt x="25606" y="3318"/>
                  </a:lnTo>
                  <a:lnTo>
                    <a:pt x="28716" y="3353"/>
                  </a:lnTo>
                  <a:lnTo>
                    <a:pt x="31896" y="3353"/>
                  </a:lnTo>
                  <a:lnTo>
                    <a:pt x="31896" y="3353"/>
                  </a:lnTo>
                  <a:lnTo>
                    <a:pt x="38116" y="3318"/>
                  </a:lnTo>
                  <a:lnTo>
                    <a:pt x="43921" y="3215"/>
                  </a:lnTo>
                  <a:lnTo>
                    <a:pt x="49174" y="3076"/>
                  </a:lnTo>
                  <a:lnTo>
                    <a:pt x="53735" y="2869"/>
                  </a:lnTo>
                  <a:lnTo>
                    <a:pt x="55739" y="2765"/>
                  </a:lnTo>
                  <a:lnTo>
                    <a:pt x="57536" y="2627"/>
                  </a:lnTo>
                  <a:lnTo>
                    <a:pt x="59057" y="2489"/>
                  </a:lnTo>
                  <a:lnTo>
                    <a:pt x="60370" y="2351"/>
                  </a:lnTo>
                  <a:lnTo>
                    <a:pt x="61407" y="2178"/>
                  </a:lnTo>
                  <a:lnTo>
                    <a:pt x="62167" y="2040"/>
                  </a:lnTo>
                  <a:lnTo>
                    <a:pt x="62443" y="1936"/>
                  </a:lnTo>
                  <a:lnTo>
                    <a:pt x="62651" y="1867"/>
                  </a:lnTo>
                  <a:lnTo>
                    <a:pt x="62754" y="1763"/>
                  </a:lnTo>
                  <a:lnTo>
                    <a:pt x="62789" y="1694"/>
                  </a:lnTo>
                  <a:lnTo>
                    <a:pt x="62789" y="1694"/>
                  </a:lnTo>
                  <a:lnTo>
                    <a:pt x="62754" y="1591"/>
                  </a:lnTo>
                  <a:lnTo>
                    <a:pt x="62651" y="1521"/>
                  </a:lnTo>
                  <a:lnTo>
                    <a:pt x="62443" y="1418"/>
                  </a:lnTo>
                  <a:lnTo>
                    <a:pt x="62167" y="1349"/>
                  </a:lnTo>
                  <a:lnTo>
                    <a:pt x="61407" y="1176"/>
                  </a:lnTo>
                  <a:lnTo>
                    <a:pt x="60370" y="1038"/>
                  </a:lnTo>
                  <a:lnTo>
                    <a:pt x="59057" y="899"/>
                  </a:lnTo>
                  <a:lnTo>
                    <a:pt x="57536" y="761"/>
                  </a:lnTo>
                  <a:lnTo>
                    <a:pt x="55739" y="623"/>
                  </a:lnTo>
                  <a:lnTo>
                    <a:pt x="53735" y="485"/>
                  </a:lnTo>
                  <a:lnTo>
                    <a:pt x="49174" y="312"/>
                  </a:lnTo>
                  <a:lnTo>
                    <a:pt x="43921" y="139"/>
                  </a:lnTo>
                  <a:lnTo>
                    <a:pt x="38116" y="35"/>
                  </a:lnTo>
                  <a:lnTo>
                    <a:pt x="3189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1" name="Google Shape;14237;p81">
              <a:extLst>
                <a:ext uri="{FF2B5EF4-FFF2-40B4-BE49-F238E27FC236}">
                  <a16:creationId xmlns:a16="http://schemas.microsoft.com/office/drawing/2014/main" id="{463B59CB-CD77-6111-9BF8-B1FA8C3088A1}"/>
                </a:ext>
              </a:extLst>
            </p:cNvPr>
            <p:cNvSpPr/>
            <p:nvPr/>
          </p:nvSpPr>
          <p:spPr>
            <a:xfrm>
              <a:off x="1044625" y="3889000"/>
              <a:ext cx="301525" cy="1136925"/>
            </a:xfrm>
            <a:custGeom>
              <a:avLst/>
              <a:gdLst/>
              <a:ahLst/>
              <a:cxnLst/>
              <a:rect l="l" t="t" r="r" b="b"/>
              <a:pathLst>
                <a:path w="12061" h="45477" extrusionOk="0">
                  <a:moveTo>
                    <a:pt x="11058" y="0"/>
                  </a:moveTo>
                  <a:lnTo>
                    <a:pt x="10021" y="864"/>
                  </a:lnTo>
                  <a:lnTo>
                    <a:pt x="8916" y="1797"/>
                  </a:lnTo>
                  <a:lnTo>
                    <a:pt x="7672" y="2903"/>
                  </a:lnTo>
                  <a:lnTo>
                    <a:pt x="6358" y="4113"/>
                  </a:lnTo>
                  <a:lnTo>
                    <a:pt x="5771" y="4700"/>
                  </a:lnTo>
                  <a:lnTo>
                    <a:pt x="5218" y="5287"/>
                  </a:lnTo>
                  <a:lnTo>
                    <a:pt x="4734" y="5840"/>
                  </a:lnTo>
                  <a:lnTo>
                    <a:pt x="4320" y="6359"/>
                  </a:lnTo>
                  <a:lnTo>
                    <a:pt x="4009" y="6808"/>
                  </a:lnTo>
                  <a:lnTo>
                    <a:pt x="3905" y="7015"/>
                  </a:lnTo>
                  <a:lnTo>
                    <a:pt x="3836" y="7188"/>
                  </a:lnTo>
                  <a:lnTo>
                    <a:pt x="3767" y="7672"/>
                  </a:lnTo>
                  <a:lnTo>
                    <a:pt x="3663" y="8501"/>
                  </a:lnTo>
                  <a:lnTo>
                    <a:pt x="3628" y="9538"/>
                  </a:lnTo>
                  <a:lnTo>
                    <a:pt x="3559" y="10817"/>
                  </a:lnTo>
                  <a:lnTo>
                    <a:pt x="3490" y="13823"/>
                  </a:lnTo>
                  <a:lnTo>
                    <a:pt x="3490" y="17175"/>
                  </a:lnTo>
                  <a:lnTo>
                    <a:pt x="3490" y="23464"/>
                  </a:lnTo>
                  <a:lnTo>
                    <a:pt x="3456" y="25779"/>
                  </a:lnTo>
                  <a:lnTo>
                    <a:pt x="3421" y="27023"/>
                  </a:lnTo>
                  <a:lnTo>
                    <a:pt x="3317" y="27887"/>
                  </a:lnTo>
                  <a:lnTo>
                    <a:pt x="3179" y="29235"/>
                  </a:lnTo>
                  <a:lnTo>
                    <a:pt x="2937" y="30859"/>
                  </a:lnTo>
                  <a:lnTo>
                    <a:pt x="2661" y="32691"/>
                  </a:lnTo>
                  <a:lnTo>
                    <a:pt x="2350" y="34488"/>
                  </a:lnTo>
                  <a:lnTo>
                    <a:pt x="2039" y="36215"/>
                  </a:lnTo>
                  <a:lnTo>
                    <a:pt x="1693" y="37667"/>
                  </a:lnTo>
                  <a:lnTo>
                    <a:pt x="1521" y="38254"/>
                  </a:lnTo>
                  <a:lnTo>
                    <a:pt x="1348" y="38738"/>
                  </a:lnTo>
                  <a:lnTo>
                    <a:pt x="1037" y="39429"/>
                  </a:lnTo>
                  <a:lnTo>
                    <a:pt x="760" y="39913"/>
                  </a:lnTo>
                  <a:lnTo>
                    <a:pt x="553" y="40224"/>
                  </a:lnTo>
                  <a:lnTo>
                    <a:pt x="346" y="40466"/>
                  </a:lnTo>
                  <a:lnTo>
                    <a:pt x="207" y="40639"/>
                  </a:lnTo>
                  <a:lnTo>
                    <a:pt x="69" y="40881"/>
                  </a:lnTo>
                  <a:lnTo>
                    <a:pt x="0" y="41192"/>
                  </a:lnTo>
                  <a:lnTo>
                    <a:pt x="0" y="41641"/>
                  </a:lnTo>
                  <a:lnTo>
                    <a:pt x="0" y="41779"/>
                  </a:lnTo>
                  <a:lnTo>
                    <a:pt x="69" y="41952"/>
                  </a:lnTo>
                  <a:lnTo>
                    <a:pt x="173" y="42090"/>
                  </a:lnTo>
                  <a:lnTo>
                    <a:pt x="311" y="42263"/>
                  </a:lnTo>
                  <a:lnTo>
                    <a:pt x="691" y="42608"/>
                  </a:lnTo>
                  <a:lnTo>
                    <a:pt x="1210" y="42954"/>
                  </a:lnTo>
                  <a:lnTo>
                    <a:pt x="1832" y="43300"/>
                  </a:lnTo>
                  <a:lnTo>
                    <a:pt x="2488" y="43645"/>
                  </a:lnTo>
                  <a:lnTo>
                    <a:pt x="3214" y="43991"/>
                  </a:lnTo>
                  <a:lnTo>
                    <a:pt x="3939" y="44336"/>
                  </a:lnTo>
                  <a:lnTo>
                    <a:pt x="4665" y="44613"/>
                  </a:lnTo>
                  <a:lnTo>
                    <a:pt x="5356" y="44889"/>
                  </a:lnTo>
                  <a:lnTo>
                    <a:pt x="6013" y="45096"/>
                  </a:lnTo>
                  <a:lnTo>
                    <a:pt x="6600" y="45304"/>
                  </a:lnTo>
                  <a:lnTo>
                    <a:pt x="7084" y="45407"/>
                  </a:lnTo>
                  <a:lnTo>
                    <a:pt x="7430" y="45477"/>
                  </a:lnTo>
                  <a:lnTo>
                    <a:pt x="7533" y="45477"/>
                  </a:lnTo>
                  <a:lnTo>
                    <a:pt x="7637" y="45442"/>
                  </a:lnTo>
                  <a:lnTo>
                    <a:pt x="7672" y="45407"/>
                  </a:lnTo>
                  <a:lnTo>
                    <a:pt x="7672" y="45338"/>
                  </a:lnTo>
                  <a:lnTo>
                    <a:pt x="7222" y="44474"/>
                  </a:lnTo>
                  <a:lnTo>
                    <a:pt x="6497" y="43161"/>
                  </a:lnTo>
                  <a:lnTo>
                    <a:pt x="5287" y="41053"/>
                  </a:lnTo>
                  <a:lnTo>
                    <a:pt x="5287" y="40915"/>
                  </a:lnTo>
                  <a:lnTo>
                    <a:pt x="5287" y="40639"/>
                  </a:lnTo>
                  <a:lnTo>
                    <a:pt x="5425" y="39809"/>
                  </a:lnTo>
                  <a:lnTo>
                    <a:pt x="5667" y="38531"/>
                  </a:lnTo>
                  <a:lnTo>
                    <a:pt x="5978" y="36907"/>
                  </a:lnTo>
                  <a:lnTo>
                    <a:pt x="6877" y="32898"/>
                  </a:lnTo>
                  <a:lnTo>
                    <a:pt x="7948" y="28233"/>
                  </a:lnTo>
                  <a:lnTo>
                    <a:pt x="10160" y="18937"/>
                  </a:lnTo>
                  <a:lnTo>
                    <a:pt x="11576" y="13028"/>
                  </a:lnTo>
                  <a:lnTo>
                    <a:pt x="11715" y="12302"/>
                  </a:lnTo>
                  <a:lnTo>
                    <a:pt x="11853" y="11542"/>
                  </a:lnTo>
                  <a:lnTo>
                    <a:pt x="11922" y="10817"/>
                  </a:lnTo>
                  <a:lnTo>
                    <a:pt x="11991" y="10056"/>
                  </a:lnTo>
                  <a:lnTo>
                    <a:pt x="12026" y="9296"/>
                  </a:lnTo>
                  <a:lnTo>
                    <a:pt x="12060" y="8501"/>
                  </a:lnTo>
                  <a:lnTo>
                    <a:pt x="12060" y="7706"/>
                  </a:lnTo>
                  <a:lnTo>
                    <a:pt x="12026" y="6912"/>
                  </a:lnTo>
                  <a:lnTo>
                    <a:pt x="11887" y="5253"/>
                  </a:lnTo>
                  <a:lnTo>
                    <a:pt x="11680" y="3560"/>
                  </a:lnTo>
                  <a:lnTo>
                    <a:pt x="11404" y="1832"/>
                  </a:lnTo>
                  <a:lnTo>
                    <a:pt x="11058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2" name="Google Shape;14238;p81">
              <a:extLst>
                <a:ext uri="{FF2B5EF4-FFF2-40B4-BE49-F238E27FC236}">
                  <a16:creationId xmlns:a16="http://schemas.microsoft.com/office/drawing/2014/main" id="{E0F2C702-FAFE-0AEB-56A9-2D3473A7DDA2}"/>
                </a:ext>
              </a:extLst>
            </p:cNvPr>
            <p:cNvSpPr/>
            <p:nvPr/>
          </p:nvSpPr>
          <p:spPr>
            <a:xfrm>
              <a:off x="1044625" y="3889000"/>
              <a:ext cx="301525" cy="1136925"/>
            </a:xfrm>
            <a:custGeom>
              <a:avLst/>
              <a:gdLst/>
              <a:ahLst/>
              <a:cxnLst/>
              <a:rect l="l" t="t" r="r" b="b"/>
              <a:pathLst>
                <a:path w="12061" h="45477" fill="none" extrusionOk="0">
                  <a:moveTo>
                    <a:pt x="11058" y="0"/>
                  </a:moveTo>
                  <a:lnTo>
                    <a:pt x="11058" y="0"/>
                  </a:lnTo>
                  <a:lnTo>
                    <a:pt x="11404" y="1832"/>
                  </a:lnTo>
                  <a:lnTo>
                    <a:pt x="11680" y="3560"/>
                  </a:lnTo>
                  <a:lnTo>
                    <a:pt x="11887" y="5253"/>
                  </a:lnTo>
                  <a:lnTo>
                    <a:pt x="12026" y="6912"/>
                  </a:lnTo>
                  <a:lnTo>
                    <a:pt x="12060" y="7706"/>
                  </a:lnTo>
                  <a:lnTo>
                    <a:pt x="12060" y="8501"/>
                  </a:lnTo>
                  <a:lnTo>
                    <a:pt x="12026" y="9296"/>
                  </a:lnTo>
                  <a:lnTo>
                    <a:pt x="11991" y="10056"/>
                  </a:lnTo>
                  <a:lnTo>
                    <a:pt x="11922" y="10817"/>
                  </a:lnTo>
                  <a:lnTo>
                    <a:pt x="11853" y="11542"/>
                  </a:lnTo>
                  <a:lnTo>
                    <a:pt x="11715" y="12302"/>
                  </a:lnTo>
                  <a:lnTo>
                    <a:pt x="11576" y="13028"/>
                  </a:lnTo>
                  <a:lnTo>
                    <a:pt x="11576" y="13028"/>
                  </a:lnTo>
                  <a:lnTo>
                    <a:pt x="10160" y="18937"/>
                  </a:lnTo>
                  <a:lnTo>
                    <a:pt x="7948" y="28233"/>
                  </a:lnTo>
                  <a:lnTo>
                    <a:pt x="6877" y="32898"/>
                  </a:lnTo>
                  <a:lnTo>
                    <a:pt x="5978" y="36907"/>
                  </a:lnTo>
                  <a:lnTo>
                    <a:pt x="5667" y="38531"/>
                  </a:lnTo>
                  <a:lnTo>
                    <a:pt x="5425" y="39809"/>
                  </a:lnTo>
                  <a:lnTo>
                    <a:pt x="5287" y="40639"/>
                  </a:lnTo>
                  <a:lnTo>
                    <a:pt x="5287" y="40915"/>
                  </a:lnTo>
                  <a:lnTo>
                    <a:pt x="5287" y="41053"/>
                  </a:lnTo>
                  <a:lnTo>
                    <a:pt x="5287" y="41053"/>
                  </a:lnTo>
                  <a:lnTo>
                    <a:pt x="6497" y="43161"/>
                  </a:lnTo>
                  <a:lnTo>
                    <a:pt x="7222" y="44474"/>
                  </a:lnTo>
                  <a:lnTo>
                    <a:pt x="7672" y="45338"/>
                  </a:lnTo>
                  <a:lnTo>
                    <a:pt x="7672" y="45338"/>
                  </a:lnTo>
                  <a:lnTo>
                    <a:pt x="7672" y="45407"/>
                  </a:lnTo>
                  <a:lnTo>
                    <a:pt x="7637" y="45442"/>
                  </a:lnTo>
                  <a:lnTo>
                    <a:pt x="7533" y="45477"/>
                  </a:lnTo>
                  <a:lnTo>
                    <a:pt x="7430" y="45477"/>
                  </a:lnTo>
                  <a:lnTo>
                    <a:pt x="7084" y="45407"/>
                  </a:lnTo>
                  <a:lnTo>
                    <a:pt x="6600" y="45304"/>
                  </a:lnTo>
                  <a:lnTo>
                    <a:pt x="6013" y="45096"/>
                  </a:lnTo>
                  <a:lnTo>
                    <a:pt x="5356" y="44889"/>
                  </a:lnTo>
                  <a:lnTo>
                    <a:pt x="4665" y="44613"/>
                  </a:lnTo>
                  <a:lnTo>
                    <a:pt x="3939" y="44336"/>
                  </a:lnTo>
                  <a:lnTo>
                    <a:pt x="3214" y="43991"/>
                  </a:lnTo>
                  <a:lnTo>
                    <a:pt x="2488" y="43645"/>
                  </a:lnTo>
                  <a:lnTo>
                    <a:pt x="1832" y="43300"/>
                  </a:lnTo>
                  <a:lnTo>
                    <a:pt x="1210" y="42954"/>
                  </a:lnTo>
                  <a:lnTo>
                    <a:pt x="691" y="42608"/>
                  </a:lnTo>
                  <a:lnTo>
                    <a:pt x="311" y="42263"/>
                  </a:lnTo>
                  <a:lnTo>
                    <a:pt x="173" y="42090"/>
                  </a:lnTo>
                  <a:lnTo>
                    <a:pt x="69" y="41952"/>
                  </a:lnTo>
                  <a:lnTo>
                    <a:pt x="0" y="41779"/>
                  </a:lnTo>
                  <a:lnTo>
                    <a:pt x="0" y="41641"/>
                  </a:lnTo>
                  <a:lnTo>
                    <a:pt x="0" y="41641"/>
                  </a:lnTo>
                  <a:lnTo>
                    <a:pt x="0" y="41192"/>
                  </a:lnTo>
                  <a:lnTo>
                    <a:pt x="69" y="40881"/>
                  </a:lnTo>
                  <a:lnTo>
                    <a:pt x="207" y="40639"/>
                  </a:lnTo>
                  <a:lnTo>
                    <a:pt x="346" y="40466"/>
                  </a:lnTo>
                  <a:lnTo>
                    <a:pt x="553" y="40224"/>
                  </a:lnTo>
                  <a:lnTo>
                    <a:pt x="760" y="39913"/>
                  </a:lnTo>
                  <a:lnTo>
                    <a:pt x="1037" y="39429"/>
                  </a:lnTo>
                  <a:lnTo>
                    <a:pt x="1348" y="38738"/>
                  </a:lnTo>
                  <a:lnTo>
                    <a:pt x="1348" y="38738"/>
                  </a:lnTo>
                  <a:lnTo>
                    <a:pt x="1521" y="38254"/>
                  </a:lnTo>
                  <a:lnTo>
                    <a:pt x="1693" y="37667"/>
                  </a:lnTo>
                  <a:lnTo>
                    <a:pt x="2039" y="36215"/>
                  </a:lnTo>
                  <a:lnTo>
                    <a:pt x="2350" y="34488"/>
                  </a:lnTo>
                  <a:lnTo>
                    <a:pt x="2661" y="32691"/>
                  </a:lnTo>
                  <a:lnTo>
                    <a:pt x="2937" y="30859"/>
                  </a:lnTo>
                  <a:lnTo>
                    <a:pt x="3179" y="29235"/>
                  </a:lnTo>
                  <a:lnTo>
                    <a:pt x="3317" y="27887"/>
                  </a:lnTo>
                  <a:lnTo>
                    <a:pt x="3421" y="27023"/>
                  </a:lnTo>
                  <a:lnTo>
                    <a:pt x="3421" y="27023"/>
                  </a:lnTo>
                  <a:lnTo>
                    <a:pt x="3456" y="25779"/>
                  </a:lnTo>
                  <a:lnTo>
                    <a:pt x="3490" y="23464"/>
                  </a:lnTo>
                  <a:lnTo>
                    <a:pt x="3490" y="17175"/>
                  </a:lnTo>
                  <a:lnTo>
                    <a:pt x="3490" y="13823"/>
                  </a:lnTo>
                  <a:lnTo>
                    <a:pt x="3559" y="10817"/>
                  </a:lnTo>
                  <a:lnTo>
                    <a:pt x="3628" y="9538"/>
                  </a:lnTo>
                  <a:lnTo>
                    <a:pt x="3663" y="8501"/>
                  </a:lnTo>
                  <a:lnTo>
                    <a:pt x="3767" y="7672"/>
                  </a:lnTo>
                  <a:lnTo>
                    <a:pt x="3836" y="7188"/>
                  </a:lnTo>
                  <a:lnTo>
                    <a:pt x="3836" y="7188"/>
                  </a:lnTo>
                  <a:lnTo>
                    <a:pt x="3905" y="7015"/>
                  </a:lnTo>
                  <a:lnTo>
                    <a:pt x="4009" y="6808"/>
                  </a:lnTo>
                  <a:lnTo>
                    <a:pt x="4320" y="6359"/>
                  </a:lnTo>
                  <a:lnTo>
                    <a:pt x="4734" y="5840"/>
                  </a:lnTo>
                  <a:lnTo>
                    <a:pt x="5218" y="5287"/>
                  </a:lnTo>
                  <a:lnTo>
                    <a:pt x="5771" y="4700"/>
                  </a:lnTo>
                  <a:lnTo>
                    <a:pt x="6358" y="4113"/>
                  </a:lnTo>
                  <a:lnTo>
                    <a:pt x="7672" y="2903"/>
                  </a:lnTo>
                  <a:lnTo>
                    <a:pt x="8916" y="1797"/>
                  </a:lnTo>
                  <a:lnTo>
                    <a:pt x="10021" y="864"/>
                  </a:lnTo>
                  <a:lnTo>
                    <a:pt x="1105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3" name="Google Shape;14239;p81">
              <a:extLst>
                <a:ext uri="{FF2B5EF4-FFF2-40B4-BE49-F238E27FC236}">
                  <a16:creationId xmlns:a16="http://schemas.microsoft.com/office/drawing/2014/main" id="{D342853D-4B37-C30A-D020-B02C1CE4A9DF}"/>
                </a:ext>
              </a:extLst>
            </p:cNvPr>
            <p:cNvSpPr/>
            <p:nvPr/>
          </p:nvSpPr>
          <p:spPr>
            <a:xfrm>
              <a:off x="1705500" y="3103700"/>
              <a:ext cx="170225" cy="94200"/>
            </a:xfrm>
            <a:custGeom>
              <a:avLst/>
              <a:gdLst/>
              <a:ahLst/>
              <a:cxnLst/>
              <a:rect l="l" t="t" r="r" b="b"/>
              <a:pathLst>
                <a:path w="6809" h="3768" extrusionOk="0">
                  <a:moveTo>
                    <a:pt x="3940" y="1"/>
                  </a:moveTo>
                  <a:lnTo>
                    <a:pt x="3767" y="35"/>
                  </a:lnTo>
                  <a:lnTo>
                    <a:pt x="3353" y="139"/>
                  </a:lnTo>
                  <a:lnTo>
                    <a:pt x="2938" y="346"/>
                  </a:lnTo>
                  <a:lnTo>
                    <a:pt x="2489" y="553"/>
                  </a:lnTo>
                  <a:lnTo>
                    <a:pt x="2074" y="761"/>
                  </a:lnTo>
                  <a:lnTo>
                    <a:pt x="1728" y="934"/>
                  </a:lnTo>
                  <a:lnTo>
                    <a:pt x="1417" y="1003"/>
                  </a:lnTo>
                  <a:lnTo>
                    <a:pt x="1314" y="1003"/>
                  </a:lnTo>
                  <a:lnTo>
                    <a:pt x="1210" y="968"/>
                  </a:lnTo>
                  <a:lnTo>
                    <a:pt x="1141" y="968"/>
                  </a:lnTo>
                  <a:lnTo>
                    <a:pt x="1072" y="1003"/>
                  </a:lnTo>
                  <a:lnTo>
                    <a:pt x="899" y="1175"/>
                  </a:lnTo>
                  <a:lnTo>
                    <a:pt x="692" y="1417"/>
                  </a:lnTo>
                  <a:lnTo>
                    <a:pt x="484" y="1728"/>
                  </a:lnTo>
                  <a:lnTo>
                    <a:pt x="139" y="2350"/>
                  </a:lnTo>
                  <a:lnTo>
                    <a:pt x="1" y="2627"/>
                  </a:lnTo>
                  <a:lnTo>
                    <a:pt x="277" y="2869"/>
                  </a:lnTo>
                  <a:lnTo>
                    <a:pt x="623" y="3076"/>
                  </a:lnTo>
                  <a:lnTo>
                    <a:pt x="968" y="3283"/>
                  </a:lnTo>
                  <a:lnTo>
                    <a:pt x="1314" y="3422"/>
                  </a:lnTo>
                  <a:lnTo>
                    <a:pt x="1694" y="3560"/>
                  </a:lnTo>
                  <a:lnTo>
                    <a:pt x="2109" y="3629"/>
                  </a:lnTo>
                  <a:lnTo>
                    <a:pt x="2489" y="3698"/>
                  </a:lnTo>
                  <a:lnTo>
                    <a:pt x="2869" y="3767"/>
                  </a:lnTo>
                  <a:lnTo>
                    <a:pt x="3664" y="3767"/>
                  </a:lnTo>
                  <a:lnTo>
                    <a:pt x="4044" y="3733"/>
                  </a:lnTo>
                  <a:lnTo>
                    <a:pt x="4389" y="3664"/>
                  </a:lnTo>
                  <a:lnTo>
                    <a:pt x="4735" y="3594"/>
                  </a:lnTo>
                  <a:lnTo>
                    <a:pt x="5046" y="3491"/>
                  </a:lnTo>
                  <a:lnTo>
                    <a:pt x="5322" y="3353"/>
                  </a:lnTo>
                  <a:lnTo>
                    <a:pt x="5564" y="3214"/>
                  </a:lnTo>
                  <a:lnTo>
                    <a:pt x="5806" y="3042"/>
                  </a:lnTo>
                  <a:lnTo>
                    <a:pt x="6013" y="2834"/>
                  </a:lnTo>
                  <a:lnTo>
                    <a:pt x="6221" y="2592"/>
                  </a:lnTo>
                  <a:lnTo>
                    <a:pt x="6394" y="2350"/>
                  </a:lnTo>
                  <a:lnTo>
                    <a:pt x="6532" y="2109"/>
                  </a:lnTo>
                  <a:lnTo>
                    <a:pt x="6635" y="1867"/>
                  </a:lnTo>
                  <a:lnTo>
                    <a:pt x="6739" y="1625"/>
                  </a:lnTo>
                  <a:lnTo>
                    <a:pt x="6774" y="1383"/>
                  </a:lnTo>
                  <a:lnTo>
                    <a:pt x="6808" y="1175"/>
                  </a:lnTo>
                  <a:lnTo>
                    <a:pt x="6774" y="968"/>
                  </a:lnTo>
                  <a:lnTo>
                    <a:pt x="6739" y="795"/>
                  </a:lnTo>
                  <a:lnTo>
                    <a:pt x="6635" y="692"/>
                  </a:lnTo>
                  <a:lnTo>
                    <a:pt x="6532" y="588"/>
                  </a:lnTo>
                  <a:lnTo>
                    <a:pt x="6152" y="588"/>
                  </a:lnTo>
                  <a:lnTo>
                    <a:pt x="5875" y="692"/>
                  </a:lnTo>
                  <a:lnTo>
                    <a:pt x="5495" y="864"/>
                  </a:lnTo>
                  <a:lnTo>
                    <a:pt x="5184" y="968"/>
                  </a:lnTo>
                  <a:lnTo>
                    <a:pt x="4908" y="1003"/>
                  </a:lnTo>
                  <a:lnTo>
                    <a:pt x="4700" y="1037"/>
                  </a:lnTo>
                  <a:lnTo>
                    <a:pt x="4562" y="1003"/>
                  </a:lnTo>
                  <a:lnTo>
                    <a:pt x="4458" y="934"/>
                  </a:lnTo>
                  <a:lnTo>
                    <a:pt x="4389" y="864"/>
                  </a:lnTo>
                  <a:lnTo>
                    <a:pt x="4355" y="761"/>
                  </a:lnTo>
                  <a:lnTo>
                    <a:pt x="4320" y="519"/>
                  </a:lnTo>
                  <a:lnTo>
                    <a:pt x="4286" y="277"/>
                  </a:lnTo>
                  <a:lnTo>
                    <a:pt x="4286" y="173"/>
                  </a:lnTo>
                  <a:lnTo>
                    <a:pt x="4251" y="104"/>
                  </a:lnTo>
                  <a:lnTo>
                    <a:pt x="4217" y="35"/>
                  </a:lnTo>
                  <a:lnTo>
                    <a:pt x="4113" y="1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4" name="Google Shape;14240;p81">
              <a:extLst>
                <a:ext uri="{FF2B5EF4-FFF2-40B4-BE49-F238E27FC236}">
                  <a16:creationId xmlns:a16="http://schemas.microsoft.com/office/drawing/2014/main" id="{40861274-9AB4-5E90-E87E-DF5C97BF271B}"/>
                </a:ext>
              </a:extLst>
            </p:cNvPr>
            <p:cNvSpPr/>
            <p:nvPr/>
          </p:nvSpPr>
          <p:spPr>
            <a:xfrm>
              <a:off x="1874825" y="2241525"/>
              <a:ext cx="111475" cy="162425"/>
            </a:xfrm>
            <a:custGeom>
              <a:avLst/>
              <a:gdLst/>
              <a:ahLst/>
              <a:cxnLst/>
              <a:rect l="l" t="t" r="r" b="b"/>
              <a:pathLst>
                <a:path w="4459" h="6497" extrusionOk="0">
                  <a:moveTo>
                    <a:pt x="3353" y="0"/>
                  </a:moveTo>
                  <a:lnTo>
                    <a:pt x="3076" y="35"/>
                  </a:lnTo>
                  <a:lnTo>
                    <a:pt x="2800" y="69"/>
                  </a:lnTo>
                  <a:lnTo>
                    <a:pt x="2523" y="173"/>
                  </a:lnTo>
                  <a:lnTo>
                    <a:pt x="2212" y="277"/>
                  </a:lnTo>
                  <a:lnTo>
                    <a:pt x="1936" y="380"/>
                  </a:lnTo>
                  <a:lnTo>
                    <a:pt x="1694" y="553"/>
                  </a:lnTo>
                  <a:lnTo>
                    <a:pt x="1487" y="726"/>
                  </a:lnTo>
                  <a:lnTo>
                    <a:pt x="1279" y="968"/>
                  </a:lnTo>
                  <a:lnTo>
                    <a:pt x="1072" y="1210"/>
                  </a:lnTo>
                  <a:lnTo>
                    <a:pt x="865" y="1486"/>
                  </a:lnTo>
                  <a:lnTo>
                    <a:pt x="692" y="1797"/>
                  </a:lnTo>
                  <a:lnTo>
                    <a:pt x="519" y="2143"/>
                  </a:lnTo>
                  <a:lnTo>
                    <a:pt x="381" y="2488"/>
                  </a:lnTo>
                  <a:lnTo>
                    <a:pt x="243" y="2868"/>
                  </a:lnTo>
                  <a:lnTo>
                    <a:pt x="139" y="3249"/>
                  </a:lnTo>
                  <a:lnTo>
                    <a:pt x="70" y="3663"/>
                  </a:lnTo>
                  <a:lnTo>
                    <a:pt x="35" y="4043"/>
                  </a:lnTo>
                  <a:lnTo>
                    <a:pt x="1" y="4458"/>
                  </a:lnTo>
                  <a:lnTo>
                    <a:pt x="35" y="4838"/>
                  </a:lnTo>
                  <a:lnTo>
                    <a:pt x="70" y="5218"/>
                  </a:lnTo>
                  <a:lnTo>
                    <a:pt x="173" y="5598"/>
                  </a:lnTo>
                  <a:lnTo>
                    <a:pt x="277" y="5979"/>
                  </a:lnTo>
                  <a:lnTo>
                    <a:pt x="588" y="6151"/>
                  </a:lnTo>
                  <a:lnTo>
                    <a:pt x="899" y="6290"/>
                  </a:lnTo>
                  <a:lnTo>
                    <a:pt x="1314" y="6428"/>
                  </a:lnTo>
                  <a:lnTo>
                    <a:pt x="1521" y="6462"/>
                  </a:lnTo>
                  <a:lnTo>
                    <a:pt x="1763" y="6497"/>
                  </a:lnTo>
                  <a:lnTo>
                    <a:pt x="2005" y="6462"/>
                  </a:lnTo>
                  <a:lnTo>
                    <a:pt x="2281" y="6428"/>
                  </a:lnTo>
                  <a:lnTo>
                    <a:pt x="2523" y="6359"/>
                  </a:lnTo>
                  <a:lnTo>
                    <a:pt x="2765" y="6220"/>
                  </a:lnTo>
                  <a:lnTo>
                    <a:pt x="3007" y="6013"/>
                  </a:lnTo>
                  <a:lnTo>
                    <a:pt x="3214" y="5771"/>
                  </a:lnTo>
                  <a:lnTo>
                    <a:pt x="3387" y="5529"/>
                  </a:lnTo>
                  <a:lnTo>
                    <a:pt x="3491" y="5287"/>
                  </a:lnTo>
                  <a:lnTo>
                    <a:pt x="3560" y="5011"/>
                  </a:lnTo>
                  <a:lnTo>
                    <a:pt x="3629" y="4700"/>
                  </a:lnTo>
                  <a:lnTo>
                    <a:pt x="3664" y="4113"/>
                  </a:lnTo>
                  <a:lnTo>
                    <a:pt x="3664" y="3456"/>
                  </a:lnTo>
                  <a:lnTo>
                    <a:pt x="3664" y="2834"/>
                  </a:lnTo>
                  <a:lnTo>
                    <a:pt x="3664" y="2523"/>
                  </a:lnTo>
                  <a:lnTo>
                    <a:pt x="3698" y="2212"/>
                  </a:lnTo>
                  <a:lnTo>
                    <a:pt x="3767" y="1935"/>
                  </a:lnTo>
                  <a:lnTo>
                    <a:pt x="3871" y="1659"/>
                  </a:lnTo>
                  <a:lnTo>
                    <a:pt x="4009" y="1383"/>
                  </a:lnTo>
                  <a:lnTo>
                    <a:pt x="4182" y="1141"/>
                  </a:lnTo>
                  <a:lnTo>
                    <a:pt x="4355" y="933"/>
                  </a:lnTo>
                  <a:lnTo>
                    <a:pt x="4458" y="761"/>
                  </a:lnTo>
                  <a:lnTo>
                    <a:pt x="4458" y="588"/>
                  </a:lnTo>
                  <a:lnTo>
                    <a:pt x="4458" y="415"/>
                  </a:lnTo>
                  <a:lnTo>
                    <a:pt x="4355" y="311"/>
                  </a:lnTo>
                  <a:lnTo>
                    <a:pt x="4217" y="208"/>
                  </a:lnTo>
                  <a:lnTo>
                    <a:pt x="4044" y="104"/>
                  </a:lnTo>
                  <a:lnTo>
                    <a:pt x="3836" y="69"/>
                  </a:lnTo>
                  <a:lnTo>
                    <a:pt x="3595" y="35"/>
                  </a:lnTo>
                  <a:lnTo>
                    <a:pt x="3353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5" name="Google Shape;14241;p81">
              <a:extLst>
                <a:ext uri="{FF2B5EF4-FFF2-40B4-BE49-F238E27FC236}">
                  <a16:creationId xmlns:a16="http://schemas.microsoft.com/office/drawing/2014/main" id="{4F7E16C8-6D76-5749-4D75-D67BCC24F8A1}"/>
                </a:ext>
              </a:extLst>
            </p:cNvPr>
            <p:cNvSpPr/>
            <p:nvPr/>
          </p:nvSpPr>
          <p:spPr>
            <a:xfrm>
              <a:off x="994500" y="4854850"/>
              <a:ext cx="305850" cy="254875"/>
            </a:xfrm>
            <a:custGeom>
              <a:avLst/>
              <a:gdLst/>
              <a:ahLst/>
              <a:cxnLst/>
              <a:rect l="l" t="t" r="r" b="b"/>
              <a:pathLst>
                <a:path w="12234" h="10195" extrusionOk="0">
                  <a:moveTo>
                    <a:pt x="2903" y="0"/>
                  </a:moveTo>
                  <a:lnTo>
                    <a:pt x="2731" y="70"/>
                  </a:lnTo>
                  <a:lnTo>
                    <a:pt x="1901" y="657"/>
                  </a:lnTo>
                  <a:lnTo>
                    <a:pt x="1072" y="1244"/>
                  </a:lnTo>
                  <a:lnTo>
                    <a:pt x="865" y="1452"/>
                  </a:lnTo>
                  <a:lnTo>
                    <a:pt x="657" y="1694"/>
                  </a:lnTo>
                  <a:lnTo>
                    <a:pt x="450" y="1970"/>
                  </a:lnTo>
                  <a:lnTo>
                    <a:pt x="277" y="2281"/>
                  </a:lnTo>
                  <a:lnTo>
                    <a:pt x="139" y="2558"/>
                  </a:lnTo>
                  <a:lnTo>
                    <a:pt x="35" y="2799"/>
                  </a:lnTo>
                  <a:lnTo>
                    <a:pt x="1" y="3041"/>
                  </a:lnTo>
                  <a:lnTo>
                    <a:pt x="1" y="3180"/>
                  </a:lnTo>
                  <a:lnTo>
                    <a:pt x="70" y="3352"/>
                  </a:lnTo>
                  <a:lnTo>
                    <a:pt x="243" y="3560"/>
                  </a:lnTo>
                  <a:lnTo>
                    <a:pt x="796" y="4113"/>
                  </a:lnTo>
                  <a:lnTo>
                    <a:pt x="1452" y="4700"/>
                  </a:lnTo>
                  <a:lnTo>
                    <a:pt x="2143" y="5357"/>
                  </a:lnTo>
                  <a:lnTo>
                    <a:pt x="2351" y="5357"/>
                  </a:lnTo>
                  <a:lnTo>
                    <a:pt x="2454" y="5322"/>
                  </a:lnTo>
                  <a:lnTo>
                    <a:pt x="2558" y="5218"/>
                  </a:lnTo>
                  <a:lnTo>
                    <a:pt x="2696" y="5115"/>
                  </a:lnTo>
                  <a:lnTo>
                    <a:pt x="2731" y="5115"/>
                  </a:lnTo>
                  <a:lnTo>
                    <a:pt x="2834" y="5184"/>
                  </a:lnTo>
                  <a:lnTo>
                    <a:pt x="3180" y="5460"/>
                  </a:lnTo>
                  <a:lnTo>
                    <a:pt x="4251" y="6428"/>
                  </a:lnTo>
                  <a:lnTo>
                    <a:pt x="6566" y="8674"/>
                  </a:lnTo>
                  <a:lnTo>
                    <a:pt x="6808" y="8847"/>
                  </a:lnTo>
                  <a:lnTo>
                    <a:pt x="7085" y="9054"/>
                  </a:lnTo>
                  <a:lnTo>
                    <a:pt x="7396" y="9227"/>
                  </a:lnTo>
                  <a:lnTo>
                    <a:pt x="7741" y="9400"/>
                  </a:lnTo>
                  <a:lnTo>
                    <a:pt x="8502" y="9711"/>
                  </a:lnTo>
                  <a:lnTo>
                    <a:pt x="9331" y="9953"/>
                  </a:lnTo>
                  <a:lnTo>
                    <a:pt x="9746" y="10056"/>
                  </a:lnTo>
                  <a:lnTo>
                    <a:pt x="10126" y="10125"/>
                  </a:lnTo>
                  <a:lnTo>
                    <a:pt x="10540" y="10160"/>
                  </a:lnTo>
                  <a:lnTo>
                    <a:pt x="10886" y="10195"/>
                  </a:lnTo>
                  <a:lnTo>
                    <a:pt x="11232" y="10160"/>
                  </a:lnTo>
                  <a:lnTo>
                    <a:pt x="11543" y="10125"/>
                  </a:lnTo>
                  <a:lnTo>
                    <a:pt x="11819" y="10022"/>
                  </a:lnTo>
                  <a:lnTo>
                    <a:pt x="12026" y="9918"/>
                  </a:lnTo>
                  <a:lnTo>
                    <a:pt x="12165" y="9711"/>
                  </a:lnTo>
                  <a:lnTo>
                    <a:pt x="12234" y="9503"/>
                  </a:lnTo>
                  <a:lnTo>
                    <a:pt x="12199" y="9296"/>
                  </a:lnTo>
                  <a:lnTo>
                    <a:pt x="12130" y="9054"/>
                  </a:lnTo>
                  <a:lnTo>
                    <a:pt x="12026" y="8812"/>
                  </a:lnTo>
                  <a:lnTo>
                    <a:pt x="11854" y="8536"/>
                  </a:lnTo>
                  <a:lnTo>
                    <a:pt x="11646" y="8294"/>
                  </a:lnTo>
                  <a:lnTo>
                    <a:pt x="11439" y="8017"/>
                  </a:lnTo>
                  <a:lnTo>
                    <a:pt x="10955" y="7534"/>
                  </a:lnTo>
                  <a:lnTo>
                    <a:pt x="10471" y="7050"/>
                  </a:lnTo>
                  <a:lnTo>
                    <a:pt x="10022" y="6670"/>
                  </a:lnTo>
                  <a:lnTo>
                    <a:pt x="9780" y="6428"/>
                  </a:lnTo>
                  <a:lnTo>
                    <a:pt x="9677" y="6324"/>
                  </a:lnTo>
                  <a:lnTo>
                    <a:pt x="9538" y="6255"/>
                  </a:lnTo>
                  <a:lnTo>
                    <a:pt x="9227" y="6082"/>
                  </a:lnTo>
                  <a:lnTo>
                    <a:pt x="8363" y="5840"/>
                  </a:lnTo>
                  <a:lnTo>
                    <a:pt x="7845" y="5668"/>
                  </a:lnTo>
                  <a:lnTo>
                    <a:pt x="7327" y="5460"/>
                  </a:lnTo>
                  <a:lnTo>
                    <a:pt x="6774" y="5149"/>
                  </a:lnTo>
                  <a:lnTo>
                    <a:pt x="6497" y="4977"/>
                  </a:lnTo>
                  <a:lnTo>
                    <a:pt x="6221" y="4769"/>
                  </a:lnTo>
                  <a:lnTo>
                    <a:pt x="5737" y="4355"/>
                  </a:lnTo>
                  <a:lnTo>
                    <a:pt x="5392" y="3940"/>
                  </a:lnTo>
                  <a:lnTo>
                    <a:pt x="5115" y="3560"/>
                  </a:lnTo>
                  <a:lnTo>
                    <a:pt x="4908" y="3180"/>
                  </a:lnTo>
                  <a:lnTo>
                    <a:pt x="4804" y="2834"/>
                  </a:lnTo>
                  <a:lnTo>
                    <a:pt x="4735" y="2523"/>
                  </a:lnTo>
                  <a:lnTo>
                    <a:pt x="4597" y="1970"/>
                  </a:lnTo>
                  <a:lnTo>
                    <a:pt x="4493" y="1625"/>
                  </a:lnTo>
                  <a:lnTo>
                    <a:pt x="4251" y="1175"/>
                  </a:lnTo>
                  <a:lnTo>
                    <a:pt x="4078" y="933"/>
                  </a:lnTo>
                  <a:lnTo>
                    <a:pt x="3871" y="657"/>
                  </a:lnTo>
                  <a:lnTo>
                    <a:pt x="3629" y="381"/>
                  </a:lnTo>
                  <a:lnTo>
                    <a:pt x="3353" y="104"/>
                  </a:lnTo>
                  <a:lnTo>
                    <a:pt x="3215" y="35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6" name="Google Shape;14242;p81">
              <a:extLst>
                <a:ext uri="{FF2B5EF4-FFF2-40B4-BE49-F238E27FC236}">
                  <a16:creationId xmlns:a16="http://schemas.microsoft.com/office/drawing/2014/main" id="{FD19F8E1-E786-65DB-180B-EED83EB1FC88}"/>
                </a:ext>
              </a:extLst>
            </p:cNvPr>
            <p:cNvSpPr/>
            <p:nvPr/>
          </p:nvSpPr>
          <p:spPr>
            <a:xfrm>
              <a:off x="1380675" y="3920100"/>
              <a:ext cx="415575" cy="1118775"/>
            </a:xfrm>
            <a:custGeom>
              <a:avLst/>
              <a:gdLst/>
              <a:ahLst/>
              <a:cxnLst/>
              <a:rect l="l" t="t" r="r" b="b"/>
              <a:pathLst>
                <a:path w="16623" h="44751" extrusionOk="0">
                  <a:moveTo>
                    <a:pt x="1175" y="0"/>
                  </a:moveTo>
                  <a:lnTo>
                    <a:pt x="968" y="35"/>
                  </a:lnTo>
                  <a:lnTo>
                    <a:pt x="726" y="69"/>
                  </a:lnTo>
                  <a:lnTo>
                    <a:pt x="519" y="173"/>
                  </a:lnTo>
                  <a:lnTo>
                    <a:pt x="346" y="277"/>
                  </a:lnTo>
                  <a:lnTo>
                    <a:pt x="173" y="450"/>
                  </a:lnTo>
                  <a:lnTo>
                    <a:pt x="70" y="692"/>
                  </a:lnTo>
                  <a:lnTo>
                    <a:pt x="0" y="968"/>
                  </a:lnTo>
                  <a:lnTo>
                    <a:pt x="0" y="1279"/>
                  </a:lnTo>
                  <a:lnTo>
                    <a:pt x="104" y="2350"/>
                  </a:lnTo>
                  <a:lnTo>
                    <a:pt x="415" y="4389"/>
                  </a:lnTo>
                  <a:lnTo>
                    <a:pt x="1348" y="10333"/>
                  </a:lnTo>
                  <a:lnTo>
                    <a:pt x="2039" y="14583"/>
                  </a:lnTo>
                  <a:lnTo>
                    <a:pt x="2834" y="19490"/>
                  </a:lnTo>
                  <a:lnTo>
                    <a:pt x="3594" y="23913"/>
                  </a:lnTo>
                  <a:lnTo>
                    <a:pt x="4182" y="27196"/>
                  </a:lnTo>
                  <a:lnTo>
                    <a:pt x="4389" y="28268"/>
                  </a:lnTo>
                  <a:lnTo>
                    <a:pt x="4527" y="28855"/>
                  </a:lnTo>
                  <a:lnTo>
                    <a:pt x="4735" y="29753"/>
                  </a:lnTo>
                  <a:lnTo>
                    <a:pt x="5046" y="31101"/>
                  </a:lnTo>
                  <a:lnTo>
                    <a:pt x="5426" y="32725"/>
                  </a:lnTo>
                  <a:lnTo>
                    <a:pt x="5771" y="34557"/>
                  </a:lnTo>
                  <a:lnTo>
                    <a:pt x="6117" y="36457"/>
                  </a:lnTo>
                  <a:lnTo>
                    <a:pt x="6393" y="38220"/>
                  </a:lnTo>
                  <a:lnTo>
                    <a:pt x="6497" y="39015"/>
                  </a:lnTo>
                  <a:lnTo>
                    <a:pt x="6601" y="39740"/>
                  </a:lnTo>
                  <a:lnTo>
                    <a:pt x="6635" y="40362"/>
                  </a:lnTo>
                  <a:lnTo>
                    <a:pt x="6635" y="40881"/>
                  </a:lnTo>
                  <a:lnTo>
                    <a:pt x="6566" y="41641"/>
                  </a:lnTo>
                  <a:lnTo>
                    <a:pt x="6463" y="42194"/>
                  </a:lnTo>
                  <a:lnTo>
                    <a:pt x="6359" y="42608"/>
                  </a:lnTo>
                  <a:lnTo>
                    <a:pt x="6255" y="42885"/>
                  </a:lnTo>
                  <a:lnTo>
                    <a:pt x="6186" y="43127"/>
                  </a:lnTo>
                  <a:lnTo>
                    <a:pt x="6151" y="43369"/>
                  </a:lnTo>
                  <a:lnTo>
                    <a:pt x="6186" y="43714"/>
                  </a:lnTo>
                  <a:lnTo>
                    <a:pt x="6324" y="44163"/>
                  </a:lnTo>
                  <a:lnTo>
                    <a:pt x="6393" y="44267"/>
                  </a:lnTo>
                  <a:lnTo>
                    <a:pt x="6532" y="44405"/>
                  </a:lnTo>
                  <a:lnTo>
                    <a:pt x="6704" y="44474"/>
                  </a:lnTo>
                  <a:lnTo>
                    <a:pt x="6912" y="44578"/>
                  </a:lnTo>
                  <a:lnTo>
                    <a:pt x="7188" y="44613"/>
                  </a:lnTo>
                  <a:lnTo>
                    <a:pt x="7499" y="44682"/>
                  </a:lnTo>
                  <a:lnTo>
                    <a:pt x="8225" y="44751"/>
                  </a:lnTo>
                  <a:lnTo>
                    <a:pt x="9054" y="44751"/>
                  </a:lnTo>
                  <a:lnTo>
                    <a:pt x="9953" y="44716"/>
                  </a:lnTo>
                  <a:lnTo>
                    <a:pt x="10886" y="44682"/>
                  </a:lnTo>
                  <a:lnTo>
                    <a:pt x="11853" y="44578"/>
                  </a:lnTo>
                  <a:lnTo>
                    <a:pt x="12821" y="44474"/>
                  </a:lnTo>
                  <a:lnTo>
                    <a:pt x="13719" y="44336"/>
                  </a:lnTo>
                  <a:lnTo>
                    <a:pt x="14583" y="44198"/>
                  </a:lnTo>
                  <a:lnTo>
                    <a:pt x="15309" y="44060"/>
                  </a:lnTo>
                  <a:lnTo>
                    <a:pt x="15896" y="43887"/>
                  </a:lnTo>
                  <a:lnTo>
                    <a:pt x="16346" y="43749"/>
                  </a:lnTo>
                  <a:lnTo>
                    <a:pt x="16484" y="43680"/>
                  </a:lnTo>
                  <a:lnTo>
                    <a:pt x="16588" y="43611"/>
                  </a:lnTo>
                  <a:lnTo>
                    <a:pt x="16622" y="43541"/>
                  </a:lnTo>
                  <a:lnTo>
                    <a:pt x="16588" y="43507"/>
                  </a:lnTo>
                  <a:lnTo>
                    <a:pt x="16449" y="43403"/>
                  </a:lnTo>
                  <a:lnTo>
                    <a:pt x="16207" y="43265"/>
                  </a:lnTo>
                  <a:lnTo>
                    <a:pt x="15620" y="43023"/>
                  </a:lnTo>
                  <a:lnTo>
                    <a:pt x="14860" y="42816"/>
                  </a:lnTo>
                  <a:lnTo>
                    <a:pt x="13996" y="42574"/>
                  </a:lnTo>
                  <a:lnTo>
                    <a:pt x="12372" y="42090"/>
                  </a:lnTo>
                  <a:lnTo>
                    <a:pt x="11750" y="41883"/>
                  </a:lnTo>
                  <a:lnTo>
                    <a:pt x="11508" y="41779"/>
                  </a:lnTo>
                  <a:lnTo>
                    <a:pt x="11335" y="41675"/>
                  </a:lnTo>
                  <a:lnTo>
                    <a:pt x="11300" y="41606"/>
                  </a:lnTo>
                  <a:lnTo>
                    <a:pt x="11266" y="41433"/>
                  </a:lnTo>
                  <a:lnTo>
                    <a:pt x="11162" y="40846"/>
                  </a:lnTo>
                  <a:lnTo>
                    <a:pt x="11024" y="39982"/>
                  </a:lnTo>
                  <a:lnTo>
                    <a:pt x="10920" y="38842"/>
                  </a:lnTo>
                  <a:lnTo>
                    <a:pt x="10609" y="35801"/>
                  </a:lnTo>
                  <a:lnTo>
                    <a:pt x="10298" y="32034"/>
                  </a:lnTo>
                  <a:lnTo>
                    <a:pt x="9642" y="23188"/>
                  </a:lnTo>
                  <a:lnTo>
                    <a:pt x="8951" y="14134"/>
                  </a:lnTo>
                  <a:lnTo>
                    <a:pt x="8640" y="9849"/>
                  </a:lnTo>
                  <a:lnTo>
                    <a:pt x="8329" y="5564"/>
                  </a:lnTo>
                  <a:lnTo>
                    <a:pt x="8190" y="4078"/>
                  </a:lnTo>
                  <a:lnTo>
                    <a:pt x="8087" y="3076"/>
                  </a:lnTo>
                  <a:lnTo>
                    <a:pt x="7948" y="2385"/>
                  </a:lnTo>
                  <a:lnTo>
                    <a:pt x="7810" y="1797"/>
                  </a:lnTo>
                  <a:lnTo>
                    <a:pt x="7637" y="1314"/>
                  </a:lnTo>
                  <a:lnTo>
                    <a:pt x="7465" y="933"/>
                  </a:lnTo>
                  <a:lnTo>
                    <a:pt x="7223" y="622"/>
                  </a:lnTo>
                  <a:lnTo>
                    <a:pt x="6946" y="380"/>
                  </a:lnTo>
                  <a:lnTo>
                    <a:pt x="6670" y="208"/>
                  </a:lnTo>
                  <a:lnTo>
                    <a:pt x="6324" y="104"/>
                  </a:lnTo>
                  <a:lnTo>
                    <a:pt x="5979" y="35"/>
                  </a:lnTo>
                  <a:lnTo>
                    <a:pt x="5564" y="0"/>
                  </a:lnTo>
                  <a:lnTo>
                    <a:pt x="5149" y="35"/>
                  </a:lnTo>
                  <a:lnTo>
                    <a:pt x="4666" y="35"/>
                  </a:lnTo>
                  <a:lnTo>
                    <a:pt x="3629" y="104"/>
                  </a:lnTo>
                  <a:lnTo>
                    <a:pt x="2454" y="173"/>
                  </a:lnTo>
                  <a:lnTo>
                    <a:pt x="2074" y="69"/>
                  </a:lnTo>
                  <a:lnTo>
                    <a:pt x="1659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7" name="Google Shape;14243;p81">
              <a:extLst>
                <a:ext uri="{FF2B5EF4-FFF2-40B4-BE49-F238E27FC236}">
                  <a16:creationId xmlns:a16="http://schemas.microsoft.com/office/drawing/2014/main" id="{885C52BA-97EA-3305-A7FD-1C86283FABB5}"/>
                </a:ext>
              </a:extLst>
            </p:cNvPr>
            <p:cNvSpPr/>
            <p:nvPr/>
          </p:nvSpPr>
          <p:spPr>
            <a:xfrm>
              <a:off x="1380675" y="3920100"/>
              <a:ext cx="415575" cy="1118775"/>
            </a:xfrm>
            <a:custGeom>
              <a:avLst/>
              <a:gdLst/>
              <a:ahLst/>
              <a:cxnLst/>
              <a:rect l="l" t="t" r="r" b="b"/>
              <a:pathLst>
                <a:path w="16623" h="44751" fill="none" extrusionOk="0">
                  <a:moveTo>
                    <a:pt x="0" y="1279"/>
                  </a:moveTo>
                  <a:lnTo>
                    <a:pt x="0" y="1279"/>
                  </a:lnTo>
                  <a:lnTo>
                    <a:pt x="104" y="2350"/>
                  </a:lnTo>
                  <a:lnTo>
                    <a:pt x="415" y="4389"/>
                  </a:lnTo>
                  <a:lnTo>
                    <a:pt x="1348" y="10333"/>
                  </a:lnTo>
                  <a:lnTo>
                    <a:pt x="1348" y="10333"/>
                  </a:lnTo>
                  <a:lnTo>
                    <a:pt x="2039" y="14583"/>
                  </a:lnTo>
                  <a:lnTo>
                    <a:pt x="2039" y="14583"/>
                  </a:lnTo>
                  <a:lnTo>
                    <a:pt x="2834" y="19490"/>
                  </a:lnTo>
                  <a:lnTo>
                    <a:pt x="3594" y="23913"/>
                  </a:lnTo>
                  <a:lnTo>
                    <a:pt x="4182" y="27196"/>
                  </a:lnTo>
                  <a:lnTo>
                    <a:pt x="4389" y="28268"/>
                  </a:lnTo>
                  <a:lnTo>
                    <a:pt x="4527" y="28855"/>
                  </a:lnTo>
                  <a:lnTo>
                    <a:pt x="4527" y="28855"/>
                  </a:lnTo>
                  <a:lnTo>
                    <a:pt x="4735" y="29753"/>
                  </a:lnTo>
                  <a:lnTo>
                    <a:pt x="5046" y="31101"/>
                  </a:lnTo>
                  <a:lnTo>
                    <a:pt x="5426" y="32725"/>
                  </a:lnTo>
                  <a:lnTo>
                    <a:pt x="5771" y="34557"/>
                  </a:lnTo>
                  <a:lnTo>
                    <a:pt x="6117" y="36457"/>
                  </a:lnTo>
                  <a:lnTo>
                    <a:pt x="6393" y="38220"/>
                  </a:lnTo>
                  <a:lnTo>
                    <a:pt x="6497" y="39015"/>
                  </a:lnTo>
                  <a:lnTo>
                    <a:pt x="6601" y="39740"/>
                  </a:lnTo>
                  <a:lnTo>
                    <a:pt x="6635" y="40362"/>
                  </a:lnTo>
                  <a:lnTo>
                    <a:pt x="6635" y="40881"/>
                  </a:lnTo>
                  <a:lnTo>
                    <a:pt x="6635" y="40881"/>
                  </a:lnTo>
                  <a:lnTo>
                    <a:pt x="6566" y="41641"/>
                  </a:lnTo>
                  <a:lnTo>
                    <a:pt x="6463" y="42194"/>
                  </a:lnTo>
                  <a:lnTo>
                    <a:pt x="6359" y="42608"/>
                  </a:lnTo>
                  <a:lnTo>
                    <a:pt x="6255" y="42885"/>
                  </a:lnTo>
                  <a:lnTo>
                    <a:pt x="6186" y="43127"/>
                  </a:lnTo>
                  <a:lnTo>
                    <a:pt x="6151" y="43369"/>
                  </a:lnTo>
                  <a:lnTo>
                    <a:pt x="6186" y="43714"/>
                  </a:lnTo>
                  <a:lnTo>
                    <a:pt x="6324" y="44163"/>
                  </a:lnTo>
                  <a:lnTo>
                    <a:pt x="6324" y="44163"/>
                  </a:lnTo>
                  <a:lnTo>
                    <a:pt x="6393" y="44267"/>
                  </a:lnTo>
                  <a:lnTo>
                    <a:pt x="6532" y="44405"/>
                  </a:lnTo>
                  <a:lnTo>
                    <a:pt x="6704" y="44474"/>
                  </a:lnTo>
                  <a:lnTo>
                    <a:pt x="6912" y="44578"/>
                  </a:lnTo>
                  <a:lnTo>
                    <a:pt x="7188" y="44613"/>
                  </a:lnTo>
                  <a:lnTo>
                    <a:pt x="7499" y="44682"/>
                  </a:lnTo>
                  <a:lnTo>
                    <a:pt x="8225" y="44751"/>
                  </a:lnTo>
                  <a:lnTo>
                    <a:pt x="9054" y="44751"/>
                  </a:lnTo>
                  <a:lnTo>
                    <a:pt x="9953" y="44716"/>
                  </a:lnTo>
                  <a:lnTo>
                    <a:pt x="10886" y="44682"/>
                  </a:lnTo>
                  <a:lnTo>
                    <a:pt x="11853" y="44578"/>
                  </a:lnTo>
                  <a:lnTo>
                    <a:pt x="12821" y="44474"/>
                  </a:lnTo>
                  <a:lnTo>
                    <a:pt x="13719" y="44336"/>
                  </a:lnTo>
                  <a:lnTo>
                    <a:pt x="14583" y="44198"/>
                  </a:lnTo>
                  <a:lnTo>
                    <a:pt x="15309" y="44060"/>
                  </a:lnTo>
                  <a:lnTo>
                    <a:pt x="15896" y="43887"/>
                  </a:lnTo>
                  <a:lnTo>
                    <a:pt x="16346" y="43749"/>
                  </a:lnTo>
                  <a:lnTo>
                    <a:pt x="16484" y="43680"/>
                  </a:lnTo>
                  <a:lnTo>
                    <a:pt x="16588" y="43611"/>
                  </a:lnTo>
                  <a:lnTo>
                    <a:pt x="16622" y="43541"/>
                  </a:lnTo>
                  <a:lnTo>
                    <a:pt x="16588" y="43507"/>
                  </a:lnTo>
                  <a:lnTo>
                    <a:pt x="16588" y="43507"/>
                  </a:lnTo>
                  <a:lnTo>
                    <a:pt x="16449" y="43403"/>
                  </a:lnTo>
                  <a:lnTo>
                    <a:pt x="16207" y="43265"/>
                  </a:lnTo>
                  <a:lnTo>
                    <a:pt x="15620" y="43023"/>
                  </a:lnTo>
                  <a:lnTo>
                    <a:pt x="14860" y="42816"/>
                  </a:lnTo>
                  <a:lnTo>
                    <a:pt x="13996" y="42574"/>
                  </a:lnTo>
                  <a:lnTo>
                    <a:pt x="12372" y="42090"/>
                  </a:lnTo>
                  <a:lnTo>
                    <a:pt x="11750" y="41883"/>
                  </a:lnTo>
                  <a:lnTo>
                    <a:pt x="11508" y="41779"/>
                  </a:lnTo>
                  <a:lnTo>
                    <a:pt x="11335" y="41675"/>
                  </a:lnTo>
                  <a:lnTo>
                    <a:pt x="11335" y="41675"/>
                  </a:lnTo>
                  <a:lnTo>
                    <a:pt x="11300" y="41606"/>
                  </a:lnTo>
                  <a:lnTo>
                    <a:pt x="11266" y="41433"/>
                  </a:lnTo>
                  <a:lnTo>
                    <a:pt x="11162" y="40846"/>
                  </a:lnTo>
                  <a:lnTo>
                    <a:pt x="11024" y="39982"/>
                  </a:lnTo>
                  <a:lnTo>
                    <a:pt x="10920" y="38842"/>
                  </a:lnTo>
                  <a:lnTo>
                    <a:pt x="10609" y="35801"/>
                  </a:lnTo>
                  <a:lnTo>
                    <a:pt x="10298" y="32034"/>
                  </a:lnTo>
                  <a:lnTo>
                    <a:pt x="9642" y="23188"/>
                  </a:lnTo>
                  <a:lnTo>
                    <a:pt x="8951" y="14134"/>
                  </a:lnTo>
                  <a:lnTo>
                    <a:pt x="8951" y="14134"/>
                  </a:lnTo>
                  <a:lnTo>
                    <a:pt x="8640" y="9849"/>
                  </a:lnTo>
                  <a:lnTo>
                    <a:pt x="8640" y="9849"/>
                  </a:lnTo>
                  <a:lnTo>
                    <a:pt x="8329" y="5564"/>
                  </a:lnTo>
                  <a:lnTo>
                    <a:pt x="8190" y="4078"/>
                  </a:lnTo>
                  <a:lnTo>
                    <a:pt x="8087" y="3076"/>
                  </a:lnTo>
                  <a:lnTo>
                    <a:pt x="8087" y="3076"/>
                  </a:lnTo>
                  <a:lnTo>
                    <a:pt x="7948" y="2385"/>
                  </a:lnTo>
                  <a:lnTo>
                    <a:pt x="7810" y="1797"/>
                  </a:lnTo>
                  <a:lnTo>
                    <a:pt x="7637" y="1314"/>
                  </a:lnTo>
                  <a:lnTo>
                    <a:pt x="7465" y="933"/>
                  </a:lnTo>
                  <a:lnTo>
                    <a:pt x="7223" y="622"/>
                  </a:lnTo>
                  <a:lnTo>
                    <a:pt x="6946" y="380"/>
                  </a:lnTo>
                  <a:lnTo>
                    <a:pt x="6670" y="208"/>
                  </a:lnTo>
                  <a:lnTo>
                    <a:pt x="6324" y="104"/>
                  </a:lnTo>
                  <a:lnTo>
                    <a:pt x="5979" y="35"/>
                  </a:lnTo>
                  <a:lnTo>
                    <a:pt x="5564" y="0"/>
                  </a:lnTo>
                  <a:lnTo>
                    <a:pt x="5149" y="35"/>
                  </a:lnTo>
                  <a:lnTo>
                    <a:pt x="4666" y="35"/>
                  </a:lnTo>
                  <a:lnTo>
                    <a:pt x="3629" y="104"/>
                  </a:lnTo>
                  <a:lnTo>
                    <a:pt x="2454" y="173"/>
                  </a:lnTo>
                  <a:lnTo>
                    <a:pt x="2454" y="173"/>
                  </a:lnTo>
                  <a:lnTo>
                    <a:pt x="2074" y="69"/>
                  </a:lnTo>
                  <a:lnTo>
                    <a:pt x="1659" y="0"/>
                  </a:lnTo>
                  <a:lnTo>
                    <a:pt x="1175" y="0"/>
                  </a:lnTo>
                  <a:lnTo>
                    <a:pt x="968" y="35"/>
                  </a:lnTo>
                  <a:lnTo>
                    <a:pt x="726" y="69"/>
                  </a:lnTo>
                  <a:lnTo>
                    <a:pt x="519" y="173"/>
                  </a:lnTo>
                  <a:lnTo>
                    <a:pt x="346" y="277"/>
                  </a:lnTo>
                  <a:lnTo>
                    <a:pt x="173" y="450"/>
                  </a:lnTo>
                  <a:lnTo>
                    <a:pt x="70" y="692"/>
                  </a:lnTo>
                  <a:lnTo>
                    <a:pt x="0" y="968"/>
                  </a:lnTo>
                  <a:lnTo>
                    <a:pt x="0" y="127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8" name="Google Shape;14244;p81">
              <a:extLst>
                <a:ext uri="{FF2B5EF4-FFF2-40B4-BE49-F238E27FC236}">
                  <a16:creationId xmlns:a16="http://schemas.microsoft.com/office/drawing/2014/main" id="{42D0C536-D5D7-57E7-1CB4-75E54E449D36}"/>
                </a:ext>
              </a:extLst>
            </p:cNvPr>
            <p:cNvSpPr/>
            <p:nvPr/>
          </p:nvSpPr>
          <p:spPr>
            <a:xfrm>
              <a:off x="1514575" y="4975800"/>
              <a:ext cx="358550" cy="120975"/>
            </a:xfrm>
            <a:custGeom>
              <a:avLst/>
              <a:gdLst/>
              <a:ahLst/>
              <a:cxnLst/>
              <a:rect l="l" t="t" r="r" b="b"/>
              <a:pathLst>
                <a:path w="14342" h="4839" extrusionOk="0">
                  <a:moveTo>
                    <a:pt x="1037" y="0"/>
                  </a:moveTo>
                  <a:lnTo>
                    <a:pt x="899" y="35"/>
                  </a:lnTo>
                  <a:lnTo>
                    <a:pt x="726" y="104"/>
                  </a:lnTo>
                  <a:lnTo>
                    <a:pt x="623" y="208"/>
                  </a:lnTo>
                  <a:lnTo>
                    <a:pt x="554" y="380"/>
                  </a:lnTo>
                  <a:lnTo>
                    <a:pt x="277" y="1383"/>
                  </a:lnTo>
                  <a:lnTo>
                    <a:pt x="35" y="2419"/>
                  </a:lnTo>
                  <a:lnTo>
                    <a:pt x="1" y="2730"/>
                  </a:lnTo>
                  <a:lnTo>
                    <a:pt x="1" y="3076"/>
                  </a:lnTo>
                  <a:lnTo>
                    <a:pt x="35" y="3421"/>
                  </a:lnTo>
                  <a:lnTo>
                    <a:pt x="104" y="3767"/>
                  </a:lnTo>
                  <a:lnTo>
                    <a:pt x="173" y="4078"/>
                  </a:lnTo>
                  <a:lnTo>
                    <a:pt x="277" y="4320"/>
                  </a:lnTo>
                  <a:lnTo>
                    <a:pt x="381" y="4527"/>
                  </a:lnTo>
                  <a:lnTo>
                    <a:pt x="519" y="4665"/>
                  </a:lnTo>
                  <a:lnTo>
                    <a:pt x="692" y="4735"/>
                  </a:lnTo>
                  <a:lnTo>
                    <a:pt x="968" y="4769"/>
                  </a:lnTo>
                  <a:lnTo>
                    <a:pt x="1763" y="4804"/>
                  </a:lnTo>
                  <a:lnTo>
                    <a:pt x="2731" y="4838"/>
                  </a:lnTo>
                  <a:lnTo>
                    <a:pt x="3733" y="4838"/>
                  </a:lnTo>
                  <a:lnTo>
                    <a:pt x="3802" y="4769"/>
                  </a:lnTo>
                  <a:lnTo>
                    <a:pt x="3871" y="4700"/>
                  </a:lnTo>
                  <a:lnTo>
                    <a:pt x="3906" y="4596"/>
                  </a:lnTo>
                  <a:lnTo>
                    <a:pt x="3940" y="4458"/>
                  </a:lnTo>
                  <a:lnTo>
                    <a:pt x="3940" y="4285"/>
                  </a:lnTo>
                  <a:lnTo>
                    <a:pt x="3975" y="4285"/>
                  </a:lnTo>
                  <a:lnTo>
                    <a:pt x="4113" y="4251"/>
                  </a:lnTo>
                  <a:lnTo>
                    <a:pt x="4562" y="4285"/>
                  </a:lnTo>
                  <a:lnTo>
                    <a:pt x="6152" y="4493"/>
                  </a:lnTo>
                  <a:lnTo>
                    <a:pt x="8018" y="4700"/>
                  </a:lnTo>
                  <a:lnTo>
                    <a:pt x="8882" y="4804"/>
                  </a:lnTo>
                  <a:lnTo>
                    <a:pt x="9573" y="4838"/>
                  </a:lnTo>
                  <a:lnTo>
                    <a:pt x="10195" y="4838"/>
                  </a:lnTo>
                  <a:lnTo>
                    <a:pt x="10921" y="4735"/>
                  </a:lnTo>
                  <a:lnTo>
                    <a:pt x="11681" y="4562"/>
                  </a:lnTo>
                  <a:lnTo>
                    <a:pt x="12441" y="4354"/>
                  </a:lnTo>
                  <a:lnTo>
                    <a:pt x="12787" y="4216"/>
                  </a:lnTo>
                  <a:lnTo>
                    <a:pt x="13098" y="4078"/>
                  </a:lnTo>
                  <a:lnTo>
                    <a:pt x="13409" y="3905"/>
                  </a:lnTo>
                  <a:lnTo>
                    <a:pt x="13685" y="3732"/>
                  </a:lnTo>
                  <a:lnTo>
                    <a:pt x="13927" y="3525"/>
                  </a:lnTo>
                  <a:lnTo>
                    <a:pt x="14100" y="3318"/>
                  </a:lnTo>
                  <a:lnTo>
                    <a:pt x="14238" y="3110"/>
                  </a:lnTo>
                  <a:lnTo>
                    <a:pt x="14342" y="2868"/>
                  </a:lnTo>
                  <a:lnTo>
                    <a:pt x="14307" y="2627"/>
                  </a:lnTo>
                  <a:lnTo>
                    <a:pt x="14238" y="2385"/>
                  </a:lnTo>
                  <a:lnTo>
                    <a:pt x="14100" y="2177"/>
                  </a:lnTo>
                  <a:lnTo>
                    <a:pt x="13892" y="2005"/>
                  </a:lnTo>
                  <a:lnTo>
                    <a:pt x="13650" y="1797"/>
                  </a:lnTo>
                  <a:lnTo>
                    <a:pt x="13374" y="1659"/>
                  </a:lnTo>
                  <a:lnTo>
                    <a:pt x="13063" y="1486"/>
                  </a:lnTo>
                  <a:lnTo>
                    <a:pt x="12752" y="1383"/>
                  </a:lnTo>
                  <a:lnTo>
                    <a:pt x="12061" y="1141"/>
                  </a:lnTo>
                  <a:lnTo>
                    <a:pt x="11439" y="1002"/>
                  </a:lnTo>
                  <a:lnTo>
                    <a:pt x="10886" y="899"/>
                  </a:lnTo>
                  <a:lnTo>
                    <a:pt x="10506" y="830"/>
                  </a:lnTo>
                  <a:lnTo>
                    <a:pt x="10195" y="830"/>
                  </a:lnTo>
                  <a:lnTo>
                    <a:pt x="9815" y="899"/>
                  </a:lnTo>
                  <a:lnTo>
                    <a:pt x="8951" y="1141"/>
                  </a:lnTo>
                  <a:lnTo>
                    <a:pt x="8432" y="1279"/>
                  </a:lnTo>
                  <a:lnTo>
                    <a:pt x="7845" y="1417"/>
                  </a:lnTo>
                  <a:lnTo>
                    <a:pt x="7223" y="1555"/>
                  </a:lnTo>
                  <a:lnTo>
                    <a:pt x="6497" y="1624"/>
                  </a:lnTo>
                  <a:lnTo>
                    <a:pt x="5841" y="1624"/>
                  </a:lnTo>
                  <a:lnTo>
                    <a:pt x="5288" y="1555"/>
                  </a:lnTo>
                  <a:lnTo>
                    <a:pt x="4804" y="1452"/>
                  </a:lnTo>
                  <a:lnTo>
                    <a:pt x="4389" y="1279"/>
                  </a:lnTo>
                  <a:lnTo>
                    <a:pt x="4044" y="1106"/>
                  </a:lnTo>
                  <a:lnTo>
                    <a:pt x="3767" y="899"/>
                  </a:lnTo>
                  <a:lnTo>
                    <a:pt x="3318" y="553"/>
                  </a:lnTo>
                  <a:lnTo>
                    <a:pt x="3007" y="380"/>
                  </a:lnTo>
                  <a:lnTo>
                    <a:pt x="2489" y="173"/>
                  </a:lnTo>
                  <a:lnTo>
                    <a:pt x="2178" y="104"/>
                  </a:lnTo>
                  <a:lnTo>
                    <a:pt x="1832" y="35"/>
                  </a:lnTo>
                  <a:lnTo>
                    <a:pt x="145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599" name="Google Shape;14245;p81">
              <a:extLst>
                <a:ext uri="{FF2B5EF4-FFF2-40B4-BE49-F238E27FC236}">
                  <a16:creationId xmlns:a16="http://schemas.microsoft.com/office/drawing/2014/main" id="{16B32935-BAD2-065D-85D3-7280F45A53F6}"/>
                </a:ext>
              </a:extLst>
            </p:cNvPr>
            <p:cNvSpPr/>
            <p:nvPr/>
          </p:nvSpPr>
          <p:spPr>
            <a:xfrm>
              <a:off x="1318475" y="4255300"/>
              <a:ext cx="6075" cy="25925"/>
            </a:xfrm>
            <a:custGeom>
              <a:avLst/>
              <a:gdLst/>
              <a:ahLst/>
              <a:cxnLst/>
              <a:rect l="l" t="t" r="r" b="b"/>
              <a:pathLst>
                <a:path w="243" h="1037" extrusionOk="0">
                  <a:moveTo>
                    <a:pt x="242" y="0"/>
                  </a:moveTo>
                  <a:lnTo>
                    <a:pt x="242" y="0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0" name="Google Shape;14246;p81">
              <a:extLst>
                <a:ext uri="{FF2B5EF4-FFF2-40B4-BE49-F238E27FC236}">
                  <a16:creationId xmlns:a16="http://schemas.microsoft.com/office/drawing/2014/main" id="{01F8BCFB-B1B3-0361-8902-17367976494D}"/>
                </a:ext>
              </a:extLst>
            </p:cNvPr>
            <p:cNvSpPr/>
            <p:nvPr/>
          </p:nvSpPr>
          <p:spPr>
            <a:xfrm>
              <a:off x="1318475" y="4255300"/>
              <a:ext cx="6075" cy="25925"/>
            </a:xfrm>
            <a:custGeom>
              <a:avLst/>
              <a:gdLst/>
              <a:ahLst/>
              <a:cxnLst/>
              <a:rect l="l" t="t" r="r" b="b"/>
              <a:pathLst>
                <a:path w="243" h="1037" fill="none" extrusionOk="0">
                  <a:moveTo>
                    <a:pt x="242" y="0"/>
                  </a:moveTo>
                  <a:lnTo>
                    <a:pt x="242" y="0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4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1" name="Google Shape;14247;p81">
              <a:extLst>
                <a:ext uri="{FF2B5EF4-FFF2-40B4-BE49-F238E27FC236}">
                  <a16:creationId xmlns:a16="http://schemas.microsoft.com/office/drawing/2014/main" id="{3D23DB32-7E22-B045-3006-56915F100743}"/>
                </a:ext>
              </a:extLst>
            </p:cNvPr>
            <p:cNvSpPr/>
            <p:nvPr/>
          </p:nvSpPr>
          <p:spPr>
            <a:xfrm>
              <a:off x="1131875" y="4228525"/>
              <a:ext cx="192675" cy="57900"/>
            </a:xfrm>
            <a:custGeom>
              <a:avLst/>
              <a:gdLst/>
              <a:ahLst/>
              <a:cxnLst/>
              <a:rect l="l" t="t" r="r" b="b"/>
              <a:pathLst>
                <a:path w="7707" h="2316" extrusionOk="0">
                  <a:moveTo>
                    <a:pt x="35" y="0"/>
                  </a:moveTo>
                  <a:lnTo>
                    <a:pt x="0" y="1279"/>
                  </a:lnTo>
                  <a:lnTo>
                    <a:pt x="449" y="1417"/>
                  </a:lnTo>
                  <a:lnTo>
                    <a:pt x="899" y="1555"/>
                  </a:lnTo>
                  <a:lnTo>
                    <a:pt x="1382" y="1693"/>
                  </a:lnTo>
                  <a:lnTo>
                    <a:pt x="1901" y="1762"/>
                  </a:lnTo>
                  <a:lnTo>
                    <a:pt x="2903" y="1935"/>
                  </a:lnTo>
                  <a:lnTo>
                    <a:pt x="3940" y="2039"/>
                  </a:lnTo>
                  <a:lnTo>
                    <a:pt x="5875" y="2143"/>
                  </a:lnTo>
                  <a:lnTo>
                    <a:pt x="6704" y="2212"/>
                  </a:lnTo>
                  <a:lnTo>
                    <a:pt x="7430" y="2315"/>
                  </a:lnTo>
                  <a:lnTo>
                    <a:pt x="7464" y="2108"/>
                  </a:lnTo>
                  <a:lnTo>
                    <a:pt x="7706" y="1071"/>
                  </a:lnTo>
                  <a:lnTo>
                    <a:pt x="6808" y="1071"/>
                  </a:lnTo>
                  <a:lnTo>
                    <a:pt x="5875" y="1002"/>
                  </a:lnTo>
                  <a:lnTo>
                    <a:pt x="4873" y="898"/>
                  </a:lnTo>
                  <a:lnTo>
                    <a:pt x="3871" y="760"/>
                  </a:lnTo>
                  <a:lnTo>
                    <a:pt x="2834" y="587"/>
                  </a:lnTo>
                  <a:lnTo>
                    <a:pt x="1866" y="415"/>
                  </a:lnTo>
                  <a:lnTo>
                    <a:pt x="899" y="20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2" name="Google Shape;14248;p81">
              <a:extLst>
                <a:ext uri="{FF2B5EF4-FFF2-40B4-BE49-F238E27FC236}">
                  <a16:creationId xmlns:a16="http://schemas.microsoft.com/office/drawing/2014/main" id="{9C6C59ED-1FFE-83B2-01A8-212916556F2E}"/>
                </a:ext>
              </a:extLst>
            </p:cNvPr>
            <p:cNvSpPr/>
            <p:nvPr/>
          </p:nvSpPr>
          <p:spPr>
            <a:xfrm>
              <a:off x="1131875" y="4228525"/>
              <a:ext cx="192675" cy="57900"/>
            </a:xfrm>
            <a:custGeom>
              <a:avLst/>
              <a:gdLst/>
              <a:ahLst/>
              <a:cxnLst/>
              <a:rect l="l" t="t" r="r" b="b"/>
              <a:pathLst>
                <a:path w="7707" h="2316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1279"/>
                  </a:lnTo>
                  <a:lnTo>
                    <a:pt x="0" y="1279"/>
                  </a:lnTo>
                  <a:lnTo>
                    <a:pt x="449" y="1417"/>
                  </a:lnTo>
                  <a:lnTo>
                    <a:pt x="899" y="1555"/>
                  </a:lnTo>
                  <a:lnTo>
                    <a:pt x="1382" y="1693"/>
                  </a:lnTo>
                  <a:lnTo>
                    <a:pt x="1901" y="1762"/>
                  </a:lnTo>
                  <a:lnTo>
                    <a:pt x="2903" y="1935"/>
                  </a:lnTo>
                  <a:lnTo>
                    <a:pt x="3940" y="2039"/>
                  </a:lnTo>
                  <a:lnTo>
                    <a:pt x="5875" y="2143"/>
                  </a:lnTo>
                  <a:lnTo>
                    <a:pt x="6704" y="2212"/>
                  </a:lnTo>
                  <a:lnTo>
                    <a:pt x="7430" y="2315"/>
                  </a:lnTo>
                  <a:lnTo>
                    <a:pt x="7430" y="2315"/>
                  </a:lnTo>
                  <a:lnTo>
                    <a:pt x="7464" y="2108"/>
                  </a:lnTo>
                  <a:lnTo>
                    <a:pt x="7464" y="2108"/>
                  </a:lnTo>
                  <a:lnTo>
                    <a:pt x="7706" y="1071"/>
                  </a:lnTo>
                  <a:lnTo>
                    <a:pt x="7706" y="1071"/>
                  </a:lnTo>
                  <a:lnTo>
                    <a:pt x="6808" y="1071"/>
                  </a:lnTo>
                  <a:lnTo>
                    <a:pt x="5875" y="1002"/>
                  </a:lnTo>
                  <a:lnTo>
                    <a:pt x="4873" y="898"/>
                  </a:lnTo>
                  <a:lnTo>
                    <a:pt x="3871" y="760"/>
                  </a:lnTo>
                  <a:lnTo>
                    <a:pt x="2834" y="587"/>
                  </a:lnTo>
                  <a:lnTo>
                    <a:pt x="1866" y="415"/>
                  </a:lnTo>
                  <a:lnTo>
                    <a:pt x="899" y="207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3" name="Google Shape;14249;p81">
              <a:extLst>
                <a:ext uri="{FF2B5EF4-FFF2-40B4-BE49-F238E27FC236}">
                  <a16:creationId xmlns:a16="http://schemas.microsoft.com/office/drawing/2014/main" id="{21717D68-C663-B8A9-BAB6-771D6B6F926F}"/>
                </a:ext>
              </a:extLst>
            </p:cNvPr>
            <p:cNvSpPr/>
            <p:nvPr/>
          </p:nvSpPr>
          <p:spPr>
            <a:xfrm>
              <a:off x="1423000" y="4233700"/>
              <a:ext cx="6950" cy="39750"/>
            </a:xfrm>
            <a:custGeom>
              <a:avLst/>
              <a:gdLst/>
              <a:ahLst/>
              <a:cxnLst/>
              <a:rect l="l" t="t" r="r" b="b"/>
              <a:pathLst>
                <a:path w="278" h="1590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77" y="1590"/>
                  </a:lnTo>
                  <a:lnTo>
                    <a:pt x="277" y="159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4" name="Google Shape;14250;p81">
              <a:extLst>
                <a:ext uri="{FF2B5EF4-FFF2-40B4-BE49-F238E27FC236}">
                  <a16:creationId xmlns:a16="http://schemas.microsoft.com/office/drawing/2014/main" id="{0A1DA06B-61F7-CE28-D7E5-E6428303C627}"/>
                </a:ext>
              </a:extLst>
            </p:cNvPr>
            <p:cNvSpPr/>
            <p:nvPr/>
          </p:nvSpPr>
          <p:spPr>
            <a:xfrm>
              <a:off x="1423000" y="4233700"/>
              <a:ext cx="6950" cy="39750"/>
            </a:xfrm>
            <a:custGeom>
              <a:avLst/>
              <a:gdLst/>
              <a:ahLst/>
              <a:cxnLst/>
              <a:rect l="l" t="t" r="r" b="b"/>
              <a:pathLst>
                <a:path w="278" h="1590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77" y="1590"/>
                  </a:lnTo>
                  <a:lnTo>
                    <a:pt x="277" y="159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5" name="Google Shape;14251;p81">
              <a:extLst>
                <a:ext uri="{FF2B5EF4-FFF2-40B4-BE49-F238E27FC236}">
                  <a16:creationId xmlns:a16="http://schemas.microsoft.com/office/drawing/2014/main" id="{76BAA211-712B-3068-1E09-E11E5E5E3704}"/>
                </a:ext>
              </a:extLst>
            </p:cNvPr>
            <p:cNvSpPr/>
            <p:nvPr/>
          </p:nvSpPr>
          <p:spPr>
            <a:xfrm>
              <a:off x="1423000" y="4208650"/>
              <a:ext cx="181450" cy="68275"/>
            </a:xfrm>
            <a:custGeom>
              <a:avLst/>
              <a:gdLst/>
              <a:ahLst/>
              <a:cxnLst/>
              <a:rect l="l" t="t" r="r" b="b"/>
              <a:pathLst>
                <a:path w="7258" h="2731" extrusionOk="0">
                  <a:moveTo>
                    <a:pt x="3595" y="0"/>
                  </a:moveTo>
                  <a:lnTo>
                    <a:pt x="3007" y="69"/>
                  </a:lnTo>
                  <a:lnTo>
                    <a:pt x="2420" y="173"/>
                  </a:lnTo>
                  <a:lnTo>
                    <a:pt x="1901" y="311"/>
                  </a:lnTo>
                  <a:lnTo>
                    <a:pt x="1383" y="449"/>
                  </a:lnTo>
                  <a:lnTo>
                    <a:pt x="899" y="622"/>
                  </a:lnTo>
                  <a:lnTo>
                    <a:pt x="1" y="1002"/>
                  </a:lnTo>
                  <a:lnTo>
                    <a:pt x="277" y="2592"/>
                  </a:lnTo>
                  <a:lnTo>
                    <a:pt x="277" y="2730"/>
                  </a:lnTo>
                  <a:lnTo>
                    <a:pt x="623" y="2592"/>
                  </a:lnTo>
                  <a:lnTo>
                    <a:pt x="1003" y="2488"/>
                  </a:lnTo>
                  <a:lnTo>
                    <a:pt x="1383" y="2385"/>
                  </a:lnTo>
                  <a:lnTo>
                    <a:pt x="1763" y="2315"/>
                  </a:lnTo>
                  <a:lnTo>
                    <a:pt x="2558" y="2246"/>
                  </a:lnTo>
                  <a:lnTo>
                    <a:pt x="3387" y="2212"/>
                  </a:lnTo>
                  <a:lnTo>
                    <a:pt x="4389" y="2246"/>
                  </a:lnTo>
                  <a:lnTo>
                    <a:pt x="5392" y="2350"/>
                  </a:lnTo>
                  <a:lnTo>
                    <a:pt x="6359" y="2454"/>
                  </a:lnTo>
                  <a:lnTo>
                    <a:pt x="7258" y="2592"/>
                  </a:lnTo>
                  <a:lnTo>
                    <a:pt x="7119" y="449"/>
                  </a:lnTo>
                  <a:lnTo>
                    <a:pt x="6325" y="242"/>
                  </a:lnTo>
                  <a:lnTo>
                    <a:pt x="5564" y="104"/>
                  </a:lnTo>
                  <a:lnTo>
                    <a:pt x="4873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6" name="Google Shape;14252;p81">
              <a:extLst>
                <a:ext uri="{FF2B5EF4-FFF2-40B4-BE49-F238E27FC236}">
                  <a16:creationId xmlns:a16="http://schemas.microsoft.com/office/drawing/2014/main" id="{7B9319FF-D3DC-551E-2062-E90B195418E9}"/>
                </a:ext>
              </a:extLst>
            </p:cNvPr>
            <p:cNvSpPr/>
            <p:nvPr/>
          </p:nvSpPr>
          <p:spPr>
            <a:xfrm>
              <a:off x="1423000" y="4208650"/>
              <a:ext cx="181450" cy="68275"/>
            </a:xfrm>
            <a:custGeom>
              <a:avLst/>
              <a:gdLst/>
              <a:ahLst/>
              <a:cxnLst/>
              <a:rect l="l" t="t" r="r" b="b"/>
              <a:pathLst>
                <a:path w="7258" h="2731" fill="none" extrusionOk="0">
                  <a:moveTo>
                    <a:pt x="4217" y="0"/>
                  </a:moveTo>
                  <a:lnTo>
                    <a:pt x="4217" y="0"/>
                  </a:lnTo>
                  <a:lnTo>
                    <a:pt x="3595" y="0"/>
                  </a:lnTo>
                  <a:lnTo>
                    <a:pt x="3007" y="69"/>
                  </a:lnTo>
                  <a:lnTo>
                    <a:pt x="2420" y="173"/>
                  </a:lnTo>
                  <a:lnTo>
                    <a:pt x="1901" y="311"/>
                  </a:lnTo>
                  <a:lnTo>
                    <a:pt x="1383" y="449"/>
                  </a:lnTo>
                  <a:lnTo>
                    <a:pt x="899" y="622"/>
                  </a:lnTo>
                  <a:lnTo>
                    <a:pt x="1" y="1002"/>
                  </a:lnTo>
                  <a:lnTo>
                    <a:pt x="1" y="1002"/>
                  </a:lnTo>
                  <a:lnTo>
                    <a:pt x="277" y="2592"/>
                  </a:lnTo>
                  <a:lnTo>
                    <a:pt x="277" y="2592"/>
                  </a:lnTo>
                  <a:lnTo>
                    <a:pt x="277" y="2730"/>
                  </a:lnTo>
                  <a:lnTo>
                    <a:pt x="277" y="2730"/>
                  </a:lnTo>
                  <a:lnTo>
                    <a:pt x="623" y="2592"/>
                  </a:lnTo>
                  <a:lnTo>
                    <a:pt x="1003" y="2488"/>
                  </a:lnTo>
                  <a:lnTo>
                    <a:pt x="1383" y="2385"/>
                  </a:lnTo>
                  <a:lnTo>
                    <a:pt x="1763" y="2315"/>
                  </a:lnTo>
                  <a:lnTo>
                    <a:pt x="2558" y="2246"/>
                  </a:lnTo>
                  <a:lnTo>
                    <a:pt x="3387" y="2212"/>
                  </a:lnTo>
                  <a:lnTo>
                    <a:pt x="3387" y="2212"/>
                  </a:lnTo>
                  <a:lnTo>
                    <a:pt x="4389" y="2246"/>
                  </a:lnTo>
                  <a:lnTo>
                    <a:pt x="5392" y="2350"/>
                  </a:lnTo>
                  <a:lnTo>
                    <a:pt x="6359" y="2454"/>
                  </a:lnTo>
                  <a:lnTo>
                    <a:pt x="7258" y="2592"/>
                  </a:lnTo>
                  <a:lnTo>
                    <a:pt x="7258" y="2592"/>
                  </a:lnTo>
                  <a:lnTo>
                    <a:pt x="7119" y="449"/>
                  </a:lnTo>
                  <a:lnTo>
                    <a:pt x="7119" y="449"/>
                  </a:lnTo>
                  <a:lnTo>
                    <a:pt x="6325" y="242"/>
                  </a:lnTo>
                  <a:lnTo>
                    <a:pt x="5564" y="104"/>
                  </a:lnTo>
                  <a:lnTo>
                    <a:pt x="4873" y="0"/>
                  </a:lnTo>
                  <a:lnTo>
                    <a:pt x="421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7" name="Google Shape;14253;p81">
              <a:extLst>
                <a:ext uri="{FF2B5EF4-FFF2-40B4-BE49-F238E27FC236}">
                  <a16:creationId xmlns:a16="http://schemas.microsoft.com/office/drawing/2014/main" id="{6B258B6B-D240-9A35-B9E0-8C8EEF0D5FC4}"/>
                </a:ext>
              </a:extLst>
            </p:cNvPr>
            <p:cNvSpPr/>
            <p:nvPr/>
          </p:nvSpPr>
          <p:spPr>
            <a:xfrm>
              <a:off x="785450" y="3182325"/>
              <a:ext cx="901925" cy="1073000"/>
            </a:xfrm>
            <a:custGeom>
              <a:avLst/>
              <a:gdLst/>
              <a:ahLst/>
              <a:cxnLst/>
              <a:rect l="l" t="t" r="r" b="b"/>
              <a:pathLst>
                <a:path w="36077" h="42920" extrusionOk="0">
                  <a:moveTo>
                    <a:pt x="20872" y="0"/>
                  </a:moveTo>
                  <a:lnTo>
                    <a:pt x="20250" y="35"/>
                  </a:lnTo>
                  <a:lnTo>
                    <a:pt x="19663" y="104"/>
                  </a:lnTo>
                  <a:lnTo>
                    <a:pt x="19041" y="173"/>
                  </a:lnTo>
                  <a:lnTo>
                    <a:pt x="18453" y="311"/>
                  </a:lnTo>
                  <a:lnTo>
                    <a:pt x="17831" y="484"/>
                  </a:lnTo>
                  <a:lnTo>
                    <a:pt x="17244" y="691"/>
                  </a:lnTo>
                  <a:lnTo>
                    <a:pt x="16622" y="933"/>
                  </a:lnTo>
                  <a:lnTo>
                    <a:pt x="16034" y="1210"/>
                  </a:lnTo>
                  <a:lnTo>
                    <a:pt x="15239" y="1659"/>
                  </a:lnTo>
                  <a:lnTo>
                    <a:pt x="14445" y="2212"/>
                  </a:lnTo>
                  <a:lnTo>
                    <a:pt x="14065" y="2488"/>
                  </a:lnTo>
                  <a:lnTo>
                    <a:pt x="13684" y="2834"/>
                  </a:lnTo>
                  <a:lnTo>
                    <a:pt x="13304" y="3179"/>
                  </a:lnTo>
                  <a:lnTo>
                    <a:pt x="12924" y="3560"/>
                  </a:lnTo>
                  <a:lnTo>
                    <a:pt x="12890" y="3629"/>
                  </a:lnTo>
                  <a:lnTo>
                    <a:pt x="12302" y="4596"/>
                  </a:lnTo>
                  <a:lnTo>
                    <a:pt x="11784" y="5598"/>
                  </a:lnTo>
                  <a:lnTo>
                    <a:pt x="11335" y="6600"/>
                  </a:lnTo>
                  <a:lnTo>
                    <a:pt x="10920" y="7568"/>
                  </a:lnTo>
                  <a:lnTo>
                    <a:pt x="10574" y="8570"/>
                  </a:lnTo>
                  <a:lnTo>
                    <a:pt x="10263" y="9607"/>
                  </a:lnTo>
                  <a:lnTo>
                    <a:pt x="9987" y="10609"/>
                  </a:lnTo>
                  <a:lnTo>
                    <a:pt x="9710" y="11611"/>
                  </a:lnTo>
                  <a:lnTo>
                    <a:pt x="9503" y="12648"/>
                  </a:lnTo>
                  <a:lnTo>
                    <a:pt x="9330" y="13685"/>
                  </a:lnTo>
                  <a:lnTo>
                    <a:pt x="8950" y="15758"/>
                  </a:lnTo>
                  <a:lnTo>
                    <a:pt x="8639" y="17900"/>
                  </a:lnTo>
                  <a:lnTo>
                    <a:pt x="8294" y="20043"/>
                  </a:lnTo>
                  <a:lnTo>
                    <a:pt x="7914" y="22220"/>
                  </a:lnTo>
                  <a:lnTo>
                    <a:pt x="7672" y="23360"/>
                  </a:lnTo>
                  <a:lnTo>
                    <a:pt x="7430" y="24466"/>
                  </a:lnTo>
                  <a:lnTo>
                    <a:pt x="7119" y="25607"/>
                  </a:lnTo>
                  <a:lnTo>
                    <a:pt x="6773" y="26747"/>
                  </a:lnTo>
                  <a:lnTo>
                    <a:pt x="6393" y="27922"/>
                  </a:lnTo>
                  <a:lnTo>
                    <a:pt x="5944" y="29097"/>
                  </a:lnTo>
                  <a:lnTo>
                    <a:pt x="5460" y="30272"/>
                  </a:lnTo>
                  <a:lnTo>
                    <a:pt x="4907" y="31481"/>
                  </a:lnTo>
                  <a:lnTo>
                    <a:pt x="4285" y="32691"/>
                  </a:lnTo>
                  <a:lnTo>
                    <a:pt x="3594" y="33935"/>
                  </a:lnTo>
                  <a:lnTo>
                    <a:pt x="2834" y="35179"/>
                  </a:lnTo>
                  <a:lnTo>
                    <a:pt x="1970" y="36423"/>
                  </a:lnTo>
                  <a:lnTo>
                    <a:pt x="1037" y="37701"/>
                  </a:lnTo>
                  <a:lnTo>
                    <a:pt x="0" y="39014"/>
                  </a:lnTo>
                  <a:lnTo>
                    <a:pt x="242" y="39256"/>
                  </a:lnTo>
                  <a:lnTo>
                    <a:pt x="518" y="39498"/>
                  </a:lnTo>
                  <a:lnTo>
                    <a:pt x="864" y="39706"/>
                  </a:lnTo>
                  <a:lnTo>
                    <a:pt x="1175" y="39878"/>
                  </a:lnTo>
                  <a:lnTo>
                    <a:pt x="1555" y="40017"/>
                  </a:lnTo>
                  <a:lnTo>
                    <a:pt x="1935" y="40155"/>
                  </a:lnTo>
                  <a:lnTo>
                    <a:pt x="2350" y="40224"/>
                  </a:lnTo>
                  <a:lnTo>
                    <a:pt x="2799" y="40328"/>
                  </a:lnTo>
                  <a:lnTo>
                    <a:pt x="3698" y="40431"/>
                  </a:lnTo>
                  <a:lnTo>
                    <a:pt x="4631" y="40466"/>
                  </a:lnTo>
                  <a:lnTo>
                    <a:pt x="8639" y="40466"/>
                  </a:lnTo>
                  <a:lnTo>
                    <a:pt x="9261" y="40500"/>
                  </a:lnTo>
                  <a:lnTo>
                    <a:pt x="9849" y="40569"/>
                  </a:lnTo>
                  <a:lnTo>
                    <a:pt x="10367" y="40673"/>
                  </a:lnTo>
                  <a:lnTo>
                    <a:pt x="10851" y="40811"/>
                  </a:lnTo>
                  <a:lnTo>
                    <a:pt x="11300" y="40984"/>
                  </a:lnTo>
                  <a:lnTo>
                    <a:pt x="11646" y="41157"/>
                  </a:lnTo>
                  <a:lnTo>
                    <a:pt x="12095" y="41330"/>
                  </a:lnTo>
                  <a:lnTo>
                    <a:pt x="12613" y="41502"/>
                  </a:lnTo>
                  <a:lnTo>
                    <a:pt x="13235" y="41675"/>
                  </a:lnTo>
                  <a:lnTo>
                    <a:pt x="14479" y="41986"/>
                  </a:lnTo>
                  <a:lnTo>
                    <a:pt x="15861" y="42297"/>
                  </a:lnTo>
                  <a:lnTo>
                    <a:pt x="17313" y="42539"/>
                  </a:lnTo>
                  <a:lnTo>
                    <a:pt x="18764" y="42746"/>
                  </a:lnTo>
                  <a:lnTo>
                    <a:pt x="20216" y="42885"/>
                  </a:lnTo>
                  <a:lnTo>
                    <a:pt x="20872" y="42919"/>
                  </a:lnTo>
                  <a:lnTo>
                    <a:pt x="22151" y="42919"/>
                  </a:lnTo>
                  <a:lnTo>
                    <a:pt x="22704" y="42885"/>
                  </a:lnTo>
                  <a:lnTo>
                    <a:pt x="23187" y="42850"/>
                  </a:lnTo>
                  <a:lnTo>
                    <a:pt x="23637" y="42746"/>
                  </a:lnTo>
                  <a:lnTo>
                    <a:pt x="24155" y="42574"/>
                  </a:lnTo>
                  <a:lnTo>
                    <a:pt x="24673" y="42401"/>
                  </a:lnTo>
                  <a:lnTo>
                    <a:pt x="25745" y="41952"/>
                  </a:lnTo>
                  <a:lnTo>
                    <a:pt x="26332" y="41710"/>
                  </a:lnTo>
                  <a:lnTo>
                    <a:pt x="26920" y="41502"/>
                  </a:lnTo>
                  <a:lnTo>
                    <a:pt x="27542" y="41330"/>
                  </a:lnTo>
                  <a:lnTo>
                    <a:pt x="28233" y="41157"/>
                  </a:lnTo>
                  <a:lnTo>
                    <a:pt x="28924" y="41088"/>
                  </a:lnTo>
                  <a:lnTo>
                    <a:pt x="29684" y="41053"/>
                  </a:lnTo>
                  <a:lnTo>
                    <a:pt x="30513" y="41088"/>
                  </a:lnTo>
                  <a:lnTo>
                    <a:pt x="30963" y="41122"/>
                  </a:lnTo>
                  <a:lnTo>
                    <a:pt x="31412" y="41191"/>
                  </a:lnTo>
                  <a:lnTo>
                    <a:pt x="31861" y="41295"/>
                  </a:lnTo>
                  <a:lnTo>
                    <a:pt x="32345" y="41433"/>
                  </a:lnTo>
                  <a:lnTo>
                    <a:pt x="32863" y="41572"/>
                  </a:lnTo>
                  <a:lnTo>
                    <a:pt x="33382" y="41779"/>
                  </a:lnTo>
                  <a:lnTo>
                    <a:pt x="33934" y="41986"/>
                  </a:lnTo>
                  <a:lnTo>
                    <a:pt x="34487" y="42228"/>
                  </a:lnTo>
                  <a:lnTo>
                    <a:pt x="35075" y="42505"/>
                  </a:lnTo>
                  <a:lnTo>
                    <a:pt x="35697" y="42816"/>
                  </a:lnTo>
                  <a:lnTo>
                    <a:pt x="35835" y="42194"/>
                  </a:lnTo>
                  <a:lnTo>
                    <a:pt x="35939" y="41468"/>
                  </a:lnTo>
                  <a:lnTo>
                    <a:pt x="36008" y="40639"/>
                  </a:lnTo>
                  <a:lnTo>
                    <a:pt x="36042" y="39671"/>
                  </a:lnTo>
                  <a:lnTo>
                    <a:pt x="36077" y="38634"/>
                  </a:lnTo>
                  <a:lnTo>
                    <a:pt x="36042" y="37528"/>
                  </a:lnTo>
                  <a:lnTo>
                    <a:pt x="36008" y="36319"/>
                  </a:lnTo>
                  <a:lnTo>
                    <a:pt x="35939" y="35075"/>
                  </a:lnTo>
                  <a:lnTo>
                    <a:pt x="35766" y="32380"/>
                  </a:lnTo>
                  <a:lnTo>
                    <a:pt x="35455" y="29477"/>
                  </a:lnTo>
                  <a:lnTo>
                    <a:pt x="35109" y="26470"/>
                  </a:lnTo>
                  <a:lnTo>
                    <a:pt x="34695" y="23360"/>
                  </a:lnTo>
                  <a:lnTo>
                    <a:pt x="34211" y="20250"/>
                  </a:lnTo>
                  <a:lnTo>
                    <a:pt x="33693" y="17209"/>
                  </a:lnTo>
                  <a:lnTo>
                    <a:pt x="33140" y="14272"/>
                  </a:lnTo>
                  <a:lnTo>
                    <a:pt x="32552" y="11507"/>
                  </a:lnTo>
                  <a:lnTo>
                    <a:pt x="31965" y="8950"/>
                  </a:lnTo>
                  <a:lnTo>
                    <a:pt x="31377" y="6670"/>
                  </a:lnTo>
                  <a:lnTo>
                    <a:pt x="31101" y="5667"/>
                  </a:lnTo>
                  <a:lnTo>
                    <a:pt x="30790" y="4734"/>
                  </a:lnTo>
                  <a:lnTo>
                    <a:pt x="30513" y="3905"/>
                  </a:lnTo>
                  <a:lnTo>
                    <a:pt x="30237" y="3214"/>
                  </a:lnTo>
                  <a:lnTo>
                    <a:pt x="29995" y="2696"/>
                  </a:lnTo>
                  <a:lnTo>
                    <a:pt x="29753" y="2246"/>
                  </a:lnTo>
                  <a:lnTo>
                    <a:pt x="29442" y="2074"/>
                  </a:lnTo>
                  <a:lnTo>
                    <a:pt x="28509" y="1624"/>
                  </a:lnTo>
                  <a:lnTo>
                    <a:pt x="27853" y="1348"/>
                  </a:lnTo>
                  <a:lnTo>
                    <a:pt x="27092" y="1071"/>
                  </a:lnTo>
                  <a:lnTo>
                    <a:pt x="26228" y="760"/>
                  </a:lnTo>
                  <a:lnTo>
                    <a:pt x="25295" y="519"/>
                  </a:lnTo>
                  <a:lnTo>
                    <a:pt x="24259" y="277"/>
                  </a:lnTo>
                  <a:lnTo>
                    <a:pt x="23187" y="104"/>
                  </a:lnTo>
                  <a:lnTo>
                    <a:pt x="22600" y="35"/>
                  </a:lnTo>
                  <a:lnTo>
                    <a:pt x="22047" y="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8" name="Google Shape;14254;p81">
              <a:extLst>
                <a:ext uri="{FF2B5EF4-FFF2-40B4-BE49-F238E27FC236}">
                  <a16:creationId xmlns:a16="http://schemas.microsoft.com/office/drawing/2014/main" id="{91A53C7B-20B0-0552-8036-FA7A1CCEA284}"/>
                </a:ext>
              </a:extLst>
            </p:cNvPr>
            <p:cNvSpPr/>
            <p:nvPr/>
          </p:nvSpPr>
          <p:spPr>
            <a:xfrm>
              <a:off x="785450" y="3182325"/>
              <a:ext cx="901925" cy="1073000"/>
            </a:xfrm>
            <a:custGeom>
              <a:avLst/>
              <a:gdLst/>
              <a:ahLst/>
              <a:cxnLst/>
              <a:rect l="l" t="t" r="r" b="b"/>
              <a:pathLst>
                <a:path w="36077" h="42920" fill="none" extrusionOk="0">
                  <a:moveTo>
                    <a:pt x="0" y="39014"/>
                  </a:moveTo>
                  <a:lnTo>
                    <a:pt x="0" y="39014"/>
                  </a:lnTo>
                  <a:lnTo>
                    <a:pt x="242" y="39256"/>
                  </a:lnTo>
                  <a:lnTo>
                    <a:pt x="518" y="39498"/>
                  </a:lnTo>
                  <a:lnTo>
                    <a:pt x="864" y="39706"/>
                  </a:lnTo>
                  <a:lnTo>
                    <a:pt x="1175" y="39878"/>
                  </a:lnTo>
                  <a:lnTo>
                    <a:pt x="1555" y="40017"/>
                  </a:lnTo>
                  <a:lnTo>
                    <a:pt x="1935" y="40155"/>
                  </a:lnTo>
                  <a:lnTo>
                    <a:pt x="2350" y="40224"/>
                  </a:lnTo>
                  <a:lnTo>
                    <a:pt x="2799" y="40328"/>
                  </a:lnTo>
                  <a:lnTo>
                    <a:pt x="3698" y="40431"/>
                  </a:lnTo>
                  <a:lnTo>
                    <a:pt x="4631" y="40466"/>
                  </a:lnTo>
                  <a:lnTo>
                    <a:pt x="5633" y="40466"/>
                  </a:lnTo>
                  <a:lnTo>
                    <a:pt x="6600" y="40466"/>
                  </a:lnTo>
                  <a:lnTo>
                    <a:pt x="6600" y="40466"/>
                  </a:lnTo>
                  <a:lnTo>
                    <a:pt x="7983" y="40466"/>
                  </a:lnTo>
                  <a:lnTo>
                    <a:pt x="8639" y="40466"/>
                  </a:lnTo>
                  <a:lnTo>
                    <a:pt x="9261" y="40500"/>
                  </a:lnTo>
                  <a:lnTo>
                    <a:pt x="9849" y="40569"/>
                  </a:lnTo>
                  <a:lnTo>
                    <a:pt x="10367" y="40673"/>
                  </a:lnTo>
                  <a:lnTo>
                    <a:pt x="10851" y="40811"/>
                  </a:lnTo>
                  <a:lnTo>
                    <a:pt x="11300" y="40984"/>
                  </a:lnTo>
                  <a:lnTo>
                    <a:pt x="11300" y="40984"/>
                  </a:lnTo>
                  <a:lnTo>
                    <a:pt x="11646" y="41157"/>
                  </a:lnTo>
                  <a:lnTo>
                    <a:pt x="12095" y="41330"/>
                  </a:lnTo>
                  <a:lnTo>
                    <a:pt x="12613" y="41502"/>
                  </a:lnTo>
                  <a:lnTo>
                    <a:pt x="13235" y="41675"/>
                  </a:lnTo>
                  <a:lnTo>
                    <a:pt x="13235" y="41675"/>
                  </a:lnTo>
                  <a:lnTo>
                    <a:pt x="14479" y="41986"/>
                  </a:lnTo>
                  <a:lnTo>
                    <a:pt x="15861" y="42297"/>
                  </a:lnTo>
                  <a:lnTo>
                    <a:pt x="17313" y="42539"/>
                  </a:lnTo>
                  <a:lnTo>
                    <a:pt x="18764" y="42746"/>
                  </a:lnTo>
                  <a:lnTo>
                    <a:pt x="20216" y="42885"/>
                  </a:lnTo>
                  <a:lnTo>
                    <a:pt x="20872" y="42919"/>
                  </a:lnTo>
                  <a:lnTo>
                    <a:pt x="21529" y="42919"/>
                  </a:lnTo>
                  <a:lnTo>
                    <a:pt x="22151" y="42919"/>
                  </a:lnTo>
                  <a:lnTo>
                    <a:pt x="22704" y="42885"/>
                  </a:lnTo>
                  <a:lnTo>
                    <a:pt x="23187" y="42850"/>
                  </a:lnTo>
                  <a:lnTo>
                    <a:pt x="23637" y="42746"/>
                  </a:lnTo>
                  <a:lnTo>
                    <a:pt x="23637" y="42746"/>
                  </a:lnTo>
                  <a:lnTo>
                    <a:pt x="24155" y="42574"/>
                  </a:lnTo>
                  <a:lnTo>
                    <a:pt x="24673" y="42401"/>
                  </a:lnTo>
                  <a:lnTo>
                    <a:pt x="25745" y="41952"/>
                  </a:lnTo>
                  <a:lnTo>
                    <a:pt x="26332" y="41710"/>
                  </a:lnTo>
                  <a:lnTo>
                    <a:pt x="26920" y="41502"/>
                  </a:lnTo>
                  <a:lnTo>
                    <a:pt x="27542" y="41330"/>
                  </a:lnTo>
                  <a:lnTo>
                    <a:pt x="28233" y="41157"/>
                  </a:lnTo>
                  <a:lnTo>
                    <a:pt x="28924" y="41088"/>
                  </a:lnTo>
                  <a:lnTo>
                    <a:pt x="29684" y="41053"/>
                  </a:lnTo>
                  <a:lnTo>
                    <a:pt x="30513" y="41088"/>
                  </a:lnTo>
                  <a:lnTo>
                    <a:pt x="30963" y="41122"/>
                  </a:lnTo>
                  <a:lnTo>
                    <a:pt x="31412" y="41191"/>
                  </a:lnTo>
                  <a:lnTo>
                    <a:pt x="31861" y="41295"/>
                  </a:lnTo>
                  <a:lnTo>
                    <a:pt x="32345" y="41433"/>
                  </a:lnTo>
                  <a:lnTo>
                    <a:pt x="32863" y="41572"/>
                  </a:lnTo>
                  <a:lnTo>
                    <a:pt x="33382" y="41779"/>
                  </a:lnTo>
                  <a:lnTo>
                    <a:pt x="33934" y="41986"/>
                  </a:lnTo>
                  <a:lnTo>
                    <a:pt x="34487" y="42228"/>
                  </a:lnTo>
                  <a:lnTo>
                    <a:pt x="35075" y="42505"/>
                  </a:lnTo>
                  <a:lnTo>
                    <a:pt x="35697" y="42816"/>
                  </a:lnTo>
                  <a:lnTo>
                    <a:pt x="35697" y="42816"/>
                  </a:lnTo>
                  <a:lnTo>
                    <a:pt x="35835" y="42194"/>
                  </a:lnTo>
                  <a:lnTo>
                    <a:pt x="35939" y="41468"/>
                  </a:lnTo>
                  <a:lnTo>
                    <a:pt x="36008" y="40639"/>
                  </a:lnTo>
                  <a:lnTo>
                    <a:pt x="36042" y="39671"/>
                  </a:lnTo>
                  <a:lnTo>
                    <a:pt x="36077" y="38634"/>
                  </a:lnTo>
                  <a:lnTo>
                    <a:pt x="36042" y="37528"/>
                  </a:lnTo>
                  <a:lnTo>
                    <a:pt x="36008" y="36319"/>
                  </a:lnTo>
                  <a:lnTo>
                    <a:pt x="35939" y="35075"/>
                  </a:lnTo>
                  <a:lnTo>
                    <a:pt x="35766" y="32380"/>
                  </a:lnTo>
                  <a:lnTo>
                    <a:pt x="35455" y="29477"/>
                  </a:lnTo>
                  <a:lnTo>
                    <a:pt x="35109" y="26470"/>
                  </a:lnTo>
                  <a:lnTo>
                    <a:pt x="34695" y="23360"/>
                  </a:lnTo>
                  <a:lnTo>
                    <a:pt x="34211" y="20250"/>
                  </a:lnTo>
                  <a:lnTo>
                    <a:pt x="33693" y="17209"/>
                  </a:lnTo>
                  <a:lnTo>
                    <a:pt x="33140" y="14272"/>
                  </a:lnTo>
                  <a:lnTo>
                    <a:pt x="32552" y="11507"/>
                  </a:lnTo>
                  <a:lnTo>
                    <a:pt x="31965" y="8950"/>
                  </a:lnTo>
                  <a:lnTo>
                    <a:pt x="31377" y="6670"/>
                  </a:lnTo>
                  <a:lnTo>
                    <a:pt x="31101" y="5667"/>
                  </a:lnTo>
                  <a:lnTo>
                    <a:pt x="30790" y="4734"/>
                  </a:lnTo>
                  <a:lnTo>
                    <a:pt x="30513" y="3905"/>
                  </a:lnTo>
                  <a:lnTo>
                    <a:pt x="30237" y="3214"/>
                  </a:lnTo>
                  <a:lnTo>
                    <a:pt x="30237" y="3214"/>
                  </a:lnTo>
                  <a:lnTo>
                    <a:pt x="30237" y="3214"/>
                  </a:lnTo>
                  <a:lnTo>
                    <a:pt x="29995" y="2696"/>
                  </a:lnTo>
                  <a:lnTo>
                    <a:pt x="29753" y="2246"/>
                  </a:lnTo>
                  <a:lnTo>
                    <a:pt x="29753" y="2246"/>
                  </a:lnTo>
                  <a:lnTo>
                    <a:pt x="29442" y="2074"/>
                  </a:lnTo>
                  <a:lnTo>
                    <a:pt x="28509" y="1624"/>
                  </a:lnTo>
                  <a:lnTo>
                    <a:pt x="27853" y="1348"/>
                  </a:lnTo>
                  <a:lnTo>
                    <a:pt x="27092" y="1071"/>
                  </a:lnTo>
                  <a:lnTo>
                    <a:pt x="26228" y="760"/>
                  </a:lnTo>
                  <a:lnTo>
                    <a:pt x="25295" y="519"/>
                  </a:lnTo>
                  <a:lnTo>
                    <a:pt x="24259" y="277"/>
                  </a:lnTo>
                  <a:lnTo>
                    <a:pt x="23187" y="104"/>
                  </a:lnTo>
                  <a:lnTo>
                    <a:pt x="22600" y="35"/>
                  </a:lnTo>
                  <a:lnTo>
                    <a:pt x="22047" y="0"/>
                  </a:lnTo>
                  <a:lnTo>
                    <a:pt x="21460" y="0"/>
                  </a:lnTo>
                  <a:lnTo>
                    <a:pt x="20872" y="0"/>
                  </a:lnTo>
                  <a:lnTo>
                    <a:pt x="20250" y="35"/>
                  </a:lnTo>
                  <a:lnTo>
                    <a:pt x="19663" y="104"/>
                  </a:lnTo>
                  <a:lnTo>
                    <a:pt x="19041" y="173"/>
                  </a:lnTo>
                  <a:lnTo>
                    <a:pt x="18453" y="311"/>
                  </a:lnTo>
                  <a:lnTo>
                    <a:pt x="17831" y="484"/>
                  </a:lnTo>
                  <a:lnTo>
                    <a:pt x="17244" y="691"/>
                  </a:lnTo>
                  <a:lnTo>
                    <a:pt x="16622" y="933"/>
                  </a:lnTo>
                  <a:lnTo>
                    <a:pt x="16034" y="1210"/>
                  </a:lnTo>
                  <a:lnTo>
                    <a:pt x="16034" y="1210"/>
                  </a:lnTo>
                  <a:lnTo>
                    <a:pt x="15239" y="1659"/>
                  </a:lnTo>
                  <a:lnTo>
                    <a:pt x="14445" y="2212"/>
                  </a:lnTo>
                  <a:lnTo>
                    <a:pt x="14065" y="2488"/>
                  </a:lnTo>
                  <a:lnTo>
                    <a:pt x="13684" y="2834"/>
                  </a:lnTo>
                  <a:lnTo>
                    <a:pt x="13304" y="3179"/>
                  </a:lnTo>
                  <a:lnTo>
                    <a:pt x="12924" y="3560"/>
                  </a:lnTo>
                  <a:lnTo>
                    <a:pt x="12924" y="3560"/>
                  </a:lnTo>
                  <a:lnTo>
                    <a:pt x="12890" y="3629"/>
                  </a:lnTo>
                  <a:lnTo>
                    <a:pt x="12890" y="3629"/>
                  </a:lnTo>
                  <a:lnTo>
                    <a:pt x="12302" y="4596"/>
                  </a:lnTo>
                  <a:lnTo>
                    <a:pt x="11784" y="5598"/>
                  </a:lnTo>
                  <a:lnTo>
                    <a:pt x="11335" y="6600"/>
                  </a:lnTo>
                  <a:lnTo>
                    <a:pt x="10920" y="7568"/>
                  </a:lnTo>
                  <a:lnTo>
                    <a:pt x="10574" y="8570"/>
                  </a:lnTo>
                  <a:lnTo>
                    <a:pt x="10263" y="9607"/>
                  </a:lnTo>
                  <a:lnTo>
                    <a:pt x="9987" y="10609"/>
                  </a:lnTo>
                  <a:lnTo>
                    <a:pt x="9710" y="11611"/>
                  </a:lnTo>
                  <a:lnTo>
                    <a:pt x="9503" y="12648"/>
                  </a:lnTo>
                  <a:lnTo>
                    <a:pt x="9330" y="13685"/>
                  </a:lnTo>
                  <a:lnTo>
                    <a:pt x="8950" y="15758"/>
                  </a:lnTo>
                  <a:lnTo>
                    <a:pt x="8639" y="17900"/>
                  </a:lnTo>
                  <a:lnTo>
                    <a:pt x="8294" y="20043"/>
                  </a:lnTo>
                  <a:lnTo>
                    <a:pt x="7914" y="22220"/>
                  </a:lnTo>
                  <a:lnTo>
                    <a:pt x="7672" y="23360"/>
                  </a:lnTo>
                  <a:lnTo>
                    <a:pt x="7430" y="24466"/>
                  </a:lnTo>
                  <a:lnTo>
                    <a:pt x="7119" y="25607"/>
                  </a:lnTo>
                  <a:lnTo>
                    <a:pt x="6773" y="26747"/>
                  </a:lnTo>
                  <a:lnTo>
                    <a:pt x="6393" y="27922"/>
                  </a:lnTo>
                  <a:lnTo>
                    <a:pt x="5944" y="29097"/>
                  </a:lnTo>
                  <a:lnTo>
                    <a:pt x="5460" y="30272"/>
                  </a:lnTo>
                  <a:lnTo>
                    <a:pt x="4907" y="31481"/>
                  </a:lnTo>
                  <a:lnTo>
                    <a:pt x="4285" y="32691"/>
                  </a:lnTo>
                  <a:lnTo>
                    <a:pt x="3594" y="33935"/>
                  </a:lnTo>
                  <a:lnTo>
                    <a:pt x="2834" y="35179"/>
                  </a:lnTo>
                  <a:lnTo>
                    <a:pt x="1970" y="36423"/>
                  </a:lnTo>
                  <a:lnTo>
                    <a:pt x="1037" y="37701"/>
                  </a:lnTo>
                  <a:lnTo>
                    <a:pt x="0" y="390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09" name="Google Shape;14255;p81">
              <a:extLst>
                <a:ext uri="{FF2B5EF4-FFF2-40B4-BE49-F238E27FC236}">
                  <a16:creationId xmlns:a16="http://schemas.microsoft.com/office/drawing/2014/main" id="{C04EFB8A-79DF-1A38-C657-E9AEF8F530B4}"/>
                </a:ext>
              </a:extLst>
            </p:cNvPr>
            <p:cNvSpPr/>
            <p:nvPr/>
          </p:nvSpPr>
          <p:spPr>
            <a:xfrm>
              <a:off x="1082625" y="2352100"/>
              <a:ext cx="861350" cy="951200"/>
            </a:xfrm>
            <a:custGeom>
              <a:avLst/>
              <a:gdLst/>
              <a:ahLst/>
              <a:cxnLst/>
              <a:rect l="l" t="t" r="r" b="b"/>
              <a:pathLst>
                <a:path w="34454" h="38048" extrusionOk="0">
                  <a:moveTo>
                    <a:pt x="31620" y="1"/>
                  </a:moveTo>
                  <a:lnTo>
                    <a:pt x="31412" y="35"/>
                  </a:lnTo>
                  <a:lnTo>
                    <a:pt x="31309" y="35"/>
                  </a:lnTo>
                  <a:lnTo>
                    <a:pt x="31205" y="104"/>
                  </a:lnTo>
                  <a:lnTo>
                    <a:pt x="31136" y="173"/>
                  </a:lnTo>
                  <a:lnTo>
                    <a:pt x="31101" y="242"/>
                  </a:lnTo>
                  <a:lnTo>
                    <a:pt x="30721" y="934"/>
                  </a:lnTo>
                  <a:lnTo>
                    <a:pt x="29961" y="2247"/>
                  </a:lnTo>
                  <a:lnTo>
                    <a:pt x="28959" y="3940"/>
                  </a:lnTo>
                  <a:lnTo>
                    <a:pt x="27749" y="5806"/>
                  </a:lnTo>
                  <a:lnTo>
                    <a:pt x="27093" y="6774"/>
                  </a:lnTo>
                  <a:lnTo>
                    <a:pt x="26471" y="7707"/>
                  </a:lnTo>
                  <a:lnTo>
                    <a:pt x="25849" y="8570"/>
                  </a:lnTo>
                  <a:lnTo>
                    <a:pt x="25227" y="9365"/>
                  </a:lnTo>
                  <a:lnTo>
                    <a:pt x="24639" y="10056"/>
                  </a:lnTo>
                  <a:lnTo>
                    <a:pt x="24086" y="10644"/>
                  </a:lnTo>
                  <a:lnTo>
                    <a:pt x="23810" y="10851"/>
                  </a:lnTo>
                  <a:lnTo>
                    <a:pt x="23568" y="11059"/>
                  </a:lnTo>
                  <a:lnTo>
                    <a:pt x="23361" y="11197"/>
                  </a:lnTo>
                  <a:lnTo>
                    <a:pt x="23153" y="11300"/>
                  </a:lnTo>
                  <a:lnTo>
                    <a:pt x="22773" y="11370"/>
                  </a:lnTo>
                  <a:lnTo>
                    <a:pt x="22255" y="11439"/>
                  </a:lnTo>
                  <a:lnTo>
                    <a:pt x="21633" y="11439"/>
                  </a:lnTo>
                  <a:lnTo>
                    <a:pt x="20942" y="11404"/>
                  </a:lnTo>
                  <a:lnTo>
                    <a:pt x="20216" y="11335"/>
                  </a:lnTo>
                  <a:lnTo>
                    <a:pt x="19387" y="11231"/>
                  </a:lnTo>
                  <a:lnTo>
                    <a:pt x="18523" y="11093"/>
                  </a:lnTo>
                  <a:lnTo>
                    <a:pt x="17624" y="10920"/>
                  </a:lnTo>
                  <a:lnTo>
                    <a:pt x="16726" y="10748"/>
                  </a:lnTo>
                  <a:lnTo>
                    <a:pt x="15827" y="10540"/>
                  </a:lnTo>
                  <a:lnTo>
                    <a:pt x="14929" y="10298"/>
                  </a:lnTo>
                  <a:lnTo>
                    <a:pt x="14065" y="10022"/>
                  </a:lnTo>
                  <a:lnTo>
                    <a:pt x="13236" y="9780"/>
                  </a:lnTo>
                  <a:lnTo>
                    <a:pt x="12441" y="9504"/>
                  </a:lnTo>
                  <a:lnTo>
                    <a:pt x="11750" y="9193"/>
                  </a:lnTo>
                  <a:lnTo>
                    <a:pt x="11093" y="8916"/>
                  </a:lnTo>
                  <a:lnTo>
                    <a:pt x="10609" y="8847"/>
                  </a:lnTo>
                  <a:lnTo>
                    <a:pt x="9434" y="8709"/>
                  </a:lnTo>
                  <a:lnTo>
                    <a:pt x="8709" y="8640"/>
                  </a:lnTo>
                  <a:lnTo>
                    <a:pt x="7983" y="8570"/>
                  </a:lnTo>
                  <a:lnTo>
                    <a:pt x="6704" y="8570"/>
                  </a:lnTo>
                  <a:lnTo>
                    <a:pt x="6393" y="8640"/>
                  </a:lnTo>
                  <a:lnTo>
                    <a:pt x="6048" y="8743"/>
                  </a:lnTo>
                  <a:lnTo>
                    <a:pt x="5668" y="8916"/>
                  </a:lnTo>
                  <a:lnTo>
                    <a:pt x="5253" y="9123"/>
                  </a:lnTo>
                  <a:lnTo>
                    <a:pt x="4355" y="9676"/>
                  </a:lnTo>
                  <a:lnTo>
                    <a:pt x="3387" y="10298"/>
                  </a:lnTo>
                  <a:lnTo>
                    <a:pt x="2489" y="10989"/>
                  </a:lnTo>
                  <a:lnTo>
                    <a:pt x="1625" y="11715"/>
                  </a:lnTo>
                  <a:lnTo>
                    <a:pt x="934" y="12337"/>
                  </a:lnTo>
                  <a:lnTo>
                    <a:pt x="657" y="12648"/>
                  </a:lnTo>
                  <a:lnTo>
                    <a:pt x="415" y="12890"/>
                  </a:lnTo>
                  <a:lnTo>
                    <a:pt x="346" y="13063"/>
                  </a:lnTo>
                  <a:lnTo>
                    <a:pt x="242" y="13236"/>
                  </a:lnTo>
                  <a:lnTo>
                    <a:pt x="104" y="13616"/>
                  </a:lnTo>
                  <a:lnTo>
                    <a:pt x="35" y="14134"/>
                  </a:lnTo>
                  <a:lnTo>
                    <a:pt x="1" y="14687"/>
                  </a:lnTo>
                  <a:lnTo>
                    <a:pt x="1" y="15344"/>
                  </a:lnTo>
                  <a:lnTo>
                    <a:pt x="35" y="16035"/>
                  </a:lnTo>
                  <a:lnTo>
                    <a:pt x="139" y="16795"/>
                  </a:lnTo>
                  <a:lnTo>
                    <a:pt x="242" y="17590"/>
                  </a:lnTo>
                  <a:lnTo>
                    <a:pt x="381" y="18419"/>
                  </a:lnTo>
                  <a:lnTo>
                    <a:pt x="553" y="19283"/>
                  </a:lnTo>
                  <a:lnTo>
                    <a:pt x="968" y="21045"/>
                  </a:lnTo>
                  <a:lnTo>
                    <a:pt x="1452" y="22877"/>
                  </a:lnTo>
                  <a:lnTo>
                    <a:pt x="1936" y="24639"/>
                  </a:lnTo>
                  <a:lnTo>
                    <a:pt x="2005" y="24777"/>
                  </a:lnTo>
                  <a:lnTo>
                    <a:pt x="2108" y="24916"/>
                  </a:lnTo>
                  <a:lnTo>
                    <a:pt x="2350" y="25192"/>
                  </a:lnTo>
                  <a:lnTo>
                    <a:pt x="2730" y="25503"/>
                  </a:lnTo>
                  <a:lnTo>
                    <a:pt x="3214" y="25814"/>
                  </a:lnTo>
                  <a:lnTo>
                    <a:pt x="3663" y="26078"/>
                  </a:lnTo>
                  <a:lnTo>
                    <a:pt x="3663" y="26078"/>
                  </a:lnTo>
                  <a:lnTo>
                    <a:pt x="3663" y="26125"/>
                  </a:lnTo>
                  <a:lnTo>
                    <a:pt x="3663" y="26816"/>
                  </a:lnTo>
                  <a:lnTo>
                    <a:pt x="3629" y="27473"/>
                  </a:lnTo>
                  <a:lnTo>
                    <a:pt x="3525" y="28682"/>
                  </a:lnTo>
                  <a:lnTo>
                    <a:pt x="3456" y="29719"/>
                  </a:lnTo>
                  <a:lnTo>
                    <a:pt x="3318" y="30756"/>
                  </a:lnTo>
                  <a:lnTo>
                    <a:pt x="3145" y="31723"/>
                  </a:lnTo>
                  <a:lnTo>
                    <a:pt x="2903" y="32691"/>
                  </a:lnTo>
                  <a:lnTo>
                    <a:pt x="2627" y="33624"/>
                  </a:lnTo>
                  <a:lnTo>
                    <a:pt x="2281" y="34488"/>
                  </a:lnTo>
                  <a:lnTo>
                    <a:pt x="1936" y="35283"/>
                  </a:lnTo>
                  <a:lnTo>
                    <a:pt x="1486" y="36043"/>
                  </a:lnTo>
                  <a:lnTo>
                    <a:pt x="1037" y="36769"/>
                  </a:lnTo>
                  <a:lnTo>
                    <a:pt x="1003" y="36838"/>
                  </a:lnTo>
                  <a:lnTo>
                    <a:pt x="968" y="36976"/>
                  </a:lnTo>
                  <a:lnTo>
                    <a:pt x="968" y="37114"/>
                  </a:lnTo>
                  <a:lnTo>
                    <a:pt x="1072" y="37218"/>
                  </a:lnTo>
                  <a:lnTo>
                    <a:pt x="1210" y="37356"/>
                  </a:lnTo>
                  <a:lnTo>
                    <a:pt x="1417" y="37460"/>
                  </a:lnTo>
                  <a:lnTo>
                    <a:pt x="1659" y="37563"/>
                  </a:lnTo>
                  <a:lnTo>
                    <a:pt x="2316" y="37702"/>
                  </a:lnTo>
                  <a:lnTo>
                    <a:pt x="3145" y="37840"/>
                  </a:lnTo>
                  <a:lnTo>
                    <a:pt x="4113" y="37943"/>
                  </a:lnTo>
                  <a:lnTo>
                    <a:pt x="5219" y="38013"/>
                  </a:lnTo>
                  <a:lnTo>
                    <a:pt x="6393" y="38047"/>
                  </a:lnTo>
                  <a:lnTo>
                    <a:pt x="8259" y="38013"/>
                  </a:lnTo>
                  <a:lnTo>
                    <a:pt x="10160" y="37978"/>
                  </a:lnTo>
                  <a:lnTo>
                    <a:pt x="12061" y="37874"/>
                  </a:lnTo>
                  <a:lnTo>
                    <a:pt x="13858" y="37702"/>
                  </a:lnTo>
                  <a:lnTo>
                    <a:pt x="15447" y="37529"/>
                  </a:lnTo>
                  <a:lnTo>
                    <a:pt x="16760" y="37321"/>
                  </a:lnTo>
                  <a:lnTo>
                    <a:pt x="17279" y="37183"/>
                  </a:lnTo>
                  <a:lnTo>
                    <a:pt x="17693" y="37080"/>
                  </a:lnTo>
                  <a:lnTo>
                    <a:pt x="18004" y="36941"/>
                  </a:lnTo>
                  <a:lnTo>
                    <a:pt x="18177" y="36803"/>
                  </a:lnTo>
                  <a:lnTo>
                    <a:pt x="18281" y="36630"/>
                  </a:lnTo>
                  <a:lnTo>
                    <a:pt x="18350" y="36423"/>
                  </a:lnTo>
                  <a:lnTo>
                    <a:pt x="18350" y="36181"/>
                  </a:lnTo>
                  <a:lnTo>
                    <a:pt x="18350" y="35939"/>
                  </a:lnTo>
                  <a:lnTo>
                    <a:pt x="18281" y="35352"/>
                  </a:lnTo>
                  <a:lnTo>
                    <a:pt x="18143" y="34626"/>
                  </a:lnTo>
                  <a:lnTo>
                    <a:pt x="17970" y="33831"/>
                  </a:lnTo>
                  <a:lnTo>
                    <a:pt x="17728" y="32967"/>
                  </a:lnTo>
                  <a:lnTo>
                    <a:pt x="17451" y="32069"/>
                  </a:lnTo>
                  <a:lnTo>
                    <a:pt x="17172" y="31216"/>
                  </a:lnTo>
                  <a:lnTo>
                    <a:pt x="17172" y="31216"/>
                  </a:lnTo>
                  <a:lnTo>
                    <a:pt x="18626" y="31689"/>
                  </a:lnTo>
                  <a:lnTo>
                    <a:pt x="22462" y="32898"/>
                  </a:lnTo>
                  <a:lnTo>
                    <a:pt x="25227" y="33762"/>
                  </a:lnTo>
                  <a:lnTo>
                    <a:pt x="26056" y="34039"/>
                  </a:lnTo>
                  <a:lnTo>
                    <a:pt x="26402" y="34211"/>
                  </a:lnTo>
                  <a:lnTo>
                    <a:pt x="26436" y="34211"/>
                  </a:lnTo>
                  <a:lnTo>
                    <a:pt x="26471" y="34177"/>
                  </a:lnTo>
                  <a:lnTo>
                    <a:pt x="26540" y="34073"/>
                  </a:lnTo>
                  <a:lnTo>
                    <a:pt x="26678" y="33624"/>
                  </a:lnTo>
                  <a:lnTo>
                    <a:pt x="26851" y="32967"/>
                  </a:lnTo>
                  <a:lnTo>
                    <a:pt x="27058" y="32173"/>
                  </a:lnTo>
                  <a:lnTo>
                    <a:pt x="27196" y="31378"/>
                  </a:lnTo>
                  <a:lnTo>
                    <a:pt x="27300" y="30617"/>
                  </a:lnTo>
                  <a:lnTo>
                    <a:pt x="27300" y="30306"/>
                  </a:lnTo>
                  <a:lnTo>
                    <a:pt x="27300" y="30065"/>
                  </a:lnTo>
                  <a:lnTo>
                    <a:pt x="27265" y="29857"/>
                  </a:lnTo>
                  <a:lnTo>
                    <a:pt x="27231" y="29719"/>
                  </a:lnTo>
                  <a:lnTo>
                    <a:pt x="27093" y="29650"/>
                  </a:lnTo>
                  <a:lnTo>
                    <a:pt x="26851" y="29546"/>
                  </a:lnTo>
                  <a:lnTo>
                    <a:pt x="26160" y="29304"/>
                  </a:lnTo>
                  <a:lnTo>
                    <a:pt x="25227" y="29028"/>
                  </a:lnTo>
                  <a:lnTo>
                    <a:pt x="24155" y="28751"/>
                  </a:lnTo>
                  <a:lnTo>
                    <a:pt x="22151" y="28268"/>
                  </a:lnTo>
                  <a:lnTo>
                    <a:pt x="20976" y="27991"/>
                  </a:lnTo>
                  <a:lnTo>
                    <a:pt x="20112" y="27715"/>
                  </a:lnTo>
                  <a:lnTo>
                    <a:pt x="18937" y="27369"/>
                  </a:lnTo>
                  <a:lnTo>
                    <a:pt x="16035" y="26505"/>
                  </a:lnTo>
                  <a:lnTo>
                    <a:pt x="15566" y="26349"/>
                  </a:lnTo>
                  <a:lnTo>
                    <a:pt x="15566" y="26349"/>
                  </a:lnTo>
                  <a:lnTo>
                    <a:pt x="15447" y="25952"/>
                  </a:lnTo>
                  <a:lnTo>
                    <a:pt x="15274" y="25330"/>
                  </a:lnTo>
                  <a:lnTo>
                    <a:pt x="15171" y="24847"/>
                  </a:lnTo>
                  <a:lnTo>
                    <a:pt x="15136" y="24501"/>
                  </a:lnTo>
                  <a:lnTo>
                    <a:pt x="15171" y="24225"/>
                  </a:lnTo>
                  <a:lnTo>
                    <a:pt x="15274" y="23948"/>
                  </a:lnTo>
                  <a:lnTo>
                    <a:pt x="15447" y="23706"/>
                  </a:lnTo>
                  <a:lnTo>
                    <a:pt x="15620" y="23464"/>
                  </a:lnTo>
                  <a:lnTo>
                    <a:pt x="15862" y="23257"/>
                  </a:lnTo>
                  <a:lnTo>
                    <a:pt x="16104" y="23015"/>
                  </a:lnTo>
                  <a:lnTo>
                    <a:pt x="16657" y="22635"/>
                  </a:lnTo>
                  <a:lnTo>
                    <a:pt x="17210" y="22255"/>
                  </a:lnTo>
                  <a:lnTo>
                    <a:pt x="17728" y="21840"/>
                  </a:lnTo>
                  <a:lnTo>
                    <a:pt x="17935" y="21667"/>
                  </a:lnTo>
                  <a:lnTo>
                    <a:pt x="18108" y="21460"/>
                  </a:lnTo>
                  <a:lnTo>
                    <a:pt x="18212" y="21253"/>
                  </a:lnTo>
                  <a:lnTo>
                    <a:pt x="18315" y="21011"/>
                  </a:lnTo>
                  <a:lnTo>
                    <a:pt x="18315" y="20769"/>
                  </a:lnTo>
                  <a:lnTo>
                    <a:pt x="18246" y="20492"/>
                  </a:lnTo>
                  <a:lnTo>
                    <a:pt x="18143" y="20147"/>
                  </a:lnTo>
                  <a:lnTo>
                    <a:pt x="17970" y="19801"/>
                  </a:lnTo>
                  <a:lnTo>
                    <a:pt x="17521" y="19041"/>
                  </a:lnTo>
                  <a:lnTo>
                    <a:pt x="17037" y="18281"/>
                  </a:lnTo>
                  <a:lnTo>
                    <a:pt x="16173" y="17071"/>
                  </a:lnTo>
                  <a:lnTo>
                    <a:pt x="15966" y="16760"/>
                  </a:lnTo>
                  <a:lnTo>
                    <a:pt x="15966" y="16691"/>
                  </a:lnTo>
                  <a:lnTo>
                    <a:pt x="16035" y="16726"/>
                  </a:lnTo>
                  <a:lnTo>
                    <a:pt x="16242" y="16795"/>
                  </a:lnTo>
                  <a:lnTo>
                    <a:pt x="16484" y="16864"/>
                  </a:lnTo>
                  <a:lnTo>
                    <a:pt x="16726" y="16933"/>
                  </a:lnTo>
                  <a:lnTo>
                    <a:pt x="17037" y="16968"/>
                  </a:lnTo>
                  <a:lnTo>
                    <a:pt x="17659" y="17002"/>
                  </a:lnTo>
                  <a:lnTo>
                    <a:pt x="18385" y="16968"/>
                  </a:lnTo>
                  <a:lnTo>
                    <a:pt x="19145" y="16864"/>
                  </a:lnTo>
                  <a:lnTo>
                    <a:pt x="19974" y="16726"/>
                  </a:lnTo>
                  <a:lnTo>
                    <a:pt x="20838" y="16553"/>
                  </a:lnTo>
                  <a:lnTo>
                    <a:pt x="21702" y="16346"/>
                  </a:lnTo>
                  <a:lnTo>
                    <a:pt x="22566" y="16104"/>
                  </a:lnTo>
                  <a:lnTo>
                    <a:pt x="23430" y="15827"/>
                  </a:lnTo>
                  <a:lnTo>
                    <a:pt x="24225" y="15551"/>
                  </a:lnTo>
                  <a:lnTo>
                    <a:pt x="24985" y="15274"/>
                  </a:lnTo>
                  <a:lnTo>
                    <a:pt x="25641" y="14963"/>
                  </a:lnTo>
                  <a:lnTo>
                    <a:pt x="26229" y="14687"/>
                  </a:lnTo>
                  <a:lnTo>
                    <a:pt x="26713" y="14411"/>
                  </a:lnTo>
                  <a:lnTo>
                    <a:pt x="27058" y="14134"/>
                  </a:lnTo>
                  <a:lnTo>
                    <a:pt x="27404" y="13789"/>
                  </a:lnTo>
                  <a:lnTo>
                    <a:pt x="27818" y="13270"/>
                  </a:lnTo>
                  <a:lnTo>
                    <a:pt x="28302" y="12614"/>
                  </a:lnTo>
                  <a:lnTo>
                    <a:pt x="28855" y="11819"/>
                  </a:lnTo>
                  <a:lnTo>
                    <a:pt x="30065" y="9953"/>
                  </a:lnTo>
                  <a:lnTo>
                    <a:pt x="31274" y="7914"/>
                  </a:lnTo>
                  <a:lnTo>
                    <a:pt x="32449" y="5944"/>
                  </a:lnTo>
                  <a:lnTo>
                    <a:pt x="33451" y="4216"/>
                  </a:lnTo>
                  <a:lnTo>
                    <a:pt x="34419" y="2454"/>
                  </a:lnTo>
                  <a:lnTo>
                    <a:pt x="34453" y="2281"/>
                  </a:lnTo>
                  <a:lnTo>
                    <a:pt x="34419" y="2108"/>
                  </a:lnTo>
                  <a:lnTo>
                    <a:pt x="34280" y="1867"/>
                  </a:lnTo>
                  <a:lnTo>
                    <a:pt x="34108" y="1659"/>
                  </a:lnTo>
                  <a:lnTo>
                    <a:pt x="33900" y="1417"/>
                  </a:lnTo>
                  <a:lnTo>
                    <a:pt x="33658" y="1175"/>
                  </a:lnTo>
                  <a:lnTo>
                    <a:pt x="33382" y="934"/>
                  </a:lnTo>
                  <a:lnTo>
                    <a:pt x="33071" y="692"/>
                  </a:lnTo>
                  <a:lnTo>
                    <a:pt x="32760" y="484"/>
                  </a:lnTo>
                  <a:lnTo>
                    <a:pt x="32449" y="312"/>
                  </a:lnTo>
                  <a:lnTo>
                    <a:pt x="32173" y="173"/>
                  </a:lnTo>
                  <a:lnTo>
                    <a:pt x="31861" y="70"/>
                  </a:lnTo>
                  <a:lnTo>
                    <a:pt x="31620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0" name="Google Shape;14256;p81">
              <a:extLst>
                <a:ext uri="{FF2B5EF4-FFF2-40B4-BE49-F238E27FC236}">
                  <a16:creationId xmlns:a16="http://schemas.microsoft.com/office/drawing/2014/main" id="{A40B0DA2-B57A-966C-D607-E5A7E24F9E34}"/>
                </a:ext>
              </a:extLst>
            </p:cNvPr>
            <p:cNvSpPr/>
            <p:nvPr/>
          </p:nvSpPr>
          <p:spPr>
            <a:xfrm>
              <a:off x="1082625" y="2352100"/>
              <a:ext cx="861350" cy="951200"/>
            </a:xfrm>
            <a:custGeom>
              <a:avLst/>
              <a:gdLst/>
              <a:ahLst/>
              <a:cxnLst/>
              <a:rect l="l" t="t" r="r" b="b"/>
              <a:pathLst>
                <a:path w="34454" h="38048" fill="none" extrusionOk="0">
                  <a:moveTo>
                    <a:pt x="26402" y="34211"/>
                  </a:moveTo>
                  <a:lnTo>
                    <a:pt x="26402" y="34211"/>
                  </a:lnTo>
                  <a:lnTo>
                    <a:pt x="26436" y="34211"/>
                  </a:lnTo>
                  <a:lnTo>
                    <a:pt x="26471" y="34177"/>
                  </a:lnTo>
                  <a:lnTo>
                    <a:pt x="26540" y="34073"/>
                  </a:lnTo>
                  <a:lnTo>
                    <a:pt x="26678" y="33624"/>
                  </a:lnTo>
                  <a:lnTo>
                    <a:pt x="26851" y="32967"/>
                  </a:lnTo>
                  <a:lnTo>
                    <a:pt x="27058" y="32173"/>
                  </a:lnTo>
                  <a:lnTo>
                    <a:pt x="27196" y="31378"/>
                  </a:lnTo>
                  <a:lnTo>
                    <a:pt x="27300" y="30617"/>
                  </a:lnTo>
                  <a:lnTo>
                    <a:pt x="27300" y="30306"/>
                  </a:lnTo>
                  <a:lnTo>
                    <a:pt x="27300" y="30065"/>
                  </a:lnTo>
                  <a:lnTo>
                    <a:pt x="27265" y="29857"/>
                  </a:lnTo>
                  <a:lnTo>
                    <a:pt x="27231" y="29719"/>
                  </a:lnTo>
                  <a:lnTo>
                    <a:pt x="27231" y="29719"/>
                  </a:lnTo>
                  <a:lnTo>
                    <a:pt x="27093" y="29650"/>
                  </a:lnTo>
                  <a:lnTo>
                    <a:pt x="26851" y="29546"/>
                  </a:lnTo>
                  <a:lnTo>
                    <a:pt x="26160" y="29304"/>
                  </a:lnTo>
                  <a:lnTo>
                    <a:pt x="25227" y="29028"/>
                  </a:lnTo>
                  <a:lnTo>
                    <a:pt x="24155" y="28751"/>
                  </a:lnTo>
                  <a:lnTo>
                    <a:pt x="22151" y="28268"/>
                  </a:lnTo>
                  <a:lnTo>
                    <a:pt x="20976" y="27991"/>
                  </a:lnTo>
                  <a:lnTo>
                    <a:pt x="20976" y="27991"/>
                  </a:lnTo>
                  <a:lnTo>
                    <a:pt x="20112" y="27715"/>
                  </a:lnTo>
                  <a:lnTo>
                    <a:pt x="18937" y="27369"/>
                  </a:lnTo>
                  <a:lnTo>
                    <a:pt x="16035" y="26505"/>
                  </a:lnTo>
                  <a:lnTo>
                    <a:pt x="14480" y="25987"/>
                  </a:lnTo>
                  <a:lnTo>
                    <a:pt x="12994" y="25469"/>
                  </a:lnTo>
                  <a:lnTo>
                    <a:pt x="12303" y="25192"/>
                  </a:lnTo>
                  <a:lnTo>
                    <a:pt x="11646" y="24916"/>
                  </a:lnTo>
                  <a:lnTo>
                    <a:pt x="11024" y="24605"/>
                  </a:lnTo>
                  <a:lnTo>
                    <a:pt x="10506" y="24328"/>
                  </a:lnTo>
                  <a:lnTo>
                    <a:pt x="10506" y="24328"/>
                  </a:lnTo>
                  <a:lnTo>
                    <a:pt x="9815" y="23914"/>
                  </a:lnTo>
                  <a:lnTo>
                    <a:pt x="9089" y="23533"/>
                  </a:lnTo>
                  <a:lnTo>
                    <a:pt x="7430" y="22704"/>
                  </a:lnTo>
                  <a:lnTo>
                    <a:pt x="6359" y="22151"/>
                  </a:lnTo>
                  <a:lnTo>
                    <a:pt x="5046" y="21425"/>
                  </a:lnTo>
                  <a:lnTo>
                    <a:pt x="3491" y="20527"/>
                  </a:lnTo>
                  <a:lnTo>
                    <a:pt x="1556" y="19387"/>
                  </a:lnTo>
                  <a:lnTo>
                    <a:pt x="1556" y="19387"/>
                  </a:lnTo>
                  <a:lnTo>
                    <a:pt x="1797" y="19663"/>
                  </a:lnTo>
                  <a:lnTo>
                    <a:pt x="2005" y="19940"/>
                  </a:lnTo>
                  <a:lnTo>
                    <a:pt x="2419" y="20527"/>
                  </a:lnTo>
                  <a:lnTo>
                    <a:pt x="2765" y="21184"/>
                  </a:lnTo>
                  <a:lnTo>
                    <a:pt x="3041" y="21840"/>
                  </a:lnTo>
                  <a:lnTo>
                    <a:pt x="3249" y="22531"/>
                  </a:lnTo>
                  <a:lnTo>
                    <a:pt x="3422" y="23257"/>
                  </a:lnTo>
                  <a:lnTo>
                    <a:pt x="3525" y="23983"/>
                  </a:lnTo>
                  <a:lnTo>
                    <a:pt x="3594" y="24708"/>
                  </a:lnTo>
                  <a:lnTo>
                    <a:pt x="3663" y="25399"/>
                  </a:lnTo>
                  <a:lnTo>
                    <a:pt x="3663" y="26125"/>
                  </a:lnTo>
                  <a:lnTo>
                    <a:pt x="3663" y="26816"/>
                  </a:lnTo>
                  <a:lnTo>
                    <a:pt x="3629" y="27473"/>
                  </a:lnTo>
                  <a:lnTo>
                    <a:pt x="3525" y="28682"/>
                  </a:lnTo>
                  <a:lnTo>
                    <a:pt x="3456" y="29719"/>
                  </a:lnTo>
                  <a:lnTo>
                    <a:pt x="3456" y="29719"/>
                  </a:lnTo>
                  <a:lnTo>
                    <a:pt x="3318" y="30756"/>
                  </a:lnTo>
                  <a:lnTo>
                    <a:pt x="3145" y="31723"/>
                  </a:lnTo>
                  <a:lnTo>
                    <a:pt x="2903" y="32691"/>
                  </a:lnTo>
                  <a:lnTo>
                    <a:pt x="2627" y="33624"/>
                  </a:lnTo>
                  <a:lnTo>
                    <a:pt x="2281" y="34488"/>
                  </a:lnTo>
                  <a:lnTo>
                    <a:pt x="1936" y="35283"/>
                  </a:lnTo>
                  <a:lnTo>
                    <a:pt x="1486" y="36043"/>
                  </a:lnTo>
                  <a:lnTo>
                    <a:pt x="1037" y="36769"/>
                  </a:lnTo>
                  <a:lnTo>
                    <a:pt x="1037" y="36769"/>
                  </a:lnTo>
                  <a:lnTo>
                    <a:pt x="1003" y="36838"/>
                  </a:lnTo>
                  <a:lnTo>
                    <a:pt x="1003" y="36838"/>
                  </a:lnTo>
                  <a:lnTo>
                    <a:pt x="968" y="36976"/>
                  </a:lnTo>
                  <a:lnTo>
                    <a:pt x="968" y="37114"/>
                  </a:lnTo>
                  <a:lnTo>
                    <a:pt x="1072" y="37218"/>
                  </a:lnTo>
                  <a:lnTo>
                    <a:pt x="1210" y="37356"/>
                  </a:lnTo>
                  <a:lnTo>
                    <a:pt x="1417" y="37460"/>
                  </a:lnTo>
                  <a:lnTo>
                    <a:pt x="1659" y="37563"/>
                  </a:lnTo>
                  <a:lnTo>
                    <a:pt x="2316" y="37702"/>
                  </a:lnTo>
                  <a:lnTo>
                    <a:pt x="3145" y="37840"/>
                  </a:lnTo>
                  <a:lnTo>
                    <a:pt x="4113" y="37943"/>
                  </a:lnTo>
                  <a:lnTo>
                    <a:pt x="5219" y="38013"/>
                  </a:lnTo>
                  <a:lnTo>
                    <a:pt x="6393" y="38047"/>
                  </a:lnTo>
                  <a:lnTo>
                    <a:pt x="6393" y="38047"/>
                  </a:lnTo>
                  <a:lnTo>
                    <a:pt x="8259" y="38013"/>
                  </a:lnTo>
                  <a:lnTo>
                    <a:pt x="10160" y="37978"/>
                  </a:lnTo>
                  <a:lnTo>
                    <a:pt x="12061" y="37874"/>
                  </a:lnTo>
                  <a:lnTo>
                    <a:pt x="13858" y="37702"/>
                  </a:lnTo>
                  <a:lnTo>
                    <a:pt x="15447" y="37529"/>
                  </a:lnTo>
                  <a:lnTo>
                    <a:pt x="16760" y="37321"/>
                  </a:lnTo>
                  <a:lnTo>
                    <a:pt x="17279" y="37183"/>
                  </a:lnTo>
                  <a:lnTo>
                    <a:pt x="17693" y="37080"/>
                  </a:lnTo>
                  <a:lnTo>
                    <a:pt x="18004" y="36941"/>
                  </a:lnTo>
                  <a:lnTo>
                    <a:pt x="18177" y="36803"/>
                  </a:lnTo>
                  <a:lnTo>
                    <a:pt x="18177" y="36803"/>
                  </a:lnTo>
                  <a:lnTo>
                    <a:pt x="18281" y="36630"/>
                  </a:lnTo>
                  <a:lnTo>
                    <a:pt x="18350" y="36423"/>
                  </a:lnTo>
                  <a:lnTo>
                    <a:pt x="18350" y="36423"/>
                  </a:lnTo>
                  <a:lnTo>
                    <a:pt x="18350" y="36181"/>
                  </a:lnTo>
                  <a:lnTo>
                    <a:pt x="18350" y="35939"/>
                  </a:lnTo>
                  <a:lnTo>
                    <a:pt x="18281" y="35352"/>
                  </a:lnTo>
                  <a:lnTo>
                    <a:pt x="18143" y="34626"/>
                  </a:lnTo>
                  <a:lnTo>
                    <a:pt x="17970" y="33831"/>
                  </a:lnTo>
                  <a:lnTo>
                    <a:pt x="17728" y="32967"/>
                  </a:lnTo>
                  <a:lnTo>
                    <a:pt x="17451" y="32069"/>
                  </a:lnTo>
                  <a:lnTo>
                    <a:pt x="16829" y="30168"/>
                  </a:lnTo>
                  <a:lnTo>
                    <a:pt x="16207" y="28337"/>
                  </a:lnTo>
                  <a:lnTo>
                    <a:pt x="15655" y="26643"/>
                  </a:lnTo>
                  <a:lnTo>
                    <a:pt x="15447" y="25952"/>
                  </a:lnTo>
                  <a:lnTo>
                    <a:pt x="15274" y="25330"/>
                  </a:lnTo>
                  <a:lnTo>
                    <a:pt x="15171" y="24847"/>
                  </a:lnTo>
                  <a:lnTo>
                    <a:pt x="15136" y="24501"/>
                  </a:lnTo>
                  <a:lnTo>
                    <a:pt x="15136" y="24501"/>
                  </a:lnTo>
                  <a:lnTo>
                    <a:pt x="15171" y="24225"/>
                  </a:lnTo>
                  <a:lnTo>
                    <a:pt x="15274" y="23948"/>
                  </a:lnTo>
                  <a:lnTo>
                    <a:pt x="15447" y="23706"/>
                  </a:lnTo>
                  <a:lnTo>
                    <a:pt x="15620" y="23464"/>
                  </a:lnTo>
                  <a:lnTo>
                    <a:pt x="15862" y="23257"/>
                  </a:lnTo>
                  <a:lnTo>
                    <a:pt x="16104" y="23015"/>
                  </a:lnTo>
                  <a:lnTo>
                    <a:pt x="16657" y="22635"/>
                  </a:lnTo>
                  <a:lnTo>
                    <a:pt x="17210" y="22255"/>
                  </a:lnTo>
                  <a:lnTo>
                    <a:pt x="17728" y="21840"/>
                  </a:lnTo>
                  <a:lnTo>
                    <a:pt x="17935" y="21667"/>
                  </a:lnTo>
                  <a:lnTo>
                    <a:pt x="18108" y="21460"/>
                  </a:lnTo>
                  <a:lnTo>
                    <a:pt x="18212" y="21253"/>
                  </a:lnTo>
                  <a:lnTo>
                    <a:pt x="18315" y="21011"/>
                  </a:lnTo>
                  <a:lnTo>
                    <a:pt x="18315" y="21011"/>
                  </a:lnTo>
                  <a:lnTo>
                    <a:pt x="18315" y="20769"/>
                  </a:lnTo>
                  <a:lnTo>
                    <a:pt x="18246" y="20492"/>
                  </a:lnTo>
                  <a:lnTo>
                    <a:pt x="18143" y="20147"/>
                  </a:lnTo>
                  <a:lnTo>
                    <a:pt x="17970" y="19801"/>
                  </a:lnTo>
                  <a:lnTo>
                    <a:pt x="17521" y="19041"/>
                  </a:lnTo>
                  <a:lnTo>
                    <a:pt x="17037" y="18281"/>
                  </a:lnTo>
                  <a:lnTo>
                    <a:pt x="16173" y="17071"/>
                  </a:lnTo>
                  <a:lnTo>
                    <a:pt x="15966" y="16760"/>
                  </a:lnTo>
                  <a:lnTo>
                    <a:pt x="15966" y="16691"/>
                  </a:lnTo>
                  <a:lnTo>
                    <a:pt x="16035" y="16726"/>
                  </a:lnTo>
                  <a:lnTo>
                    <a:pt x="16035" y="16726"/>
                  </a:lnTo>
                  <a:lnTo>
                    <a:pt x="16242" y="16795"/>
                  </a:lnTo>
                  <a:lnTo>
                    <a:pt x="16484" y="16864"/>
                  </a:lnTo>
                  <a:lnTo>
                    <a:pt x="16726" y="16933"/>
                  </a:lnTo>
                  <a:lnTo>
                    <a:pt x="17037" y="16968"/>
                  </a:lnTo>
                  <a:lnTo>
                    <a:pt x="17659" y="17002"/>
                  </a:lnTo>
                  <a:lnTo>
                    <a:pt x="18385" y="16968"/>
                  </a:lnTo>
                  <a:lnTo>
                    <a:pt x="19145" y="16864"/>
                  </a:lnTo>
                  <a:lnTo>
                    <a:pt x="19974" y="16726"/>
                  </a:lnTo>
                  <a:lnTo>
                    <a:pt x="20838" y="16553"/>
                  </a:lnTo>
                  <a:lnTo>
                    <a:pt x="21702" y="16346"/>
                  </a:lnTo>
                  <a:lnTo>
                    <a:pt x="22566" y="16104"/>
                  </a:lnTo>
                  <a:lnTo>
                    <a:pt x="23430" y="15827"/>
                  </a:lnTo>
                  <a:lnTo>
                    <a:pt x="24225" y="15551"/>
                  </a:lnTo>
                  <a:lnTo>
                    <a:pt x="24985" y="15274"/>
                  </a:lnTo>
                  <a:lnTo>
                    <a:pt x="25641" y="14963"/>
                  </a:lnTo>
                  <a:lnTo>
                    <a:pt x="26229" y="14687"/>
                  </a:lnTo>
                  <a:lnTo>
                    <a:pt x="26713" y="14411"/>
                  </a:lnTo>
                  <a:lnTo>
                    <a:pt x="27058" y="14134"/>
                  </a:lnTo>
                  <a:lnTo>
                    <a:pt x="27058" y="14134"/>
                  </a:lnTo>
                  <a:lnTo>
                    <a:pt x="27404" y="13789"/>
                  </a:lnTo>
                  <a:lnTo>
                    <a:pt x="27818" y="13270"/>
                  </a:lnTo>
                  <a:lnTo>
                    <a:pt x="28302" y="12614"/>
                  </a:lnTo>
                  <a:lnTo>
                    <a:pt x="28855" y="11819"/>
                  </a:lnTo>
                  <a:lnTo>
                    <a:pt x="30065" y="9953"/>
                  </a:lnTo>
                  <a:lnTo>
                    <a:pt x="31274" y="7914"/>
                  </a:lnTo>
                  <a:lnTo>
                    <a:pt x="32449" y="5944"/>
                  </a:lnTo>
                  <a:lnTo>
                    <a:pt x="33451" y="4216"/>
                  </a:lnTo>
                  <a:lnTo>
                    <a:pt x="34419" y="2454"/>
                  </a:lnTo>
                  <a:lnTo>
                    <a:pt x="34419" y="2454"/>
                  </a:lnTo>
                  <a:lnTo>
                    <a:pt x="34453" y="2281"/>
                  </a:lnTo>
                  <a:lnTo>
                    <a:pt x="34419" y="2108"/>
                  </a:lnTo>
                  <a:lnTo>
                    <a:pt x="34280" y="1867"/>
                  </a:lnTo>
                  <a:lnTo>
                    <a:pt x="34108" y="1659"/>
                  </a:lnTo>
                  <a:lnTo>
                    <a:pt x="33900" y="1417"/>
                  </a:lnTo>
                  <a:lnTo>
                    <a:pt x="33658" y="1175"/>
                  </a:lnTo>
                  <a:lnTo>
                    <a:pt x="33382" y="934"/>
                  </a:lnTo>
                  <a:lnTo>
                    <a:pt x="33071" y="692"/>
                  </a:lnTo>
                  <a:lnTo>
                    <a:pt x="32760" y="484"/>
                  </a:lnTo>
                  <a:lnTo>
                    <a:pt x="32449" y="312"/>
                  </a:lnTo>
                  <a:lnTo>
                    <a:pt x="32173" y="173"/>
                  </a:lnTo>
                  <a:lnTo>
                    <a:pt x="31861" y="70"/>
                  </a:lnTo>
                  <a:lnTo>
                    <a:pt x="31620" y="1"/>
                  </a:lnTo>
                  <a:lnTo>
                    <a:pt x="31412" y="35"/>
                  </a:lnTo>
                  <a:lnTo>
                    <a:pt x="31309" y="35"/>
                  </a:lnTo>
                  <a:lnTo>
                    <a:pt x="31205" y="104"/>
                  </a:lnTo>
                  <a:lnTo>
                    <a:pt x="31136" y="173"/>
                  </a:lnTo>
                  <a:lnTo>
                    <a:pt x="31101" y="242"/>
                  </a:lnTo>
                  <a:lnTo>
                    <a:pt x="31101" y="242"/>
                  </a:lnTo>
                  <a:lnTo>
                    <a:pt x="30721" y="934"/>
                  </a:lnTo>
                  <a:lnTo>
                    <a:pt x="29961" y="2247"/>
                  </a:lnTo>
                  <a:lnTo>
                    <a:pt x="28959" y="3940"/>
                  </a:lnTo>
                  <a:lnTo>
                    <a:pt x="27749" y="5806"/>
                  </a:lnTo>
                  <a:lnTo>
                    <a:pt x="27093" y="6774"/>
                  </a:lnTo>
                  <a:lnTo>
                    <a:pt x="26471" y="7707"/>
                  </a:lnTo>
                  <a:lnTo>
                    <a:pt x="25849" y="8570"/>
                  </a:lnTo>
                  <a:lnTo>
                    <a:pt x="25227" y="9365"/>
                  </a:lnTo>
                  <a:lnTo>
                    <a:pt x="24639" y="10056"/>
                  </a:lnTo>
                  <a:lnTo>
                    <a:pt x="24086" y="10644"/>
                  </a:lnTo>
                  <a:lnTo>
                    <a:pt x="23810" y="10851"/>
                  </a:lnTo>
                  <a:lnTo>
                    <a:pt x="23568" y="11059"/>
                  </a:lnTo>
                  <a:lnTo>
                    <a:pt x="23361" y="11197"/>
                  </a:lnTo>
                  <a:lnTo>
                    <a:pt x="23153" y="11300"/>
                  </a:lnTo>
                  <a:lnTo>
                    <a:pt x="23153" y="11300"/>
                  </a:lnTo>
                  <a:lnTo>
                    <a:pt x="22773" y="11370"/>
                  </a:lnTo>
                  <a:lnTo>
                    <a:pt x="22255" y="11439"/>
                  </a:lnTo>
                  <a:lnTo>
                    <a:pt x="21633" y="11439"/>
                  </a:lnTo>
                  <a:lnTo>
                    <a:pt x="20942" y="11404"/>
                  </a:lnTo>
                  <a:lnTo>
                    <a:pt x="20216" y="11335"/>
                  </a:lnTo>
                  <a:lnTo>
                    <a:pt x="19387" y="11231"/>
                  </a:lnTo>
                  <a:lnTo>
                    <a:pt x="18523" y="11093"/>
                  </a:lnTo>
                  <a:lnTo>
                    <a:pt x="17624" y="10920"/>
                  </a:lnTo>
                  <a:lnTo>
                    <a:pt x="16726" y="10748"/>
                  </a:lnTo>
                  <a:lnTo>
                    <a:pt x="15827" y="10540"/>
                  </a:lnTo>
                  <a:lnTo>
                    <a:pt x="14929" y="10298"/>
                  </a:lnTo>
                  <a:lnTo>
                    <a:pt x="14065" y="10022"/>
                  </a:lnTo>
                  <a:lnTo>
                    <a:pt x="13236" y="9780"/>
                  </a:lnTo>
                  <a:lnTo>
                    <a:pt x="12441" y="9504"/>
                  </a:lnTo>
                  <a:lnTo>
                    <a:pt x="11750" y="9193"/>
                  </a:lnTo>
                  <a:lnTo>
                    <a:pt x="11093" y="8916"/>
                  </a:lnTo>
                  <a:lnTo>
                    <a:pt x="11093" y="8916"/>
                  </a:lnTo>
                  <a:lnTo>
                    <a:pt x="10609" y="8847"/>
                  </a:lnTo>
                  <a:lnTo>
                    <a:pt x="9434" y="8709"/>
                  </a:lnTo>
                  <a:lnTo>
                    <a:pt x="8709" y="8640"/>
                  </a:lnTo>
                  <a:lnTo>
                    <a:pt x="7983" y="8570"/>
                  </a:lnTo>
                  <a:lnTo>
                    <a:pt x="7292" y="8570"/>
                  </a:lnTo>
                  <a:lnTo>
                    <a:pt x="6704" y="8570"/>
                  </a:lnTo>
                  <a:lnTo>
                    <a:pt x="6704" y="8570"/>
                  </a:lnTo>
                  <a:lnTo>
                    <a:pt x="6393" y="8640"/>
                  </a:lnTo>
                  <a:lnTo>
                    <a:pt x="6048" y="8743"/>
                  </a:lnTo>
                  <a:lnTo>
                    <a:pt x="5668" y="8916"/>
                  </a:lnTo>
                  <a:lnTo>
                    <a:pt x="5253" y="9123"/>
                  </a:lnTo>
                  <a:lnTo>
                    <a:pt x="4355" y="9676"/>
                  </a:lnTo>
                  <a:lnTo>
                    <a:pt x="3387" y="10298"/>
                  </a:lnTo>
                  <a:lnTo>
                    <a:pt x="2489" y="10989"/>
                  </a:lnTo>
                  <a:lnTo>
                    <a:pt x="1625" y="11715"/>
                  </a:lnTo>
                  <a:lnTo>
                    <a:pt x="934" y="12337"/>
                  </a:lnTo>
                  <a:lnTo>
                    <a:pt x="657" y="12648"/>
                  </a:lnTo>
                  <a:lnTo>
                    <a:pt x="415" y="12890"/>
                  </a:lnTo>
                  <a:lnTo>
                    <a:pt x="415" y="12890"/>
                  </a:lnTo>
                  <a:lnTo>
                    <a:pt x="346" y="13063"/>
                  </a:lnTo>
                  <a:lnTo>
                    <a:pt x="242" y="13236"/>
                  </a:lnTo>
                  <a:lnTo>
                    <a:pt x="104" y="13616"/>
                  </a:lnTo>
                  <a:lnTo>
                    <a:pt x="35" y="14134"/>
                  </a:lnTo>
                  <a:lnTo>
                    <a:pt x="1" y="14687"/>
                  </a:lnTo>
                  <a:lnTo>
                    <a:pt x="1" y="15344"/>
                  </a:lnTo>
                  <a:lnTo>
                    <a:pt x="35" y="16035"/>
                  </a:lnTo>
                  <a:lnTo>
                    <a:pt x="139" y="16795"/>
                  </a:lnTo>
                  <a:lnTo>
                    <a:pt x="242" y="17590"/>
                  </a:lnTo>
                  <a:lnTo>
                    <a:pt x="381" y="18419"/>
                  </a:lnTo>
                  <a:lnTo>
                    <a:pt x="553" y="19283"/>
                  </a:lnTo>
                  <a:lnTo>
                    <a:pt x="968" y="21045"/>
                  </a:lnTo>
                  <a:lnTo>
                    <a:pt x="1452" y="22877"/>
                  </a:lnTo>
                  <a:lnTo>
                    <a:pt x="1936" y="24639"/>
                  </a:lnTo>
                  <a:lnTo>
                    <a:pt x="1936" y="24639"/>
                  </a:lnTo>
                  <a:lnTo>
                    <a:pt x="2005" y="24777"/>
                  </a:lnTo>
                  <a:lnTo>
                    <a:pt x="2108" y="24916"/>
                  </a:lnTo>
                  <a:lnTo>
                    <a:pt x="2350" y="25192"/>
                  </a:lnTo>
                  <a:lnTo>
                    <a:pt x="2730" y="25503"/>
                  </a:lnTo>
                  <a:lnTo>
                    <a:pt x="3214" y="25814"/>
                  </a:lnTo>
                  <a:lnTo>
                    <a:pt x="3802" y="26160"/>
                  </a:lnTo>
                  <a:lnTo>
                    <a:pt x="4458" y="26505"/>
                  </a:lnTo>
                  <a:lnTo>
                    <a:pt x="5219" y="26851"/>
                  </a:lnTo>
                  <a:lnTo>
                    <a:pt x="6048" y="27231"/>
                  </a:lnTo>
                  <a:lnTo>
                    <a:pt x="7879" y="27957"/>
                  </a:lnTo>
                  <a:lnTo>
                    <a:pt x="9884" y="28751"/>
                  </a:lnTo>
                  <a:lnTo>
                    <a:pt x="12061" y="29512"/>
                  </a:lnTo>
                  <a:lnTo>
                    <a:pt x="14272" y="30272"/>
                  </a:lnTo>
                  <a:lnTo>
                    <a:pt x="18626" y="31689"/>
                  </a:lnTo>
                  <a:lnTo>
                    <a:pt x="22462" y="32898"/>
                  </a:lnTo>
                  <a:lnTo>
                    <a:pt x="25227" y="33762"/>
                  </a:lnTo>
                  <a:lnTo>
                    <a:pt x="26056" y="34039"/>
                  </a:lnTo>
                  <a:lnTo>
                    <a:pt x="26402" y="3421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1" name="Google Shape;14257;p81">
              <a:extLst>
                <a:ext uri="{FF2B5EF4-FFF2-40B4-BE49-F238E27FC236}">
                  <a16:creationId xmlns:a16="http://schemas.microsoft.com/office/drawing/2014/main" id="{B1E3E395-4E38-5497-087A-3BAFD872DC19}"/>
                </a:ext>
              </a:extLst>
            </p:cNvPr>
            <p:cNvSpPr/>
            <p:nvPr/>
          </p:nvSpPr>
          <p:spPr>
            <a:xfrm>
              <a:off x="1210475" y="2415175"/>
              <a:ext cx="134800" cy="251425"/>
            </a:xfrm>
            <a:custGeom>
              <a:avLst/>
              <a:gdLst/>
              <a:ahLst/>
              <a:cxnLst/>
              <a:rect l="l" t="t" r="r" b="b"/>
              <a:pathLst>
                <a:path w="5392" h="10057" extrusionOk="0">
                  <a:moveTo>
                    <a:pt x="3733" y="0"/>
                  </a:moveTo>
                  <a:lnTo>
                    <a:pt x="3629" y="35"/>
                  </a:lnTo>
                  <a:lnTo>
                    <a:pt x="3526" y="104"/>
                  </a:lnTo>
                  <a:lnTo>
                    <a:pt x="3422" y="207"/>
                  </a:lnTo>
                  <a:lnTo>
                    <a:pt x="3318" y="346"/>
                  </a:lnTo>
                  <a:lnTo>
                    <a:pt x="3076" y="760"/>
                  </a:lnTo>
                  <a:lnTo>
                    <a:pt x="2593" y="1797"/>
                  </a:lnTo>
                  <a:lnTo>
                    <a:pt x="2074" y="2799"/>
                  </a:lnTo>
                  <a:lnTo>
                    <a:pt x="1072" y="4665"/>
                  </a:lnTo>
                  <a:lnTo>
                    <a:pt x="1" y="6600"/>
                  </a:lnTo>
                  <a:lnTo>
                    <a:pt x="105" y="6808"/>
                  </a:lnTo>
                  <a:lnTo>
                    <a:pt x="346" y="7257"/>
                  </a:lnTo>
                  <a:lnTo>
                    <a:pt x="554" y="7568"/>
                  </a:lnTo>
                  <a:lnTo>
                    <a:pt x="796" y="7844"/>
                  </a:lnTo>
                  <a:lnTo>
                    <a:pt x="1038" y="8155"/>
                  </a:lnTo>
                  <a:lnTo>
                    <a:pt x="1349" y="8397"/>
                  </a:lnTo>
                  <a:lnTo>
                    <a:pt x="1729" y="8639"/>
                  </a:lnTo>
                  <a:lnTo>
                    <a:pt x="2212" y="8916"/>
                  </a:lnTo>
                  <a:lnTo>
                    <a:pt x="3318" y="9469"/>
                  </a:lnTo>
                  <a:lnTo>
                    <a:pt x="4355" y="9883"/>
                  </a:lnTo>
                  <a:lnTo>
                    <a:pt x="4701" y="10021"/>
                  </a:lnTo>
                  <a:lnTo>
                    <a:pt x="4942" y="10056"/>
                  </a:lnTo>
                  <a:lnTo>
                    <a:pt x="5081" y="10056"/>
                  </a:lnTo>
                  <a:lnTo>
                    <a:pt x="5184" y="9987"/>
                  </a:lnTo>
                  <a:lnTo>
                    <a:pt x="5288" y="9918"/>
                  </a:lnTo>
                  <a:lnTo>
                    <a:pt x="5323" y="9814"/>
                  </a:lnTo>
                  <a:lnTo>
                    <a:pt x="5357" y="9676"/>
                  </a:lnTo>
                  <a:lnTo>
                    <a:pt x="5392" y="9503"/>
                  </a:lnTo>
                  <a:lnTo>
                    <a:pt x="5357" y="9158"/>
                  </a:lnTo>
                  <a:lnTo>
                    <a:pt x="5288" y="8777"/>
                  </a:lnTo>
                  <a:lnTo>
                    <a:pt x="5184" y="8363"/>
                  </a:lnTo>
                  <a:lnTo>
                    <a:pt x="5046" y="8017"/>
                  </a:lnTo>
                  <a:lnTo>
                    <a:pt x="4873" y="7706"/>
                  </a:lnTo>
                  <a:lnTo>
                    <a:pt x="4735" y="7395"/>
                  </a:lnTo>
                  <a:lnTo>
                    <a:pt x="4631" y="7050"/>
                  </a:lnTo>
                  <a:lnTo>
                    <a:pt x="4562" y="6635"/>
                  </a:lnTo>
                  <a:lnTo>
                    <a:pt x="4528" y="6117"/>
                  </a:lnTo>
                  <a:lnTo>
                    <a:pt x="4528" y="5529"/>
                  </a:lnTo>
                  <a:lnTo>
                    <a:pt x="4597" y="4873"/>
                  </a:lnTo>
                  <a:lnTo>
                    <a:pt x="4701" y="4078"/>
                  </a:lnTo>
                  <a:lnTo>
                    <a:pt x="4873" y="3214"/>
                  </a:lnTo>
                  <a:lnTo>
                    <a:pt x="4770" y="2454"/>
                  </a:lnTo>
                  <a:lnTo>
                    <a:pt x="4666" y="1728"/>
                  </a:lnTo>
                  <a:lnTo>
                    <a:pt x="4459" y="1002"/>
                  </a:lnTo>
                  <a:lnTo>
                    <a:pt x="4355" y="657"/>
                  </a:lnTo>
                  <a:lnTo>
                    <a:pt x="4217" y="380"/>
                  </a:lnTo>
                  <a:lnTo>
                    <a:pt x="4079" y="173"/>
                  </a:lnTo>
                  <a:lnTo>
                    <a:pt x="3975" y="69"/>
                  </a:lnTo>
                  <a:lnTo>
                    <a:pt x="3906" y="35"/>
                  </a:lnTo>
                  <a:lnTo>
                    <a:pt x="3802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2" name="Google Shape;14258;p81">
              <a:extLst>
                <a:ext uri="{FF2B5EF4-FFF2-40B4-BE49-F238E27FC236}">
                  <a16:creationId xmlns:a16="http://schemas.microsoft.com/office/drawing/2014/main" id="{C44C20FE-39BB-51E6-1E68-93D82576C4AE}"/>
                </a:ext>
              </a:extLst>
            </p:cNvPr>
            <p:cNvSpPr/>
            <p:nvPr/>
          </p:nvSpPr>
          <p:spPr>
            <a:xfrm>
              <a:off x="1210475" y="2415175"/>
              <a:ext cx="134800" cy="251425"/>
            </a:xfrm>
            <a:custGeom>
              <a:avLst/>
              <a:gdLst/>
              <a:ahLst/>
              <a:cxnLst/>
              <a:rect l="l" t="t" r="r" b="b"/>
              <a:pathLst>
                <a:path w="5392" h="10057" fill="none" extrusionOk="0">
                  <a:moveTo>
                    <a:pt x="4873" y="3214"/>
                  </a:moveTo>
                  <a:lnTo>
                    <a:pt x="4873" y="3214"/>
                  </a:lnTo>
                  <a:lnTo>
                    <a:pt x="4701" y="4078"/>
                  </a:lnTo>
                  <a:lnTo>
                    <a:pt x="4597" y="4873"/>
                  </a:lnTo>
                  <a:lnTo>
                    <a:pt x="4528" y="5529"/>
                  </a:lnTo>
                  <a:lnTo>
                    <a:pt x="4528" y="6117"/>
                  </a:lnTo>
                  <a:lnTo>
                    <a:pt x="4562" y="6635"/>
                  </a:lnTo>
                  <a:lnTo>
                    <a:pt x="4631" y="7050"/>
                  </a:lnTo>
                  <a:lnTo>
                    <a:pt x="4735" y="7395"/>
                  </a:lnTo>
                  <a:lnTo>
                    <a:pt x="4873" y="7706"/>
                  </a:lnTo>
                  <a:lnTo>
                    <a:pt x="4873" y="7706"/>
                  </a:lnTo>
                  <a:lnTo>
                    <a:pt x="5046" y="8017"/>
                  </a:lnTo>
                  <a:lnTo>
                    <a:pt x="5184" y="8363"/>
                  </a:lnTo>
                  <a:lnTo>
                    <a:pt x="5288" y="8777"/>
                  </a:lnTo>
                  <a:lnTo>
                    <a:pt x="5357" y="9158"/>
                  </a:lnTo>
                  <a:lnTo>
                    <a:pt x="5392" y="9503"/>
                  </a:lnTo>
                  <a:lnTo>
                    <a:pt x="5357" y="9676"/>
                  </a:lnTo>
                  <a:lnTo>
                    <a:pt x="5323" y="9814"/>
                  </a:lnTo>
                  <a:lnTo>
                    <a:pt x="5288" y="9918"/>
                  </a:lnTo>
                  <a:lnTo>
                    <a:pt x="5184" y="9987"/>
                  </a:lnTo>
                  <a:lnTo>
                    <a:pt x="5081" y="10056"/>
                  </a:lnTo>
                  <a:lnTo>
                    <a:pt x="4942" y="10056"/>
                  </a:lnTo>
                  <a:lnTo>
                    <a:pt x="4942" y="10056"/>
                  </a:lnTo>
                  <a:lnTo>
                    <a:pt x="4701" y="10021"/>
                  </a:lnTo>
                  <a:lnTo>
                    <a:pt x="4355" y="9883"/>
                  </a:lnTo>
                  <a:lnTo>
                    <a:pt x="3318" y="9469"/>
                  </a:lnTo>
                  <a:lnTo>
                    <a:pt x="2212" y="8916"/>
                  </a:lnTo>
                  <a:lnTo>
                    <a:pt x="1729" y="8639"/>
                  </a:lnTo>
                  <a:lnTo>
                    <a:pt x="1349" y="8397"/>
                  </a:lnTo>
                  <a:lnTo>
                    <a:pt x="1349" y="8397"/>
                  </a:lnTo>
                  <a:lnTo>
                    <a:pt x="1038" y="8155"/>
                  </a:lnTo>
                  <a:lnTo>
                    <a:pt x="796" y="7844"/>
                  </a:lnTo>
                  <a:lnTo>
                    <a:pt x="554" y="7568"/>
                  </a:lnTo>
                  <a:lnTo>
                    <a:pt x="346" y="7257"/>
                  </a:lnTo>
                  <a:lnTo>
                    <a:pt x="105" y="6808"/>
                  </a:lnTo>
                  <a:lnTo>
                    <a:pt x="1" y="6600"/>
                  </a:lnTo>
                  <a:lnTo>
                    <a:pt x="1" y="6600"/>
                  </a:lnTo>
                  <a:lnTo>
                    <a:pt x="1072" y="4665"/>
                  </a:lnTo>
                  <a:lnTo>
                    <a:pt x="2074" y="2799"/>
                  </a:lnTo>
                  <a:lnTo>
                    <a:pt x="2593" y="1797"/>
                  </a:lnTo>
                  <a:lnTo>
                    <a:pt x="3076" y="760"/>
                  </a:lnTo>
                  <a:lnTo>
                    <a:pt x="3076" y="760"/>
                  </a:lnTo>
                  <a:lnTo>
                    <a:pt x="3318" y="346"/>
                  </a:lnTo>
                  <a:lnTo>
                    <a:pt x="3422" y="207"/>
                  </a:lnTo>
                  <a:lnTo>
                    <a:pt x="3526" y="104"/>
                  </a:lnTo>
                  <a:lnTo>
                    <a:pt x="3629" y="35"/>
                  </a:lnTo>
                  <a:lnTo>
                    <a:pt x="3733" y="0"/>
                  </a:lnTo>
                  <a:lnTo>
                    <a:pt x="3802" y="0"/>
                  </a:lnTo>
                  <a:lnTo>
                    <a:pt x="3906" y="35"/>
                  </a:lnTo>
                  <a:lnTo>
                    <a:pt x="3975" y="69"/>
                  </a:lnTo>
                  <a:lnTo>
                    <a:pt x="4079" y="173"/>
                  </a:lnTo>
                  <a:lnTo>
                    <a:pt x="4217" y="380"/>
                  </a:lnTo>
                  <a:lnTo>
                    <a:pt x="4355" y="657"/>
                  </a:lnTo>
                  <a:lnTo>
                    <a:pt x="4459" y="1002"/>
                  </a:lnTo>
                  <a:lnTo>
                    <a:pt x="4666" y="1728"/>
                  </a:lnTo>
                  <a:lnTo>
                    <a:pt x="4770" y="2454"/>
                  </a:lnTo>
                  <a:lnTo>
                    <a:pt x="4873" y="32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3" name="Google Shape;14259;p81">
              <a:extLst>
                <a:ext uri="{FF2B5EF4-FFF2-40B4-BE49-F238E27FC236}">
                  <a16:creationId xmlns:a16="http://schemas.microsoft.com/office/drawing/2014/main" id="{F277FE3F-6421-5671-BE4D-8BB9C354D898}"/>
                </a:ext>
              </a:extLst>
            </p:cNvPr>
            <p:cNvSpPr/>
            <p:nvPr/>
          </p:nvSpPr>
          <p:spPr>
            <a:xfrm>
              <a:off x="1323650" y="2495500"/>
              <a:ext cx="8675" cy="58775"/>
            </a:xfrm>
            <a:custGeom>
              <a:avLst/>
              <a:gdLst/>
              <a:ahLst/>
              <a:cxnLst/>
              <a:rect l="l" t="t" r="r" b="b"/>
              <a:pathLst>
                <a:path w="347" h="2351" extrusionOk="0">
                  <a:moveTo>
                    <a:pt x="346" y="1"/>
                  </a:moveTo>
                  <a:lnTo>
                    <a:pt x="208" y="657"/>
                  </a:lnTo>
                  <a:lnTo>
                    <a:pt x="150" y="1176"/>
                  </a:lnTo>
                  <a:lnTo>
                    <a:pt x="346" y="1"/>
                  </a:lnTo>
                  <a:close/>
                  <a:moveTo>
                    <a:pt x="150" y="1176"/>
                  </a:moveTo>
                  <a:lnTo>
                    <a:pt x="139" y="1245"/>
                  </a:lnTo>
                  <a:lnTo>
                    <a:pt x="70" y="1832"/>
                  </a:lnTo>
                  <a:lnTo>
                    <a:pt x="70" y="1832"/>
                  </a:lnTo>
                  <a:lnTo>
                    <a:pt x="139" y="1279"/>
                  </a:lnTo>
                  <a:lnTo>
                    <a:pt x="150" y="1176"/>
                  </a:lnTo>
                  <a:close/>
                  <a:moveTo>
                    <a:pt x="70" y="1832"/>
                  </a:moveTo>
                  <a:lnTo>
                    <a:pt x="1" y="2351"/>
                  </a:lnTo>
                  <a:lnTo>
                    <a:pt x="35" y="2351"/>
                  </a:lnTo>
                  <a:lnTo>
                    <a:pt x="70" y="1832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4" name="Google Shape;14260;p81">
              <a:extLst>
                <a:ext uri="{FF2B5EF4-FFF2-40B4-BE49-F238E27FC236}">
                  <a16:creationId xmlns:a16="http://schemas.microsoft.com/office/drawing/2014/main" id="{8A4C160E-BA24-A6BA-340D-2F416D78AB96}"/>
                </a:ext>
              </a:extLst>
            </p:cNvPr>
            <p:cNvSpPr/>
            <p:nvPr/>
          </p:nvSpPr>
          <p:spPr>
            <a:xfrm>
              <a:off x="1323650" y="2495500"/>
              <a:ext cx="8675" cy="58775"/>
            </a:xfrm>
            <a:custGeom>
              <a:avLst/>
              <a:gdLst/>
              <a:ahLst/>
              <a:cxnLst/>
              <a:rect l="l" t="t" r="r" b="b"/>
              <a:pathLst>
                <a:path w="347" h="2351" fill="none" extrusionOk="0">
                  <a:moveTo>
                    <a:pt x="346" y="1"/>
                  </a:moveTo>
                  <a:lnTo>
                    <a:pt x="346" y="1"/>
                  </a:lnTo>
                  <a:lnTo>
                    <a:pt x="208" y="657"/>
                  </a:lnTo>
                  <a:lnTo>
                    <a:pt x="139" y="1279"/>
                  </a:lnTo>
                  <a:lnTo>
                    <a:pt x="70" y="1832"/>
                  </a:lnTo>
                  <a:lnTo>
                    <a:pt x="1" y="2351"/>
                  </a:lnTo>
                  <a:lnTo>
                    <a:pt x="1" y="2351"/>
                  </a:lnTo>
                  <a:lnTo>
                    <a:pt x="35" y="2351"/>
                  </a:lnTo>
                  <a:lnTo>
                    <a:pt x="35" y="2351"/>
                  </a:lnTo>
                  <a:lnTo>
                    <a:pt x="70" y="1832"/>
                  </a:lnTo>
                  <a:lnTo>
                    <a:pt x="139" y="1245"/>
                  </a:lnTo>
                  <a:lnTo>
                    <a:pt x="139" y="1245"/>
                  </a:lnTo>
                  <a:lnTo>
                    <a:pt x="3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5" name="Google Shape;14261;p81">
              <a:extLst>
                <a:ext uri="{FF2B5EF4-FFF2-40B4-BE49-F238E27FC236}">
                  <a16:creationId xmlns:a16="http://schemas.microsoft.com/office/drawing/2014/main" id="{FF2F7B35-F53F-3B0F-763D-DB0AA66CB73A}"/>
                </a:ext>
              </a:extLst>
            </p:cNvPr>
            <p:cNvSpPr/>
            <p:nvPr/>
          </p:nvSpPr>
          <p:spPr>
            <a:xfrm>
              <a:off x="1283050" y="2479100"/>
              <a:ext cx="49275" cy="75175"/>
            </a:xfrm>
            <a:custGeom>
              <a:avLst/>
              <a:gdLst/>
              <a:ahLst/>
              <a:cxnLst/>
              <a:rect l="l" t="t" r="r" b="b"/>
              <a:pathLst>
                <a:path w="1971" h="3007" extrusionOk="0">
                  <a:moveTo>
                    <a:pt x="553" y="0"/>
                  </a:moveTo>
                  <a:lnTo>
                    <a:pt x="415" y="35"/>
                  </a:lnTo>
                  <a:lnTo>
                    <a:pt x="312" y="139"/>
                  </a:lnTo>
                  <a:lnTo>
                    <a:pt x="208" y="311"/>
                  </a:lnTo>
                  <a:lnTo>
                    <a:pt x="104" y="519"/>
                  </a:lnTo>
                  <a:lnTo>
                    <a:pt x="35" y="726"/>
                  </a:lnTo>
                  <a:lnTo>
                    <a:pt x="1" y="968"/>
                  </a:lnTo>
                  <a:lnTo>
                    <a:pt x="1" y="1210"/>
                  </a:lnTo>
                  <a:lnTo>
                    <a:pt x="35" y="1417"/>
                  </a:lnTo>
                  <a:lnTo>
                    <a:pt x="242" y="1694"/>
                  </a:lnTo>
                  <a:lnTo>
                    <a:pt x="588" y="2143"/>
                  </a:lnTo>
                  <a:lnTo>
                    <a:pt x="830" y="2385"/>
                  </a:lnTo>
                  <a:lnTo>
                    <a:pt x="1072" y="2627"/>
                  </a:lnTo>
                  <a:lnTo>
                    <a:pt x="1348" y="2834"/>
                  </a:lnTo>
                  <a:lnTo>
                    <a:pt x="1625" y="3007"/>
                  </a:lnTo>
                  <a:lnTo>
                    <a:pt x="1694" y="2488"/>
                  </a:lnTo>
                  <a:lnTo>
                    <a:pt x="1763" y="1935"/>
                  </a:lnTo>
                  <a:lnTo>
                    <a:pt x="1832" y="1313"/>
                  </a:lnTo>
                  <a:lnTo>
                    <a:pt x="1970" y="657"/>
                  </a:lnTo>
                  <a:lnTo>
                    <a:pt x="1728" y="450"/>
                  </a:lnTo>
                  <a:lnTo>
                    <a:pt x="1590" y="346"/>
                  </a:lnTo>
                  <a:lnTo>
                    <a:pt x="1452" y="311"/>
                  </a:lnTo>
                  <a:lnTo>
                    <a:pt x="1072" y="277"/>
                  </a:lnTo>
                  <a:lnTo>
                    <a:pt x="865" y="208"/>
                  </a:lnTo>
                  <a:lnTo>
                    <a:pt x="761" y="173"/>
                  </a:lnTo>
                  <a:lnTo>
                    <a:pt x="692" y="104"/>
                  </a:lnTo>
                  <a:lnTo>
                    <a:pt x="623" y="35"/>
                  </a:lnTo>
                  <a:lnTo>
                    <a:pt x="553" y="0"/>
                  </a:lnTo>
                  <a:close/>
                </a:path>
              </a:pathLst>
            </a:custGeom>
            <a:solidFill>
              <a:srgbClr val="6C322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6" name="Google Shape;14262;p81">
              <a:extLst>
                <a:ext uri="{FF2B5EF4-FFF2-40B4-BE49-F238E27FC236}">
                  <a16:creationId xmlns:a16="http://schemas.microsoft.com/office/drawing/2014/main" id="{A1422CB7-CAA6-468D-621D-CF12783A493D}"/>
                </a:ext>
              </a:extLst>
            </p:cNvPr>
            <p:cNvSpPr/>
            <p:nvPr/>
          </p:nvSpPr>
          <p:spPr>
            <a:xfrm>
              <a:off x="1283050" y="2479100"/>
              <a:ext cx="49275" cy="75175"/>
            </a:xfrm>
            <a:custGeom>
              <a:avLst/>
              <a:gdLst/>
              <a:ahLst/>
              <a:cxnLst/>
              <a:rect l="l" t="t" r="r" b="b"/>
              <a:pathLst>
                <a:path w="1971" h="3007" fill="none" extrusionOk="0">
                  <a:moveTo>
                    <a:pt x="553" y="0"/>
                  </a:moveTo>
                  <a:lnTo>
                    <a:pt x="553" y="0"/>
                  </a:lnTo>
                  <a:lnTo>
                    <a:pt x="415" y="35"/>
                  </a:lnTo>
                  <a:lnTo>
                    <a:pt x="312" y="139"/>
                  </a:lnTo>
                  <a:lnTo>
                    <a:pt x="208" y="311"/>
                  </a:lnTo>
                  <a:lnTo>
                    <a:pt x="104" y="519"/>
                  </a:lnTo>
                  <a:lnTo>
                    <a:pt x="35" y="726"/>
                  </a:lnTo>
                  <a:lnTo>
                    <a:pt x="1" y="968"/>
                  </a:lnTo>
                  <a:lnTo>
                    <a:pt x="1" y="1210"/>
                  </a:lnTo>
                  <a:lnTo>
                    <a:pt x="35" y="1417"/>
                  </a:lnTo>
                  <a:lnTo>
                    <a:pt x="35" y="1417"/>
                  </a:lnTo>
                  <a:lnTo>
                    <a:pt x="242" y="1694"/>
                  </a:lnTo>
                  <a:lnTo>
                    <a:pt x="588" y="2143"/>
                  </a:lnTo>
                  <a:lnTo>
                    <a:pt x="830" y="2385"/>
                  </a:lnTo>
                  <a:lnTo>
                    <a:pt x="1072" y="2627"/>
                  </a:lnTo>
                  <a:lnTo>
                    <a:pt x="1348" y="2834"/>
                  </a:lnTo>
                  <a:lnTo>
                    <a:pt x="1625" y="3007"/>
                  </a:lnTo>
                  <a:lnTo>
                    <a:pt x="1625" y="3007"/>
                  </a:lnTo>
                  <a:lnTo>
                    <a:pt x="1694" y="2488"/>
                  </a:lnTo>
                  <a:lnTo>
                    <a:pt x="1763" y="1935"/>
                  </a:lnTo>
                  <a:lnTo>
                    <a:pt x="1832" y="1313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728" y="450"/>
                  </a:lnTo>
                  <a:lnTo>
                    <a:pt x="1590" y="346"/>
                  </a:lnTo>
                  <a:lnTo>
                    <a:pt x="1452" y="311"/>
                  </a:lnTo>
                  <a:lnTo>
                    <a:pt x="1452" y="311"/>
                  </a:lnTo>
                  <a:lnTo>
                    <a:pt x="1072" y="277"/>
                  </a:lnTo>
                  <a:lnTo>
                    <a:pt x="865" y="208"/>
                  </a:lnTo>
                  <a:lnTo>
                    <a:pt x="761" y="173"/>
                  </a:lnTo>
                  <a:lnTo>
                    <a:pt x="692" y="104"/>
                  </a:lnTo>
                  <a:lnTo>
                    <a:pt x="692" y="104"/>
                  </a:lnTo>
                  <a:lnTo>
                    <a:pt x="623" y="35"/>
                  </a:lnTo>
                  <a:lnTo>
                    <a:pt x="55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7" name="Google Shape;14263;p81">
              <a:extLst>
                <a:ext uri="{FF2B5EF4-FFF2-40B4-BE49-F238E27FC236}">
                  <a16:creationId xmlns:a16="http://schemas.microsoft.com/office/drawing/2014/main" id="{105CA2DB-697A-A17A-CF53-BF9FBC731FEB}"/>
                </a:ext>
              </a:extLst>
            </p:cNvPr>
            <p:cNvSpPr/>
            <p:nvPr/>
          </p:nvSpPr>
          <p:spPr>
            <a:xfrm>
              <a:off x="1243300" y="2803925"/>
              <a:ext cx="171950" cy="188350"/>
            </a:xfrm>
            <a:custGeom>
              <a:avLst/>
              <a:gdLst/>
              <a:ahLst/>
              <a:cxnLst/>
              <a:rect l="l" t="t" r="r" b="b"/>
              <a:pathLst>
                <a:path w="6878" h="7534" extrusionOk="0">
                  <a:moveTo>
                    <a:pt x="312" y="1"/>
                  </a:moveTo>
                  <a:lnTo>
                    <a:pt x="105" y="968"/>
                  </a:lnTo>
                  <a:lnTo>
                    <a:pt x="1" y="1763"/>
                  </a:lnTo>
                  <a:lnTo>
                    <a:pt x="1" y="2385"/>
                  </a:lnTo>
                  <a:lnTo>
                    <a:pt x="36" y="2903"/>
                  </a:lnTo>
                  <a:lnTo>
                    <a:pt x="139" y="3283"/>
                  </a:lnTo>
                  <a:lnTo>
                    <a:pt x="243" y="3629"/>
                  </a:lnTo>
                  <a:lnTo>
                    <a:pt x="381" y="3871"/>
                  </a:lnTo>
                  <a:lnTo>
                    <a:pt x="485" y="4078"/>
                  </a:lnTo>
                  <a:lnTo>
                    <a:pt x="588" y="4182"/>
                  </a:lnTo>
                  <a:lnTo>
                    <a:pt x="761" y="4320"/>
                  </a:lnTo>
                  <a:lnTo>
                    <a:pt x="1314" y="4700"/>
                  </a:lnTo>
                  <a:lnTo>
                    <a:pt x="2109" y="5149"/>
                  </a:lnTo>
                  <a:lnTo>
                    <a:pt x="3007" y="5668"/>
                  </a:lnTo>
                  <a:lnTo>
                    <a:pt x="5046" y="6670"/>
                  </a:lnTo>
                  <a:lnTo>
                    <a:pt x="6878" y="7534"/>
                  </a:lnTo>
                  <a:lnTo>
                    <a:pt x="6878" y="7534"/>
                  </a:lnTo>
                  <a:lnTo>
                    <a:pt x="5012" y="6359"/>
                  </a:lnTo>
                  <a:lnTo>
                    <a:pt x="3526" y="5357"/>
                  </a:lnTo>
                  <a:lnTo>
                    <a:pt x="2938" y="4942"/>
                  </a:lnTo>
                  <a:lnTo>
                    <a:pt x="2420" y="4527"/>
                  </a:lnTo>
                  <a:lnTo>
                    <a:pt x="1971" y="4113"/>
                  </a:lnTo>
                  <a:lnTo>
                    <a:pt x="1591" y="3733"/>
                  </a:lnTo>
                  <a:lnTo>
                    <a:pt x="1280" y="3352"/>
                  </a:lnTo>
                  <a:lnTo>
                    <a:pt x="1038" y="2972"/>
                  </a:lnTo>
                  <a:lnTo>
                    <a:pt x="830" y="2558"/>
                  </a:lnTo>
                  <a:lnTo>
                    <a:pt x="658" y="2108"/>
                  </a:lnTo>
                  <a:lnTo>
                    <a:pt x="519" y="1659"/>
                  </a:lnTo>
                  <a:lnTo>
                    <a:pt x="416" y="1175"/>
                  </a:lnTo>
                  <a:lnTo>
                    <a:pt x="347" y="623"/>
                  </a:lnTo>
                  <a:lnTo>
                    <a:pt x="312" y="1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8" name="Google Shape;14264;p81">
              <a:extLst>
                <a:ext uri="{FF2B5EF4-FFF2-40B4-BE49-F238E27FC236}">
                  <a16:creationId xmlns:a16="http://schemas.microsoft.com/office/drawing/2014/main" id="{5BE50D55-C6FA-8E58-5238-FCFC0341FAF6}"/>
                </a:ext>
              </a:extLst>
            </p:cNvPr>
            <p:cNvSpPr/>
            <p:nvPr/>
          </p:nvSpPr>
          <p:spPr>
            <a:xfrm>
              <a:off x="1243300" y="2803925"/>
              <a:ext cx="171950" cy="188350"/>
            </a:xfrm>
            <a:custGeom>
              <a:avLst/>
              <a:gdLst/>
              <a:ahLst/>
              <a:cxnLst/>
              <a:rect l="l" t="t" r="r" b="b"/>
              <a:pathLst>
                <a:path w="6878" h="7534" fill="none" extrusionOk="0">
                  <a:moveTo>
                    <a:pt x="312" y="1"/>
                  </a:moveTo>
                  <a:lnTo>
                    <a:pt x="312" y="1"/>
                  </a:lnTo>
                  <a:lnTo>
                    <a:pt x="105" y="968"/>
                  </a:lnTo>
                  <a:lnTo>
                    <a:pt x="1" y="1763"/>
                  </a:lnTo>
                  <a:lnTo>
                    <a:pt x="1" y="2385"/>
                  </a:lnTo>
                  <a:lnTo>
                    <a:pt x="36" y="2903"/>
                  </a:lnTo>
                  <a:lnTo>
                    <a:pt x="139" y="3283"/>
                  </a:lnTo>
                  <a:lnTo>
                    <a:pt x="243" y="3629"/>
                  </a:lnTo>
                  <a:lnTo>
                    <a:pt x="381" y="3871"/>
                  </a:lnTo>
                  <a:lnTo>
                    <a:pt x="485" y="4078"/>
                  </a:lnTo>
                  <a:lnTo>
                    <a:pt x="485" y="4078"/>
                  </a:lnTo>
                  <a:lnTo>
                    <a:pt x="588" y="4182"/>
                  </a:lnTo>
                  <a:lnTo>
                    <a:pt x="761" y="4320"/>
                  </a:lnTo>
                  <a:lnTo>
                    <a:pt x="1314" y="4700"/>
                  </a:lnTo>
                  <a:lnTo>
                    <a:pt x="2109" y="5149"/>
                  </a:lnTo>
                  <a:lnTo>
                    <a:pt x="3007" y="5668"/>
                  </a:lnTo>
                  <a:lnTo>
                    <a:pt x="5046" y="6670"/>
                  </a:lnTo>
                  <a:lnTo>
                    <a:pt x="6878" y="7534"/>
                  </a:lnTo>
                  <a:lnTo>
                    <a:pt x="6878" y="7534"/>
                  </a:lnTo>
                  <a:lnTo>
                    <a:pt x="5012" y="6359"/>
                  </a:lnTo>
                  <a:lnTo>
                    <a:pt x="3526" y="5357"/>
                  </a:lnTo>
                  <a:lnTo>
                    <a:pt x="2938" y="4942"/>
                  </a:lnTo>
                  <a:lnTo>
                    <a:pt x="2420" y="4527"/>
                  </a:lnTo>
                  <a:lnTo>
                    <a:pt x="1971" y="4113"/>
                  </a:lnTo>
                  <a:lnTo>
                    <a:pt x="1591" y="3733"/>
                  </a:lnTo>
                  <a:lnTo>
                    <a:pt x="1280" y="3352"/>
                  </a:lnTo>
                  <a:lnTo>
                    <a:pt x="1038" y="2972"/>
                  </a:lnTo>
                  <a:lnTo>
                    <a:pt x="830" y="2558"/>
                  </a:lnTo>
                  <a:lnTo>
                    <a:pt x="658" y="2108"/>
                  </a:lnTo>
                  <a:lnTo>
                    <a:pt x="519" y="1659"/>
                  </a:lnTo>
                  <a:lnTo>
                    <a:pt x="416" y="1175"/>
                  </a:lnTo>
                  <a:lnTo>
                    <a:pt x="347" y="623"/>
                  </a:lnTo>
                  <a:lnTo>
                    <a:pt x="31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19" name="Google Shape;14265;p81">
              <a:extLst>
                <a:ext uri="{FF2B5EF4-FFF2-40B4-BE49-F238E27FC236}">
                  <a16:creationId xmlns:a16="http://schemas.microsoft.com/office/drawing/2014/main" id="{D7ECAF66-883F-F550-5B4D-BB8FBA94A39A}"/>
                </a:ext>
              </a:extLst>
            </p:cNvPr>
            <p:cNvSpPr/>
            <p:nvPr/>
          </p:nvSpPr>
          <p:spPr>
            <a:xfrm>
              <a:off x="1174200" y="3004350"/>
              <a:ext cx="25" cy="21625"/>
            </a:xfrm>
            <a:custGeom>
              <a:avLst/>
              <a:gdLst/>
              <a:ahLst/>
              <a:cxnLst/>
              <a:rect l="l" t="t" r="r" b="b"/>
              <a:pathLst>
                <a:path w="1" h="865" extrusionOk="0">
                  <a:moveTo>
                    <a:pt x="0" y="1"/>
                  </a:moveTo>
                  <a:lnTo>
                    <a:pt x="0" y="1"/>
                  </a:lnTo>
                  <a:lnTo>
                    <a:pt x="0" y="865"/>
                  </a:lnTo>
                  <a:lnTo>
                    <a:pt x="0" y="865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0" name="Google Shape;14266;p81">
              <a:extLst>
                <a:ext uri="{FF2B5EF4-FFF2-40B4-BE49-F238E27FC236}">
                  <a16:creationId xmlns:a16="http://schemas.microsoft.com/office/drawing/2014/main" id="{757D1592-2A26-393D-1F1C-198F594192AF}"/>
                </a:ext>
              </a:extLst>
            </p:cNvPr>
            <p:cNvSpPr/>
            <p:nvPr/>
          </p:nvSpPr>
          <p:spPr>
            <a:xfrm>
              <a:off x="1174200" y="3004350"/>
              <a:ext cx="25" cy="21625"/>
            </a:xfrm>
            <a:custGeom>
              <a:avLst/>
              <a:gdLst/>
              <a:ahLst/>
              <a:cxnLst/>
              <a:rect l="l" t="t" r="r" b="b"/>
              <a:pathLst>
                <a:path w="1" h="865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865"/>
                  </a:lnTo>
                  <a:lnTo>
                    <a:pt x="0" y="865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1" name="Google Shape;14267;p81">
              <a:extLst>
                <a:ext uri="{FF2B5EF4-FFF2-40B4-BE49-F238E27FC236}">
                  <a16:creationId xmlns:a16="http://schemas.microsoft.com/office/drawing/2014/main" id="{0DAA5574-63AA-92E7-F5D3-7F9965CFC0EF}"/>
                </a:ext>
              </a:extLst>
            </p:cNvPr>
            <p:cNvSpPr/>
            <p:nvPr/>
          </p:nvSpPr>
          <p:spPr>
            <a:xfrm>
              <a:off x="1173325" y="3004350"/>
              <a:ext cx="310175" cy="120975"/>
            </a:xfrm>
            <a:custGeom>
              <a:avLst/>
              <a:gdLst/>
              <a:ahLst/>
              <a:cxnLst/>
              <a:rect l="l" t="t" r="r" b="b"/>
              <a:pathLst>
                <a:path w="12407" h="4839" extrusionOk="0">
                  <a:moveTo>
                    <a:pt x="35" y="1"/>
                  </a:moveTo>
                  <a:lnTo>
                    <a:pt x="35" y="865"/>
                  </a:lnTo>
                  <a:lnTo>
                    <a:pt x="1" y="1279"/>
                  </a:lnTo>
                  <a:lnTo>
                    <a:pt x="35" y="1279"/>
                  </a:lnTo>
                  <a:lnTo>
                    <a:pt x="243" y="1314"/>
                  </a:lnTo>
                  <a:lnTo>
                    <a:pt x="727" y="1417"/>
                  </a:lnTo>
                  <a:lnTo>
                    <a:pt x="2143" y="1832"/>
                  </a:lnTo>
                  <a:lnTo>
                    <a:pt x="6256" y="3042"/>
                  </a:lnTo>
                  <a:lnTo>
                    <a:pt x="10333" y="4286"/>
                  </a:lnTo>
                  <a:lnTo>
                    <a:pt x="11750" y="4666"/>
                  </a:lnTo>
                  <a:lnTo>
                    <a:pt x="12165" y="4804"/>
                  </a:lnTo>
                  <a:lnTo>
                    <a:pt x="12407" y="4838"/>
                  </a:lnTo>
                  <a:lnTo>
                    <a:pt x="10506" y="4078"/>
                  </a:lnTo>
                  <a:lnTo>
                    <a:pt x="6256" y="2489"/>
                  </a:lnTo>
                  <a:lnTo>
                    <a:pt x="1971" y="830"/>
                  </a:lnTo>
                  <a:lnTo>
                    <a:pt x="588" y="277"/>
                  </a:lnTo>
                  <a:lnTo>
                    <a:pt x="174" y="70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2" name="Google Shape;14268;p81">
              <a:extLst>
                <a:ext uri="{FF2B5EF4-FFF2-40B4-BE49-F238E27FC236}">
                  <a16:creationId xmlns:a16="http://schemas.microsoft.com/office/drawing/2014/main" id="{58310BF4-E14B-A48A-B0AF-E56E775746F8}"/>
                </a:ext>
              </a:extLst>
            </p:cNvPr>
            <p:cNvSpPr/>
            <p:nvPr/>
          </p:nvSpPr>
          <p:spPr>
            <a:xfrm>
              <a:off x="1173325" y="3004350"/>
              <a:ext cx="310175" cy="120975"/>
            </a:xfrm>
            <a:custGeom>
              <a:avLst/>
              <a:gdLst/>
              <a:ahLst/>
              <a:cxnLst/>
              <a:rect l="l" t="t" r="r" b="b"/>
              <a:pathLst>
                <a:path w="12407" h="4839" fill="none" extrusionOk="0">
                  <a:moveTo>
                    <a:pt x="35" y="1"/>
                  </a:moveTo>
                  <a:lnTo>
                    <a:pt x="35" y="1"/>
                  </a:lnTo>
                  <a:lnTo>
                    <a:pt x="35" y="865"/>
                  </a:lnTo>
                  <a:lnTo>
                    <a:pt x="35" y="865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279"/>
                  </a:lnTo>
                  <a:lnTo>
                    <a:pt x="35" y="1279"/>
                  </a:lnTo>
                  <a:lnTo>
                    <a:pt x="243" y="1314"/>
                  </a:lnTo>
                  <a:lnTo>
                    <a:pt x="727" y="1417"/>
                  </a:lnTo>
                  <a:lnTo>
                    <a:pt x="2143" y="1832"/>
                  </a:lnTo>
                  <a:lnTo>
                    <a:pt x="6256" y="3042"/>
                  </a:lnTo>
                  <a:lnTo>
                    <a:pt x="6256" y="3042"/>
                  </a:lnTo>
                  <a:lnTo>
                    <a:pt x="10333" y="4286"/>
                  </a:lnTo>
                  <a:lnTo>
                    <a:pt x="11750" y="4666"/>
                  </a:lnTo>
                  <a:lnTo>
                    <a:pt x="12165" y="4804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0506" y="4078"/>
                  </a:lnTo>
                  <a:lnTo>
                    <a:pt x="6256" y="2489"/>
                  </a:lnTo>
                  <a:lnTo>
                    <a:pt x="1971" y="830"/>
                  </a:lnTo>
                  <a:lnTo>
                    <a:pt x="588" y="277"/>
                  </a:lnTo>
                  <a:lnTo>
                    <a:pt x="174" y="70"/>
                  </a:lnTo>
                  <a:lnTo>
                    <a:pt x="3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3" name="Google Shape;14269;p81">
              <a:extLst>
                <a:ext uri="{FF2B5EF4-FFF2-40B4-BE49-F238E27FC236}">
                  <a16:creationId xmlns:a16="http://schemas.microsoft.com/office/drawing/2014/main" id="{95D9C0F5-2840-2973-FABC-74C0E13C81E6}"/>
                </a:ext>
              </a:extLst>
            </p:cNvPr>
            <p:cNvSpPr/>
            <p:nvPr/>
          </p:nvSpPr>
          <p:spPr>
            <a:xfrm>
              <a:off x="1481750" y="2769375"/>
              <a:ext cx="1750" cy="3475"/>
            </a:xfrm>
            <a:custGeom>
              <a:avLst/>
              <a:gdLst/>
              <a:ahLst/>
              <a:cxnLst/>
              <a:rect l="l" t="t" r="r" b="b"/>
              <a:pathLst>
                <a:path w="70" h="139" extrusionOk="0">
                  <a:moveTo>
                    <a:pt x="1" y="0"/>
                  </a:moveTo>
                  <a:lnTo>
                    <a:pt x="70" y="138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4" name="Google Shape;14270;p81">
              <a:extLst>
                <a:ext uri="{FF2B5EF4-FFF2-40B4-BE49-F238E27FC236}">
                  <a16:creationId xmlns:a16="http://schemas.microsoft.com/office/drawing/2014/main" id="{3C30CFC6-14A2-F2BD-CEB3-916CF1B013A0}"/>
                </a:ext>
              </a:extLst>
            </p:cNvPr>
            <p:cNvSpPr/>
            <p:nvPr/>
          </p:nvSpPr>
          <p:spPr>
            <a:xfrm>
              <a:off x="1481750" y="2769375"/>
              <a:ext cx="1750" cy="3475"/>
            </a:xfrm>
            <a:custGeom>
              <a:avLst/>
              <a:gdLst/>
              <a:ahLst/>
              <a:cxnLst/>
              <a:rect l="l" t="t" r="r" b="b"/>
              <a:pathLst>
                <a:path w="70" h="139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5" name="Google Shape;14271;p81">
              <a:extLst>
                <a:ext uri="{FF2B5EF4-FFF2-40B4-BE49-F238E27FC236}">
                  <a16:creationId xmlns:a16="http://schemas.microsoft.com/office/drawing/2014/main" id="{42867CDC-A3C9-9C54-1585-069AEC2CAFCD}"/>
                </a:ext>
              </a:extLst>
            </p:cNvPr>
            <p:cNvSpPr/>
            <p:nvPr/>
          </p:nvSpPr>
          <p:spPr>
            <a:xfrm>
              <a:off x="1410050" y="2691625"/>
              <a:ext cx="72600" cy="77775"/>
            </a:xfrm>
            <a:custGeom>
              <a:avLst/>
              <a:gdLst/>
              <a:ahLst/>
              <a:cxnLst/>
              <a:rect l="l" t="t" r="r" b="b"/>
              <a:pathLst>
                <a:path w="2904" h="3111" extrusionOk="0">
                  <a:moveTo>
                    <a:pt x="0" y="0"/>
                  </a:moveTo>
                  <a:lnTo>
                    <a:pt x="830" y="760"/>
                  </a:lnTo>
                  <a:lnTo>
                    <a:pt x="1521" y="1382"/>
                  </a:lnTo>
                  <a:lnTo>
                    <a:pt x="1866" y="1728"/>
                  </a:lnTo>
                  <a:lnTo>
                    <a:pt x="2177" y="2108"/>
                  </a:lnTo>
                  <a:lnTo>
                    <a:pt x="2523" y="2557"/>
                  </a:lnTo>
                  <a:lnTo>
                    <a:pt x="2869" y="3110"/>
                  </a:lnTo>
                  <a:lnTo>
                    <a:pt x="2903" y="3110"/>
                  </a:lnTo>
                  <a:lnTo>
                    <a:pt x="2454" y="1970"/>
                  </a:lnTo>
                  <a:lnTo>
                    <a:pt x="2177" y="1313"/>
                  </a:lnTo>
                  <a:lnTo>
                    <a:pt x="2074" y="933"/>
                  </a:lnTo>
                  <a:lnTo>
                    <a:pt x="1832" y="795"/>
                  </a:lnTo>
                  <a:lnTo>
                    <a:pt x="1244" y="484"/>
                  </a:lnTo>
                  <a:lnTo>
                    <a:pt x="553" y="173"/>
                  </a:lnTo>
                  <a:lnTo>
                    <a:pt x="242" y="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6" name="Google Shape;14272;p81">
              <a:extLst>
                <a:ext uri="{FF2B5EF4-FFF2-40B4-BE49-F238E27FC236}">
                  <a16:creationId xmlns:a16="http://schemas.microsoft.com/office/drawing/2014/main" id="{AEA18E96-F31C-6A29-7195-15DA02B0CA1E}"/>
                </a:ext>
              </a:extLst>
            </p:cNvPr>
            <p:cNvSpPr/>
            <p:nvPr/>
          </p:nvSpPr>
          <p:spPr>
            <a:xfrm>
              <a:off x="1410050" y="2691625"/>
              <a:ext cx="72600" cy="77775"/>
            </a:xfrm>
            <a:custGeom>
              <a:avLst/>
              <a:gdLst/>
              <a:ahLst/>
              <a:cxnLst/>
              <a:rect l="l" t="t" r="r" b="b"/>
              <a:pathLst>
                <a:path w="2904" h="311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830" y="760"/>
                  </a:lnTo>
                  <a:lnTo>
                    <a:pt x="1521" y="1382"/>
                  </a:lnTo>
                  <a:lnTo>
                    <a:pt x="1866" y="1728"/>
                  </a:lnTo>
                  <a:lnTo>
                    <a:pt x="2177" y="2108"/>
                  </a:lnTo>
                  <a:lnTo>
                    <a:pt x="2523" y="2557"/>
                  </a:lnTo>
                  <a:lnTo>
                    <a:pt x="2869" y="3110"/>
                  </a:lnTo>
                  <a:lnTo>
                    <a:pt x="2869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454" y="1970"/>
                  </a:lnTo>
                  <a:lnTo>
                    <a:pt x="2177" y="1313"/>
                  </a:lnTo>
                  <a:lnTo>
                    <a:pt x="2074" y="933"/>
                  </a:lnTo>
                  <a:lnTo>
                    <a:pt x="2074" y="933"/>
                  </a:lnTo>
                  <a:lnTo>
                    <a:pt x="1832" y="795"/>
                  </a:lnTo>
                  <a:lnTo>
                    <a:pt x="1244" y="484"/>
                  </a:lnTo>
                  <a:lnTo>
                    <a:pt x="553" y="173"/>
                  </a:lnTo>
                  <a:lnTo>
                    <a:pt x="242" y="6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7" name="Google Shape;14273;p81">
              <a:extLst>
                <a:ext uri="{FF2B5EF4-FFF2-40B4-BE49-F238E27FC236}">
                  <a16:creationId xmlns:a16="http://schemas.microsoft.com/office/drawing/2014/main" id="{337D3F8E-F915-53E7-0FD9-E3B694960D24}"/>
                </a:ext>
              </a:extLst>
            </p:cNvPr>
            <p:cNvSpPr/>
            <p:nvPr/>
          </p:nvSpPr>
          <p:spPr>
            <a:xfrm>
              <a:off x="1150875" y="3134800"/>
              <a:ext cx="12125" cy="48400"/>
            </a:xfrm>
            <a:custGeom>
              <a:avLst/>
              <a:gdLst/>
              <a:ahLst/>
              <a:cxnLst/>
              <a:rect l="l" t="t" r="r" b="b"/>
              <a:pathLst>
                <a:path w="485" h="1936" extrusionOk="0">
                  <a:moveTo>
                    <a:pt x="484" y="1"/>
                  </a:moveTo>
                  <a:lnTo>
                    <a:pt x="484" y="1"/>
                  </a:lnTo>
                  <a:lnTo>
                    <a:pt x="277" y="968"/>
                  </a:lnTo>
                  <a:lnTo>
                    <a:pt x="0" y="1936"/>
                  </a:lnTo>
                  <a:lnTo>
                    <a:pt x="0" y="1936"/>
                  </a:lnTo>
                  <a:lnTo>
                    <a:pt x="277" y="968"/>
                  </a:lnTo>
                  <a:lnTo>
                    <a:pt x="484" y="1"/>
                  </a:lnTo>
                  <a:close/>
                </a:path>
              </a:pathLst>
            </a:custGeom>
            <a:solidFill>
              <a:srgbClr val="E6E6E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8" name="Google Shape;14274;p81">
              <a:extLst>
                <a:ext uri="{FF2B5EF4-FFF2-40B4-BE49-F238E27FC236}">
                  <a16:creationId xmlns:a16="http://schemas.microsoft.com/office/drawing/2014/main" id="{7A96A96A-217C-9622-07C9-3AFA7A94EC3C}"/>
                </a:ext>
              </a:extLst>
            </p:cNvPr>
            <p:cNvSpPr/>
            <p:nvPr/>
          </p:nvSpPr>
          <p:spPr>
            <a:xfrm>
              <a:off x="1150875" y="3134800"/>
              <a:ext cx="12125" cy="48400"/>
            </a:xfrm>
            <a:custGeom>
              <a:avLst/>
              <a:gdLst/>
              <a:ahLst/>
              <a:cxnLst/>
              <a:rect l="l" t="t" r="r" b="b"/>
              <a:pathLst>
                <a:path w="485" h="1936" fill="none" extrusionOk="0">
                  <a:moveTo>
                    <a:pt x="484" y="1"/>
                  </a:moveTo>
                  <a:lnTo>
                    <a:pt x="484" y="1"/>
                  </a:lnTo>
                  <a:lnTo>
                    <a:pt x="277" y="968"/>
                  </a:lnTo>
                  <a:lnTo>
                    <a:pt x="0" y="1936"/>
                  </a:lnTo>
                  <a:lnTo>
                    <a:pt x="0" y="1936"/>
                  </a:lnTo>
                  <a:lnTo>
                    <a:pt x="277" y="968"/>
                  </a:lnTo>
                  <a:lnTo>
                    <a:pt x="48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29" name="Google Shape;14275;p81">
              <a:extLst>
                <a:ext uri="{FF2B5EF4-FFF2-40B4-BE49-F238E27FC236}">
                  <a16:creationId xmlns:a16="http://schemas.microsoft.com/office/drawing/2014/main" id="{43CDE6DF-2F4B-5F55-0046-BE32951F7652}"/>
                </a:ext>
              </a:extLst>
            </p:cNvPr>
            <p:cNvSpPr/>
            <p:nvPr/>
          </p:nvSpPr>
          <p:spPr>
            <a:xfrm>
              <a:off x="785450" y="3273025"/>
              <a:ext cx="428525" cy="951200"/>
            </a:xfrm>
            <a:custGeom>
              <a:avLst/>
              <a:gdLst/>
              <a:ahLst/>
              <a:cxnLst/>
              <a:rect l="l" t="t" r="r" b="b"/>
              <a:pathLst>
                <a:path w="17141" h="38048" extrusionOk="0">
                  <a:moveTo>
                    <a:pt x="12890" y="1"/>
                  </a:moveTo>
                  <a:lnTo>
                    <a:pt x="12302" y="968"/>
                  </a:lnTo>
                  <a:lnTo>
                    <a:pt x="11784" y="1970"/>
                  </a:lnTo>
                  <a:lnTo>
                    <a:pt x="11335" y="2972"/>
                  </a:lnTo>
                  <a:lnTo>
                    <a:pt x="10920" y="3940"/>
                  </a:lnTo>
                  <a:lnTo>
                    <a:pt x="10574" y="4942"/>
                  </a:lnTo>
                  <a:lnTo>
                    <a:pt x="10263" y="5979"/>
                  </a:lnTo>
                  <a:lnTo>
                    <a:pt x="9987" y="6981"/>
                  </a:lnTo>
                  <a:lnTo>
                    <a:pt x="9710" y="7983"/>
                  </a:lnTo>
                  <a:lnTo>
                    <a:pt x="9503" y="9020"/>
                  </a:lnTo>
                  <a:lnTo>
                    <a:pt x="9296" y="10057"/>
                  </a:lnTo>
                  <a:lnTo>
                    <a:pt x="8950" y="12130"/>
                  </a:lnTo>
                  <a:lnTo>
                    <a:pt x="8639" y="14272"/>
                  </a:lnTo>
                  <a:lnTo>
                    <a:pt x="8294" y="16415"/>
                  </a:lnTo>
                  <a:lnTo>
                    <a:pt x="7914" y="18592"/>
                  </a:lnTo>
                  <a:lnTo>
                    <a:pt x="7672" y="19732"/>
                  </a:lnTo>
                  <a:lnTo>
                    <a:pt x="7430" y="20838"/>
                  </a:lnTo>
                  <a:lnTo>
                    <a:pt x="7119" y="21979"/>
                  </a:lnTo>
                  <a:lnTo>
                    <a:pt x="6773" y="23119"/>
                  </a:lnTo>
                  <a:lnTo>
                    <a:pt x="6393" y="24294"/>
                  </a:lnTo>
                  <a:lnTo>
                    <a:pt x="5944" y="25469"/>
                  </a:lnTo>
                  <a:lnTo>
                    <a:pt x="5460" y="26644"/>
                  </a:lnTo>
                  <a:lnTo>
                    <a:pt x="4907" y="27853"/>
                  </a:lnTo>
                  <a:lnTo>
                    <a:pt x="4285" y="29063"/>
                  </a:lnTo>
                  <a:lnTo>
                    <a:pt x="3594" y="30307"/>
                  </a:lnTo>
                  <a:lnTo>
                    <a:pt x="2834" y="31551"/>
                  </a:lnTo>
                  <a:lnTo>
                    <a:pt x="1970" y="32795"/>
                  </a:lnTo>
                  <a:lnTo>
                    <a:pt x="1037" y="34073"/>
                  </a:lnTo>
                  <a:lnTo>
                    <a:pt x="0" y="35386"/>
                  </a:lnTo>
                  <a:lnTo>
                    <a:pt x="207" y="35628"/>
                  </a:lnTo>
                  <a:lnTo>
                    <a:pt x="449" y="35836"/>
                  </a:lnTo>
                  <a:lnTo>
                    <a:pt x="726" y="36008"/>
                  </a:lnTo>
                  <a:lnTo>
                    <a:pt x="1002" y="36181"/>
                  </a:lnTo>
                  <a:lnTo>
                    <a:pt x="1313" y="36319"/>
                  </a:lnTo>
                  <a:lnTo>
                    <a:pt x="1659" y="36423"/>
                  </a:lnTo>
                  <a:lnTo>
                    <a:pt x="2004" y="36527"/>
                  </a:lnTo>
                  <a:lnTo>
                    <a:pt x="2350" y="36596"/>
                  </a:lnTo>
                  <a:lnTo>
                    <a:pt x="3110" y="36734"/>
                  </a:lnTo>
                  <a:lnTo>
                    <a:pt x="3905" y="36803"/>
                  </a:lnTo>
                  <a:lnTo>
                    <a:pt x="4769" y="36838"/>
                  </a:lnTo>
                  <a:lnTo>
                    <a:pt x="8674" y="36838"/>
                  </a:lnTo>
                  <a:lnTo>
                    <a:pt x="9192" y="36872"/>
                  </a:lnTo>
                  <a:lnTo>
                    <a:pt x="9676" y="36941"/>
                  </a:lnTo>
                  <a:lnTo>
                    <a:pt x="10125" y="37011"/>
                  </a:lnTo>
                  <a:lnTo>
                    <a:pt x="10540" y="37080"/>
                  </a:lnTo>
                  <a:lnTo>
                    <a:pt x="10954" y="37218"/>
                  </a:lnTo>
                  <a:lnTo>
                    <a:pt x="11300" y="37356"/>
                  </a:lnTo>
                  <a:lnTo>
                    <a:pt x="11646" y="37529"/>
                  </a:lnTo>
                  <a:lnTo>
                    <a:pt x="12095" y="37702"/>
                  </a:lnTo>
                  <a:lnTo>
                    <a:pt x="12613" y="37874"/>
                  </a:lnTo>
                  <a:lnTo>
                    <a:pt x="13235" y="38047"/>
                  </a:lnTo>
                  <a:lnTo>
                    <a:pt x="13650" y="37080"/>
                  </a:lnTo>
                  <a:lnTo>
                    <a:pt x="14030" y="36078"/>
                  </a:lnTo>
                  <a:lnTo>
                    <a:pt x="14410" y="35075"/>
                  </a:lnTo>
                  <a:lnTo>
                    <a:pt x="14756" y="34004"/>
                  </a:lnTo>
                  <a:lnTo>
                    <a:pt x="15032" y="32933"/>
                  </a:lnTo>
                  <a:lnTo>
                    <a:pt x="15343" y="31827"/>
                  </a:lnTo>
                  <a:lnTo>
                    <a:pt x="15585" y="30721"/>
                  </a:lnTo>
                  <a:lnTo>
                    <a:pt x="15827" y="29581"/>
                  </a:lnTo>
                  <a:lnTo>
                    <a:pt x="16034" y="28406"/>
                  </a:lnTo>
                  <a:lnTo>
                    <a:pt x="16242" y="27231"/>
                  </a:lnTo>
                  <a:lnTo>
                    <a:pt x="16414" y="26056"/>
                  </a:lnTo>
                  <a:lnTo>
                    <a:pt x="16553" y="24847"/>
                  </a:lnTo>
                  <a:lnTo>
                    <a:pt x="16795" y="22428"/>
                  </a:lnTo>
                  <a:lnTo>
                    <a:pt x="16967" y="19974"/>
                  </a:lnTo>
                  <a:lnTo>
                    <a:pt x="17071" y="17521"/>
                  </a:lnTo>
                  <a:lnTo>
                    <a:pt x="17140" y="15033"/>
                  </a:lnTo>
                  <a:lnTo>
                    <a:pt x="17106" y="12614"/>
                  </a:lnTo>
                  <a:lnTo>
                    <a:pt x="17036" y="10195"/>
                  </a:lnTo>
                  <a:lnTo>
                    <a:pt x="16933" y="7810"/>
                  </a:lnTo>
                  <a:lnTo>
                    <a:pt x="16795" y="5495"/>
                  </a:lnTo>
                  <a:lnTo>
                    <a:pt x="16622" y="3283"/>
                  </a:lnTo>
                  <a:lnTo>
                    <a:pt x="16414" y="1141"/>
                  </a:lnTo>
                  <a:lnTo>
                    <a:pt x="15585" y="1072"/>
                  </a:lnTo>
                  <a:lnTo>
                    <a:pt x="14859" y="968"/>
                  </a:lnTo>
                  <a:lnTo>
                    <a:pt x="14203" y="865"/>
                  </a:lnTo>
                  <a:lnTo>
                    <a:pt x="13650" y="761"/>
                  </a:lnTo>
                  <a:lnTo>
                    <a:pt x="13235" y="588"/>
                  </a:lnTo>
                  <a:lnTo>
                    <a:pt x="13097" y="519"/>
                  </a:lnTo>
                  <a:lnTo>
                    <a:pt x="12959" y="415"/>
                  </a:lnTo>
                  <a:lnTo>
                    <a:pt x="12890" y="312"/>
                  </a:lnTo>
                  <a:lnTo>
                    <a:pt x="12855" y="208"/>
                  </a:lnTo>
                  <a:lnTo>
                    <a:pt x="12855" y="104"/>
                  </a:lnTo>
                  <a:lnTo>
                    <a:pt x="12890" y="1"/>
                  </a:lnTo>
                  <a:close/>
                </a:path>
              </a:pathLst>
            </a:custGeom>
            <a:solidFill>
              <a:srgbClr val="BD450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0" name="Google Shape;14276;p81">
              <a:extLst>
                <a:ext uri="{FF2B5EF4-FFF2-40B4-BE49-F238E27FC236}">
                  <a16:creationId xmlns:a16="http://schemas.microsoft.com/office/drawing/2014/main" id="{2B615A9D-282C-E4B4-5AC1-C1DF8D23C7E8}"/>
                </a:ext>
              </a:extLst>
            </p:cNvPr>
            <p:cNvSpPr/>
            <p:nvPr/>
          </p:nvSpPr>
          <p:spPr>
            <a:xfrm>
              <a:off x="785450" y="3273025"/>
              <a:ext cx="428525" cy="951200"/>
            </a:xfrm>
            <a:custGeom>
              <a:avLst/>
              <a:gdLst/>
              <a:ahLst/>
              <a:cxnLst/>
              <a:rect l="l" t="t" r="r" b="b"/>
              <a:pathLst>
                <a:path w="17141" h="38048" fill="none" extrusionOk="0">
                  <a:moveTo>
                    <a:pt x="12890" y="1"/>
                  </a:moveTo>
                  <a:lnTo>
                    <a:pt x="12890" y="1"/>
                  </a:lnTo>
                  <a:lnTo>
                    <a:pt x="12302" y="968"/>
                  </a:lnTo>
                  <a:lnTo>
                    <a:pt x="11784" y="1970"/>
                  </a:lnTo>
                  <a:lnTo>
                    <a:pt x="11335" y="2972"/>
                  </a:lnTo>
                  <a:lnTo>
                    <a:pt x="10920" y="3940"/>
                  </a:lnTo>
                  <a:lnTo>
                    <a:pt x="10574" y="4942"/>
                  </a:lnTo>
                  <a:lnTo>
                    <a:pt x="10263" y="5979"/>
                  </a:lnTo>
                  <a:lnTo>
                    <a:pt x="9987" y="6981"/>
                  </a:lnTo>
                  <a:lnTo>
                    <a:pt x="9710" y="7983"/>
                  </a:lnTo>
                  <a:lnTo>
                    <a:pt x="9503" y="9020"/>
                  </a:lnTo>
                  <a:lnTo>
                    <a:pt x="9296" y="10057"/>
                  </a:lnTo>
                  <a:lnTo>
                    <a:pt x="8950" y="12130"/>
                  </a:lnTo>
                  <a:lnTo>
                    <a:pt x="8639" y="14272"/>
                  </a:lnTo>
                  <a:lnTo>
                    <a:pt x="8294" y="16415"/>
                  </a:lnTo>
                  <a:lnTo>
                    <a:pt x="7914" y="18592"/>
                  </a:lnTo>
                  <a:lnTo>
                    <a:pt x="7672" y="19732"/>
                  </a:lnTo>
                  <a:lnTo>
                    <a:pt x="7430" y="20838"/>
                  </a:lnTo>
                  <a:lnTo>
                    <a:pt x="7119" y="21979"/>
                  </a:lnTo>
                  <a:lnTo>
                    <a:pt x="6773" y="23119"/>
                  </a:lnTo>
                  <a:lnTo>
                    <a:pt x="6393" y="24294"/>
                  </a:lnTo>
                  <a:lnTo>
                    <a:pt x="5944" y="25469"/>
                  </a:lnTo>
                  <a:lnTo>
                    <a:pt x="5460" y="26644"/>
                  </a:lnTo>
                  <a:lnTo>
                    <a:pt x="4907" y="27853"/>
                  </a:lnTo>
                  <a:lnTo>
                    <a:pt x="4285" y="29063"/>
                  </a:lnTo>
                  <a:lnTo>
                    <a:pt x="3594" y="30307"/>
                  </a:lnTo>
                  <a:lnTo>
                    <a:pt x="2834" y="31551"/>
                  </a:lnTo>
                  <a:lnTo>
                    <a:pt x="1970" y="32795"/>
                  </a:lnTo>
                  <a:lnTo>
                    <a:pt x="1037" y="34073"/>
                  </a:lnTo>
                  <a:lnTo>
                    <a:pt x="0" y="35386"/>
                  </a:lnTo>
                  <a:lnTo>
                    <a:pt x="0" y="35386"/>
                  </a:lnTo>
                  <a:lnTo>
                    <a:pt x="207" y="35628"/>
                  </a:lnTo>
                  <a:lnTo>
                    <a:pt x="449" y="35836"/>
                  </a:lnTo>
                  <a:lnTo>
                    <a:pt x="726" y="36008"/>
                  </a:lnTo>
                  <a:lnTo>
                    <a:pt x="1002" y="36181"/>
                  </a:lnTo>
                  <a:lnTo>
                    <a:pt x="1313" y="36319"/>
                  </a:lnTo>
                  <a:lnTo>
                    <a:pt x="1659" y="36423"/>
                  </a:lnTo>
                  <a:lnTo>
                    <a:pt x="2004" y="36527"/>
                  </a:lnTo>
                  <a:lnTo>
                    <a:pt x="2350" y="36596"/>
                  </a:lnTo>
                  <a:lnTo>
                    <a:pt x="3110" y="36734"/>
                  </a:lnTo>
                  <a:lnTo>
                    <a:pt x="3905" y="36803"/>
                  </a:lnTo>
                  <a:lnTo>
                    <a:pt x="4769" y="36838"/>
                  </a:lnTo>
                  <a:lnTo>
                    <a:pt x="5598" y="36838"/>
                  </a:lnTo>
                  <a:lnTo>
                    <a:pt x="5598" y="36838"/>
                  </a:lnTo>
                  <a:lnTo>
                    <a:pt x="6600" y="36838"/>
                  </a:lnTo>
                  <a:lnTo>
                    <a:pt x="6600" y="36838"/>
                  </a:lnTo>
                  <a:lnTo>
                    <a:pt x="7568" y="36838"/>
                  </a:lnTo>
                  <a:lnTo>
                    <a:pt x="7568" y="36838"/>
                  </a:lnTo>
                  <a:lnTo>
                    <a:pt x="8674" y="36838"/>
                  </a:lnTo>
                  <a:lnTo>
                    <a:pt x="9192" y="36872"/>
                  </a:lnTo>
                  <a:lnTo>
                    <a:pt x="9676" y="36941"/>
                  </a:lnTo>
                  <a:lnTo>
                    <a:pt x="10125" y="37011"/>
                  </a:lnTo>
                  <a:lnTo>
                    <a:pt x="10540" y="37080"/>
                  </a:lnTo>
                  <a:lnTo>
                    <a:pt x="10954" y="37218"/>
                  </a:lnTo>
                  <a:lnTo>
                    <a:pt x="11300" y="37356"/>
                  </a:lnTo>
                  <a:lnTo>
                    <a:pt x="11300" y="37356"/>
                  </a:lnTo>
                  <a:lnTo>
                    <a:pt x="11646" y="37529"/>
                  </a:lnTo>
                  <a:lnTo>
                    <a:pt x="12095" y="37702"/>
                  </a:lnTo>
                  <a:lnTo>
                    <a:pt x="12613" y="37874"/>
                  </a:lnTo>
                  <a:lnTo>
                    <a:pt x="13235" y="38047"/>
                  </a:lnTo>
                  <a:lnTo>
                    <a:pt x="13235" y="38047"/>
                  </a:lnTo>
                  <a:lnTo>
                    <a:pt x="13650" y="37080"/>
                  </a:lnTo>
                  <a:lnTo>
                    <a:pt x="14030" y="36078"/>
                  </a:lnTo>
                  <a:lnTo>
                    <a:pt x="14410" y="35075"/>
                  </a:lnTo>
                  <a:lnTo>
                    <a:pt x="14756" y="34004"/>
                  </a:lnTo>
                  <a:lnTo>
                    <a:pt x="15032" y="32933"/>
                  </a:lnTo>
                  <a:lnTo>
                    <a:pt x="15343" y="31827"/>
                  </a:lnTo>
                  <a:lnTo>
                    <a:pt x="15585" y="30721"/>
                  </a:lnTo>
                  <a:lnTo>
                    <a:pt x="15827" y="29581"/>
                  </a:lnTo>
                  <a:lnTo>
                    <a:pt x="16034" y="28406"/>
                  </a:lnTo>
                  <a:lnTo>
                    <a:pt x="16242" y="27231"/>
                  </a:lnTo>
                  <a:lnTo>
                    <a:pt x="16414" y="26056"/>
                  </a:lnTo>
                  <a:lnTo>
                    <a:pt x="16553" y="24847"/>
                  </a:lnTo>
                  <a:lnTo>
                    <a:pt x="16795" y="22428"/>
                  </a:lnTo>
                  <a:lnTo>
                    <a:pt x="16967" y="19974"/>
                  </a:lnTo>
                  <a:lnTo>
                    <a:pt x="17071" y="17521"/>
                  </a:lnTo>
                  <a:lnTo>
                    <a:pt x="17140" y="15033"/>
                  </a:lnTo>
                  <a:lnTo>
                    <a:pt x="17106" y="12614"/>
                  </a:lnTo>
                  <a:lnTo>
                    <a:pt x="17036" y="10195"/>
                  </a:lnTo>
                  <a:lnTo>
                    <a:pt x="16933" y="7810"/>
                  </a:lnTo>
                  <a:lnTo>
                    <a:pt x="16795" y="5495"/>
                  </a:lnTo>
                  <a:lnTo>
                    <a:pt x="16622" y="3283"/>
                  </a:lnTo>
                  <a:lnTo>
                    <a:pt x="16414" y="1141"/>
                  </a:lnTo>
                  <a:lnTo>
                    <a:pt x="16414" y="1141"/>
                  </a:lnTo>
                  <a:lnTo>
                    <a:pt x="16414" y="1141"/>
                  </a:lnTo>
                  <a:lnTo>
                    <a:pt x="15585" y="1072"/>
                  </a:lnTo>
                  <a:lnTo>
                    <a:pt x="14859" y="968"/>
                  </a:lnTo>
                  <a:lnTo>
                    <a:pt x="14203" y="865"/>
                  </a:lnTo>
                  <a:lnTo>
                    <a:pt x="13650" y="761"/>
                  </a:lnTo>
                  <a:lnTo>
                    <a:pt x="13235" y="588"/>
                  </a:lnTo>
                  <a:lnTo>
                    <a:pt x="13097" y="519"/>
                  </a:lnTo>
                  <a:lnTo>
                    <a:pt x="12959" y="415"/>
                  </a:lnTo>
                  <a:lnTo>
                    <a:pt x="12890" y="312"/>
                  </a:lnTo>
                  <a:lnTo>
                    <a:pt x="12855" y="208"/>
                  </a:lnTo>
                  <a:lnTo>
                    <a:pt x="12855" y="104"/>
                  </a:lnTo>
                  <a:lnTo>
                    <a:pt x="1289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1" name="Google Shape;14277;p81">
              <a:extLst>
                <a:ext uri="{FF2B5EF4-FFF2-40B4-BE49-F238E27FC236}">
                  <a16:creationId xmlns:a16="http://schemas.microsoft.com/office/drawing/2014/main" id="{5CA11CDC-DEAB-8DEF-721C-AEF7AC1A7150}"/>
                </a:ext>
              </a:extLst>
            </p:cNvPr>
            <p:cNvSpPr/>
            <p:nvPr/>
          </p:nvSpPr>
          <p:spPr>
            <a:xfrm>
              <a:off x="1106825" y="3095075"/>
              <a:ext cx="89000" cy="206475"/>
            </a:xfrm>
            <a:custGeom>
              <a:avLst/>
              <a:gdLst/>
              <a:ahLst/>
              <a:cxnLst/>
              <a:rect l="l" t="t" r="r" b="b"/>
              <a:pathLst>
                <a:path w="3560" h="8259" extrusionOk="0">
                  <a:moveTo>
                    <a:pt x="2488" y="0"/>
                  </a:moveTo>
                  <a:lnTo>
                    <a:pt x="2384" y="795"/>
                  </a:lnTo>
                  <a:lnTo>
                    <a:pt x="2246" y="1590"/>
                  </a:lnTo>
                  <a:lnTo>
                    <a:pt x="2039" y="2557"/>
                  </a:lnTo>
                  <a:lnTo>
                    <a:pt x="1762" y="3525"/>
                  </a:lnTo>
                  <a:lnTo>
                    <a:pt x="1417" y="4492"/>
                  </a:lnTo>
                  <a:lnTo>
                    <a:pt x="1037" y="5425"/>
                  </a:lnTo>
                  <a:lnTo>
                    <a:pt x="588" y="6255"/>
                  </a:lnTo>
                  <a:lnTo>
                    <a:pt x="346" y="6669"/>
                  </a:lnTo>
                  <a:lnTo>
                    <a:pt x="69" y="7050"/>
                  </a:lnTo>
                  <a:lnTo>
                    <a:pt x="35" y="7119"/>
                  </a:lnTo>
                  <a:lnTo>
                    <a:pt x="0" y="7222"/>
                  </a:lnTo>
                  <a:lnTo>
                    <a:pt x="0" y="7326"/>
                  </a:lnTo>
                  <a:lnTo>
                    <a:pt x="35" y="7430"/>
                  </a:lnTo>
                  <a:lnTo>
                    <a:pt x="104" y="7533"/>
                  </a:lnTo>
                  <a:lnTo>
                    <a:pt x="242" y="7637"/>
                  </a:lnTo>
                  <a:lnTo>
                    <a:pt x="380" y="7706"/>
                  </a:lnTo>
                  <a:lnTo>
                    <a:pt x="795" y="7879"/>
                  </a:lnTo>
                  <a:lnTo>
                    <a:pt x="1348" y="7983"/>
                  </a:lnTo>
                  <a:lnTo>
                    <a:pt x="2004" y="8086"/>
                  </a:lnTo>
                  <a:lnTo>
                    <a:pt x="2730" y="8190"/>
                  </a:lnTo>
                  <a:lnTo>
                    <a:pt x="3559" y="8259"/>
                  </a:lnTo>
                  <a:lnTo>
                    <a:pt x="3387" y="6428"/>
                  </a:lnTo>
                  <a:lnTo>
                    <a:pt x="3179" y="4700"/>
                  </a:lnTo>
                  <a:lnTo>
                    <a:pt x="2834" y="2212"/>
                  </a:lnTo>
                  <a:lnTo>
                    <a:pt x="2488" y="0"/>
                  </a:lnTo>
                  <a:close/>
                </a:path>
              </a:pathLst>
            </a:custGeom>
            <a:solidFill>
              <a:srgbClr val="E6A50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2" name="Google Shape;14278;p81">
              <a:extLst>
                <a:ext uri="{FF2B5EF4-FFF2-40B4-BE49-F238E27FC236}">
                  <a16:creationId xmlns:a16="http://schemas.microsoft.com/office/drawing/2014/main" id="{388FB0CC-E803-1954-1C7A-8BA80B5DBC99}"/>
                </a:ext>
              </a:extLst>
            </p:cNvPr>
            <p:cNvSpPr/>
            <p:nvPr/>
          </p:nvSpPr>
          <p:spPr>
            <a:xfrm>
              <a:off x="1106825" y="3095075"/>
              <a:ext cx="89000" cy="206475"/>
            </a:xfrm>
            <a:custGeom>
              <a:avLst/>
              <a:gdLst/>
              <a:ahLst/>
              <a:cxnLst/>
              <a:rect l="l" t="t" r="r" b="b"/>
              <a:pathLst>
                <a:path w="3560" h="8259" fill="none" extrusionOk="0">
                  <a:moveTo>
                    <a:pt x="2488" y="0"/>
                  </a:moveTo>
                  <a:lnTo>
                    <a:pt x="2488" y="0"/>
                  </a:lnTo>
                  <a:lnTo>
                    <a:pt x="2384" y="795"/>
                  </a:lnTo>
                  <a:lnTo>
                    <a:pt x="2246" y="1590"/>
                  </a:lnTo>
                  <a:lnTo>
                    <a:pt x="2246" y="1590"/>
                  </a:lnTo>
                  <a:lnTo>
                    <a:pt x="2039" y="2557"/>
                  </a:lnTo>
                  <a:lnTo>
                    <a:pt x="1762" y="3525"/>
                  </a:lnTo>
                  <a:lnTo>
                    <a:pt x="1762" y="3525"/>
                  </a:lnTo>
                  <a:lnTo>
                    <a:pt x="1417" y="4492"/>
                  </a:lnTo>
                  <a:lnTo>
                    <a:pt x="1037" y="5425"/>
                  </a:lnTo>
                  <a:lnTo>
                    <a:pt x="588" y="6255"/>
                  </a:lnTo>
                  <a:lnTo>
                    <a:pt x="346" y="6669"/>
                  </a:lnTo>
                  <a:lnTo>
                    <a:pt x="69" y="7050"/>
                  </a:lnTo>
                  <a:lnTo>
                    <a:pt x="69" y="7050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0" y="7222"/>
                  </a:lnTo>
                  <a:lnTo>
                    <a:pt x="0" y="7326"/>
                  </a:lnTo>
                  <a:lnTo>
                    <a:pt x="35" y="7430"/>
                  </a:lnTo>
                  <a:lnTo>
                    <a:pt x="104" y="7533"/>
                  </a:lnTo>
                  <a:lnTo>
                    <a:pt x="242" y="7637"/>
                  </a:lnTo>
                  <a:lnTo>
                    <a:pt x="380" y="7706"/>
                  </a:lnTo>
                  <a:lnTo>
                    <a:pt x="795" y="7879"/>
                  </a:lnTo>
                  <a:lnTo>
                    <a:pt x="1348" y="7983"/>
                  </a:lnTo>
                  <a:lnTo>
                    <a:pt x="2004" y="8086"/>
                  </a:lnTo>
                  <a:lnTo>
                    <a:pt x="2730" y="8190"/>
                  </a:lnTo>
                  <a:lnTo>
                    <a:pt x="3559" y="8259"/>
                  </a:lnTo>
                  <a:lnTo>
                    <a:pt x="3559" y="8259"/>
                  </a:lnTo>
                  <a:lnTo>
                    <a:pt x="3387" y="6428"/>
                  </a:lnTo>
                  <a:lnTo>
                    <a:pt x="3179" y="4700"/>
                  </a:lnTo>
                  <a:lnTo>
                    <a:pt x="3179" y="4700"/>
                  </a:lnTo>
                  <a:lnTo>
                    <a:pt x="2834" y="2212"/>
                  </a:lnTo>
                  <a:lnTo>
                    <a:pt x="24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3" name="Google Shape;14279;p81">
              <a:extLst>
                <a:ext uri="{FF2B5EF4-FFF2-40B4-BE49-F238E27FC236}">
                  <a16:creationId xmlns:a16="http://schemas.microsoft.com/office/drawing/2014/main" id="{543CECE9-251B-EB9C-1CE2-215793AF1454}"/>
                </a:ext>
              </a:extLst>
            </p:cNvPr>
            <p:cNvSpPr/>
            <p:nvPr/>
          </p:nvSpPr>
          <p:spPr>
            <a:xfrm>
              <a:off x="1180250" y="2334825"/>
              <a:ext cx="218600" cy="170200"/>
            </a:xfrm>
            <a:custGeom>
              <a:avLst/>
              <a:gdLst/>
              <a:ahLst/>
              <a:cxnLst/>
              <a:rect l="l" t="t" r="r" b="b"/>
              <a:pathLst>
                <a:path w="8744" h="6808" extrusionOk="0">
                  <a:moveTo>
                    <a:pt x="4389" y="0"/>
                  </a:moveTo>
                  <a:lnTo>
                    <a:pt x="0" y="2316"/>
                  </a:lnTo>
                  <a:lnTo>
                    <a:pt x="622" y="3076"/>
                  </a:lnTo>
                  <a:lnTo>
                    <a:pt x="2316" y="5253"/>
                  </a:lnTo>
                  <a:lnTo>
                    <a:pt x="2592" y="5599"/>
                  </a:lnTo>
                  <a:lnTo>
                    <a:pt x="2869" y="5875"/>
                  </a:lnTo>
                  <a:lnTo>
                    <a:pt x="3180" y="6117"/>
                  </a:lnTo>
                  <a:lnTo>
                    <a:pt x="3491" y="6324"/>
                  </a:lnTo>
                  <a:lnTo>
                    <a:pt x="3836" y="6497"/>
                  </a:lnTo>
                  <a:lnTo>
                    <a:pt x="4182" y="6635"/>
                  </a:lnTo>
                  <a:lnTo>
                    <a:pt x="4527" y="6739"/>
                  </a:lnTo>
                  <a:lnTo>
                    <a:pt x="4907" y="6773"/>
                  </a:lnTo>
                  <a:lnTo>
                    <a:pt x="5288" y="6808"/>
                  </a:lnTo>
                  <a:lnTo>
                    <a:pt x="6048" y="6808"/>
                  </a:lnTo>
                  <a:lnTo>
                    <a:pt x="6428" y="6739"/>
                  </a:lnTo>
                  <a:lnTo>
                    <a:pt x="6843" y="6670"/>
                  </a:lnTo>
                  <a:lnTo>
                    <a:pt x="7223" y="6601"/>
                  </a:lnTo>
                  <a:lnTo>
                    <a:pt x="8017" y="6359"/>
                  </a:lnTo>
                  <a:lnTo>
                    <a:pt x="8225" y="6290"/>
                  </a:lnTo>
                  <a:lnTo>
                    <a:pt x="8363" y="6186"/>
                  </a:lnTo>
                  <a:lnTo>
                    <a:pt x="8501" y="6082"/>
                  </a:lnTo>
                  <a:lnTo>
                    <a:pt x="8605" y="5979"/>
                  </a:lnTo>
                  <a:lnTo>
                    <a:pt x="8674" y="5875"/>
                  </a:lnTo>
                  <a:lnTo>
                    <a:pt x="8709" y="5737"/>
                  </a:lnTo>
                  <a:lnTo>
                    <a:pt x="8743" y="5599"/>
                  </a:lnTo>
                  <a:lnTo>
                    <a:pt x="8743" y="5460"/>
                  </a:lnTo>
                  <a:lnTo>
                    <a:pt x="8674" y="5149"/>
                  </a:lnTo>
                  <a:lnTo>
                    <a:pt x="8570" y="4838"/>
                  </a:lnTo>
                  <a:lnTo>
                    <a:pt x="8398" y="4493"/>
                  </a:lnTo>
                  <a:lnTo>
                    <a:pt x="8190" y="4182"/>
                  </a:lnTo>
                  <a:lnTo>
                    <a:pt x="7776" y="3525"/>
                  </a:lnTo>
                  <a:lnTo>
                    <a:pt x="7361" y="2938"/>
                  </a:lnTo>
                  <a:lnTo>
                    <a:pt x="7188" y="2696"/>
                  </a:lnTo>
                  <a:lnTo>
                    <a:pt x="7084" y="2488"/>
                  </a:lnTo>
                  <a:lnTo>
                    <a:pt x="7050" y="2316"/>
                  </a:lnTo>
                  <a:lnTo>
                    <a:pt x="7050" y="2247"/>
                  </a:lnTo>
                  <a:lnTo>
                    <a:pt x="7084" y="2212"/>
                  </a:lnTo>
                  <a:lnTo>
                    <a:pt x="7154" y="2108"/>
                  </a:lnTo>
                  <a:lnTo>
                    <a:pt x="7188" y="2005"/>
                  </a:lnTo>
                  <a:lnTo>
                    <a:pt x="7154" y="1901"/>
                  </a:lnTo>
                  <a:lnTo>
                    <a:pt x="7119" y="1797"/>
                  </a:lnTo>
                  <a:lnTo>
                    <a:pt x="7050" y="1728"/>
                  </a:lnTo>
                  <a:lnTo>
                    <a:pt x="6912" y="1625"/>
                  </a:lnTo>
                  <a:lnTo>
                    <a:pt x="6566" y="1417"/>
                  </a:lnTo>
                  <a:lnTo>
                    <a:pt x="5633" y="864"/>
                  </a:lnTo>
                  <a:lnTo>
                    <a:pt x="5011" y="484"/>
                  </a:lnTo>
                  <a:lnTo>
                    <a:pt x="4389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4" name="Google Shape;14280;p81">
              <a:extLst>
                <a:ext uri="{FF2B5EF4-FFF2-40B4-BE49-F238E27FC236}">
                  <a16:creationId xmlns:a16="http://schemas.microsoft.com/office/drawing/2014/main" id="{8A7FF8B3-65CC-CB7C-B7AF-998F8BC106A4}"/>
                </a:ext>
              </a:extLst>
            </p:cNvPr>
            <p:cNvSpPr/>
            <p:nvPr/>
          </p:nvSpPr>
          <p:spPr>
            <a:xfrm>
              <a:off x="836400" y="2294225"/>
              <a:ext cx="466550" cy="533925"/>
            </a:xfrm>
            <a:custGeom>
              <a:avLst/>
              <a:gdLst/>
              <a:ahLst/>
              <a:cxnLst/>
              <a:rect l="l" t="t" r="r" b="b"/>
              <a:pathLst>
                <a:path w="18662" h="21357" extrusionOk="0">
                  <a:moveTo>
                    <a:pt x="15206" y="0"/>
                  </a:moveTo>
                  <a:lnTo>
                    <a:pt x="14826" y="35"/>
                  </a:lnTo>
                  <a:lnTo>
                    <a:pt x="14446" y="104"/>
                  </a:lnTo>
                  <a:lnTo>
                    <a:pt x="14031" y="208"/>
                  </a:lnTo>
                  <a:lnTo>
                    <a:pt x="13616" y="311"/>
                  </a:lnTo>
                  <a:lnTo>
                    <a:pt x="13167" y="484"/>
                  </a:lnTo>
                  <a:lnTo>
                    <a:pt x="12683" y="691"/>
                  </a:lnTo>
                  <a:lnTo>
                    <a:pt x="12338" y="864"/>
                  </a:lnTo>
                  <a:lnTo>
                    <a:pt x="12027" y="1037"/>
                  </a:lnTo>
                  <a:lnTo>
                    <a:pt x="11750" y="1244"/>
                  </a:lnTo>
                  <a:lnTo>
                    <a:pt x="11508" y="1486"/>
                  </a:lnTo>
                  <a:lnTo>
                    <a:pt x="11266" y="1763"/>
                  </a:lnTo>
                  <a:lnTo>
                    <a:pt x="11059" y="2005"/>
                  </a:lnTo>
                  <a:lnTo>
                    <a:pt x="10886" y="2316"/>
                  </a:lnTo>
                  <a:lnTo>
                    <a:pt x="10713" y="2592"/>
                  </a:lnTo>
                  <a:lnTo>
                    <a:pt x="10575" y="2903"/>
                  </a:lnTo>
                  <a:lnTo>
                    <a:pt x="10472" y="3249"/>
                  </a:lnTo>
                  <a:lnTo>
                    <a:pt x="10264" y="3905"/>
                  </a:lnTo>
                  <a:lnTo>
                    <a:pt x="10126" y="4596"/>
                  </a:lnTo>
                  <a:lnTo>
                    <a:pt x="10022" y="5287"/>
                  </a:lnTo>
                  <a:lnTo>
                    <a:pt x="9953" y="5978"/>
                  </a:lnTo>
                  <a:lnTo>
                    <a:pt x="9919" y="6635"/>
                  </a:lnTo>
                  <a:lnTo>
                    <a:pt x="9850" y="7810"/>
                  </a:lnTo>
                  <a:lnTo>
                    <a:pt x="9815" y="8328"/>
                  </a:lnTo>
                  <a:lnTo>
                    <a:pt x="9780" y="8778"/>
                  </a:lnTo>
                  <a:lnTo>
                    <a:pt x="9711" y="9123"/>
                  </a:lnTo>
                  <a:lnTo>
                    <a:pt x="9677" y="9227"/>
                  </a:lnTo>
                  <a:lnTo>
                    <a:pt x="9608" y="9330"/>
                  </a:lnTo>
                  <a:lnTo>
                    <a:pt x="9469" y="9503"/>
                  </a:lnTo>
                  <a:lnTo>
                    <a:pt x="9331" y="9641"/>
                  </a:lnTo>
                  <a:lnTo>
                    <a:pt x="9193" y="9745"/>
                  </a:lnTo>
                  <a:lnTo>
                    <a:pt x="9055" y="9849"/>
                  </a:lnTo>
                  <a:lnTo>
                    <a:pt x="8709" y="9987"/>
                  </a:lnTo>
                  <a:lnTo>
                    <a:pt x="8329" y="10091"/>
                  </a:lnTo>
                  <a:lnTo>
                    <a:pt x="7811" y="10263"/>
                  </a:lnTo>
                  <a:lnTo>
                    <a:pt x="7154" y="10505"/>
                  </a:lnTo>
                  <a:lnTo>
                    <a:pt x="6359" y="10885"/>
                  </a:lnTo>
                  <a:lnTo>
                    <a:pt x="5357" y="11438"/>
                  </a:lnTo>
                  <a:lnTo>
                    <a:pt x="4873" y="11749"/>
                  </a:lnTo>
                  <a:lnTo>
                    <a:pt x="4493" y="12095"/>
                  </a:lnTo>
                  <a:lnTo>
                    <a:pt x="4217" y="12406"/>
                  </a:lnTo>
                  <a:lnTo>
                    <a:pt x="4044" y="12717"/>
                  </a:lnTo>
                  <a:lnTo>
                    <a:pt x="3940" y="13028"/>
                  </a:lnTo>
                  <a:lnTo>
                    <a:pt x="3906" y="13339"/>
                  </a:lnTo>
                  <a:lnTo>
                    <a:pt x="3906" y="13650"/>
                  </a:lnTo>
                  <a:lnTo>
                    <a:pt x="3975" y="13926"/>
                  </a:lnTo>
                  <a:lnTo>
                    <a:pt x="4148" y="14479"/>
                  </a:lnTo>
                  <a:lnTo>
                    <a:pt x="4286" y="14998"/>
                  </a:lnTo>
                  <a:lnTo>
                    <a:pt x="4355" y="15205"/>
                  </a:lnTo>
                  <a:lnTo>
                    <a:pt x="4355" y="15447"/>
                  </a:lnTo>
                  <a:lnTo>
                    <a:pt x="4286" y="15620"/>
                  </a:lnTo>
                  <a:lnTo>
                    <a:pt x="4182" y="15793"/>
                  </a:lnTo>
                  <a:lnTo>
                    <a:pt x="4044" y="15931"/>
                  </a:lnTo>
                  <a:lnTo>
                    <a:pt x="3906" y="16034"/>
                  </a:lnTo>
                  <a:lnTo>
                    <a:pt x="3595" y="16207"/>
                  </a:lnTo>
                  <a:lnTo>
                    <a:pt x="3318" y="16276"/>
                  </a:lnTo>
                  <a:lnTo>
                    <a:pt x="3007" y="16345"/>
                  </a:lnTo>
                  <a:lnTo>
                    <a:pt x="2662" y="16415"/>
                  </a:lnTo>
                  <a:lnTo>
                    <a:pt x="2351" y="16553"/>
                  </a:lnTo>
                  <a:lnTo>
                    <a:pt x="2005" y="16726"/>
                  </a:lnTo>
                  <a:lnTo>
                    <a:pt x="1832" y="16864"/>
                  </a:lnTo>
                  <a:lnTo>
                    <a:pt x="1625" y="17037"/>
                  </a:lnTo>
                  <a:lnTo>
                    <a:pt x="1280" y="17451"/>
                  </a:lnTo>
                  <a:lnTo>
                    <a:pt x="934" y="17935"/>
                  </a:lnTo>
                  <a:lnTo>
                    <a:pt x="588" y="18453"/>
                  </a:lnTo>
                  <a:lnTo>
                    <a:pt x="347" y="19006"/>
                  </a:lnTo>
                  <a:lnTo>
                    <a:pt x="139" y="19525"/>
                  </a:lnTo>
                  <a:lnTo>
                    <a:pt x="70" y="19766"/>
                  </a:lnTo>
                  <a:lnTo>
                    <a:pt x="36" y="20008"/>
                  </a:lnTo>
                  <a:lnTo>
                    <a:pt x="1" y="20250"/>
                  </a:lnTo>
                  <a:lnTo>
                    <a:pt x="1" y="20423"/>
                  </a:lnTo>
                  <a:lnTo>
                    <a:pt x="70" y="20596"/>
                  </a:lnTo>
                  <a:lnTo>
                    <a:pt x="139" y="20769"/>
                  </a:lnTo>
                  <a:lnTo>
                    <a:pt x="277" y="20941"/>
                  </a:lnTo>
                  <a:lnTo>
                    <a:pt x="519" y="21080"/>
                  </a:lnTo>
                  <a:lnTo>
                    <a:pt x="796" y="21183"/>
                  </a:lnTo>
                  <a:lnTo>
                    <a:pt x="1107" y="21252"/>
                  </a:lnTo>
                  <a:lnTo>
                    <a:pt x="1521" y="21322"/>
                  </a:lnTo>
                  <a:lnTo>
                    <a:pt x="1936" y="21356"/>
                  </a:lnTo>
                  <a:lnTo>
                    <a:pt x="2420" y="21356"/>
                  </a:lnTo>
                  <a:lnTo>
                    <a:pt x="2938" y="21322"/>
                  </a:lnTo>
                  <a:lnTo>
                    <a:pt x="3491" y="21252"/>
                  </a:lnTo>
                  <a:lnTo>
                    <a:pt x="4079" y="21149"/>
                  </a:lnTo>
                  <a:lnTo>
                    <a:pt x="4701" y="21045"/>
                  </a:lnTo>
                  <a:lnTo>
                    <a:pt x="5323" y="20872"/>
                  </a:lnTo>
                  <a:lnTo>
                    <a:pt x="6014" y="20700"/>
                  </a:lnTo>
                  <a:lnTo>
                    <a:pt x="6670" y="20492"/>
                  </a:lnTo>
                  <a:lnTo>
                    <a:pt x="7361" y="20285"/>
                  </a:lnTo>
                  <a:lnTo>
                    <a:pt x="8087" y="20008"/>
                  </a:lnTo>
                  <a:lnTo>
                    <a:pt x="8778" y="19732"/>
                  </a:lnTo>
                  <a:lnTo>
                    <a:pt x="9469" y="19386"/>
                  </a:lnTo>
                  <a:lnTo>
                    <a:pt x="10195" y="19041"/>
                  </a:lnTo>
                  <a:lnTo>
                    <a:pt x="10886" y="18695"/>
                  </a:lnTo>
                  <a:lnTo>
                    <a:pt x="11577" y="18281"/>
                  </a:lnTo>
                  <a:lnTo>
                    <a:pt x="12268" y="17866"/>
                  </a:lnTo>
                  <a:lnTo>
                    <a:pt x="12925" y="17382"/>
                  </a:lnTo>
                  <a:lnTo>
                    <a:pt x="13547" y="16898"/>
                  </a:lnTo>
                  <a:lnTo>
                    <a:pt x="14135" y="16415"/>
                  </a:lnTo>
                  <a:lnTo>
                    <a:pt x="14687" y="15965"/>
                  </a:lnTo>
                  <a:lnTo>
                    <a:pt x="15171" y="15481"/>
                  </a:lnTo>
                  <a:lnTo>
                    <a:pt x="15620" y="15067"/>
                  </a:lnTo>
                  <a:lnTo>
                    <a:pt x="16001" y="14652"/>
                  </a:lnTo>
                  <a:lnTo>
                    <a:pt x="16346" y="14237"/>
                  </a:lnTo>
                  <a:lnTo>
                    <a:pt x="16657" y="13857"/>
                  </a:lnTo>
                  <a:lnTo>
                    <a:pt x="16899" y="13477"/>
                  </a:lnTo>
                  <a:lnTo>
                    <a:pt x="17141" y="13132"/>
                  </a:lnTo>
                  <a:lnTo>
                    <a:pt x="17314" y="12786"/>
                  </a:lnTo>
                  <a:lnTo>
                    <a:pt x="17486" y="12441"/>
                  </a:lnTo>
                  <a:lnTo>
                    <a:pt x="17590" y="12130"/>
                  </a:lnTo>
                  <a:lnTo>
                    <a:pt x="17694" y="11819"/>
                  </a:lnTo>
                  <a:lnTo>
                    <a:pt x="17763" y="11542"/>
                  </a:lnTo>
                  <a:lnTo>
                    <a:pt x="17797" y="11266"/>
                  </a:lnTo>
                  <a:lnTo>
                    <a:pt x="17797" y="10989"/>
                  </a:lnTo>
                  <a:lnTo>
                    <a:pt x="17797" y="10471"/>
                  </a:lnTo>
                  <a:lnTo>
                    <a:pt x="17728" y="10022"/>
                  </a:lnTo>
                  <a:lnTo>
                    <a:pt x="17625" y="9607"/>
                  </a:lnTo>
                  <a:lnTo>
                    <a:pt x="17486" y="9192"/>
                  </a:lnTo>
                  <a:lnTo>
                    <a:pt x="17279" y="8501"/>
                  </a:lnTo>
                  <a:lnTo>
                    <a:pt x="17210" y="8156"/>
                  </a:lnTo>
                  <a:lnTo>
                    <a:pt x="17210" y="7879"/>
                  </a:lnTo>
                  <a:lnTo>
                    <a:pt x="17210" y="7706"/>
                  </a:lnTo>
                  <a:lnTo>
                    <a:pt x="17175" y="7534"/>
                  </a:lnTo>
                  <a:lnTo>
                    <a:pt x="17106" y="7223"/>
                  </a:lnTo>
                  <a:lnTo>
                    <a:pt x="17037" y="7050"/>
                  </a:lnTo>
                  <a:lnTo>
                    <a:pt x="16934" y="6912"/>
                  </a:lnTo>
                  <a:lnTo>
                    <a:pt x="16830" y="6808"/>
                  </a:lnTo>
                  <a:lnTo>
                    <a:pt x="16692" y="6704"/>
                  </a:lnTo>
                  <a:lnTo>
                    <a:pt x="16277" y="6497"/>
                  </a:lnTo>
                  <a:lnTo>
                    <a:pt x="16070" y="6359"/>
                  </a:lnTo>
                  <a:lnTo>
                    <a:pt x="15897" y="6220"/>
                  </a:lnTo>
                  <a:lnTo>
                    <a:pt x="15724" y="6082"/>
                  </a:lnTo>
                  <a:lnTo>
                    <a:pt x="15655" y="5909"/>
                  </a:lnTo>
                  <a:lnTo>
                    <a:pt x="15620" y="5806"/>
                  </a:lnTo>
                  <a:lnTo>
                    <a:pt x="15620" y="5702"/>
                  </a:lnTo>
                  <a:lnTo>
                    <a:pt x="15655" y="5598"/>
                  </a:lnTo>
                  <a:lnTo>
                    <a:pt x="15724" y="5495"/>
                  </a:lnTo>
                  <a:lnTo>
                    <a:pt x="15828" y="5322"/>
                  </a:lnTo>
                  <a:lnTo>
                    <a:pt x="15966" y="5184"/>
                  </a:lnTo>
                  <a:lnTo>
                    <a:pt x="16104" y="5080"/>
                  </a:lnTo>
                  <a:lnTo>
                    <a:pt x="16242" y="5011"/>
                  </a:lnTo>
                  <a:lnTo>
                    <a:pt x="16415" y="4942"/>
                  </a:lnTo>
                  <a:lnTo>
                    <a:pt x="16553" y="4942"/>
                  </a:lnTo>
                  <a:lnTo>
                    <a:pt x="16692" y="4976"/>
                  </a:lnTo>
                  <a:lnTo>
                    <a:pt x="16830" y="5011"/>
                  </a:lnTo>
                  <a:lnTo>
                    <a:pt x="16934" y="5080"/>
                  </a:lnTo>
                  <a:lnTo>
                    <a:pt x="17072" y="5080"/>
                  </a:lnTo>
                  <a:lnTo>
                    <a:pt x="17210" y="5045"/>
                  </a:lnTo>
                  <a:lnTo>
                    <a:pt x="17383" y="5011"/>
                  </a:lnTo>
                  <a:lnTo>
                    <a:pt x="17521" y="4942"/>
                  </a:lnTo>
                  <a:lnTo>
                    <a:pt x="17625" y="4873"/>
                  </a:lnTo>
                  <a:lnTo>
                    <a:pt x="17728" y="4769"/>
                  </a:lnTo>
                  <a:lnTo>
                    <a:pt x="17763" y="4631"/>
                  </a:lnTo>
                  <a:lnTo>
                    <a:pt x="17867" y="4389"/>
                  </a:lnTo>
                  <a:lnTo>
                    <a:pt x="17970" y="4147"/>
                  </a:lnTo>
                  <a:lnTo>
                    <a:pt x="18247" y="3490"/>
                  </a:lnTo>
                  <a:lnTo>
                    <a:pt x="18419" y="3110"/>
                  </a:lnTo>
                  <a:lnTo>
                    <a:pt x="18523" y="2730"/>
                  </a:lnTo>
                  <a:lnTo>
                    <a:pt x="18627" y="2281"/>
                  </a:lnTo>
                  <a:lnTo>
                    <a:pt x="18661" y="1797"/>
                  </a:lnTo>
                  <a:lnTo>
                    <a:pt x="18661" y="1659"/>
                  </a:lnTo>
                  <a:lnTo>
                    <a:pt x="18592" y="1486"/>
                  </a:lnTo>
                  <a:lnTo>
                    <a:pt x="18489" y="1279"/>
                  </a:lnTo>
                  <a:lnTo>
                    <a:pt x="18350" y="1106"/>
                  </a:lnTo>
                  <a:lnTo>
                    <a:pt x="18039" y="795"/>
                  </a:lnTo>
                  <a:lnTo>
                    <a:pt x="17728" y="588"/>
                  </a:lnTo>
                  <a:lnTo>
                    <a:pt x="17383" y="380"/>
                  </a:lnTo>
                  <a:lnTo>
                    <a:pt x="16968" y="242"/>
                  </a:lnTo>
                  <a:lnTo>
                    <a:pt x="16484" y="104"/>
                  </a:lnTo>
                  <a:lnTo>
                    <a:pt x="158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5" name="Google Shape;14281;p81">
              <a:extLst>
                <a:ext uri="{FF2B5EF4-FFF2-40B4-BE49-F238E27FC236}">
                  <a16:creationId xmlns:a16="http://schemas.microsoft.com/office/drawing/2014/main" id="{42005124-BDEF-B8DB-6589-10691B594CD7}"/>
                </a:ext>
              </a:extLst>
            </p:cNvPr>
            <p:cNvSpPr/>
            <p:nvPr/>
          </p:nvSpPr>
          <p:spPr>
            <a:xfrm>
              <a:off x="5011675" y="5126125"/>
              <a:ext cx="203925" cy="344725"/>
            </a:xfrm>
            <a:custGeom>
              <a:avLst/>
              <a:gdLst/>
              <a:ahLst/>
              <a:cxnLst/>
              <a:rect l="l" t="t" r="r" b="b"/>
              <a:pathLst>
                <a:path w="8157" h="13789" extrusionOk="0">
                  <a:moveTo>
                    <a:pt x="1003" y="0"/>
                  </a:moveTo>
                  <a:lnTo>
                    <a:pt x="1" y="9849"/>
                  </a:lnTo>
                  <a:lnTo>
                    <a:pt x="1" y="10229"/>
                  </a:lnTo>
                  <a:lnTo>
                    <a:pt x="1" y="10574"/>
                  </a:lnTo>
                  <a:lnTo>
                    <a:pt x="70" y="10920"/>
                  </a:lnTo>
                  <a:lnTo>
                    <a:pt x="139" y="11265"/>
                  </a:lnTo>
                  <a:lnTo>
                    <a:pt x="277" y="11611"/>
                  </a:lnTo>
                  <a:lnTo>
                    <a:pt x="416" y="11922"/>
                  </a:lnTo>
                  <a:lnTo>
                    <a:pt x="588" y="12199"/>
                  </a:lnTo>
                  <a:lnTo>
                    <a:pt x="796" y="12475"/>
                  </a:lnTo>
                  <a:lnTo>
                    <a:pt x="1038" y="12751"/>
                  </a:lnTo>
                  <a:lnTo>
                    <a:pt x="1280" y="12959"/>
                  </a:lnTo>
                  <a:lnTo>
                    <a:pt x="1556" y="13166"/>
                  </a:lnTo>
                  <a:lnTo>
                    <a:pt x="1867" y="13373"/>
                  </a:lnTo>
                  <a:lnTo>
                    <a:pt x="2178" y="13512"/>
                  </a:lnTo>
                  <a:lnTo>
                    <a:pt x="2524" y="13650"/>
                  </a:lnTo>
                  <a:lnTo>
                    <a:pt x="2869" y="13719"/>
                  </a:lnTo>
                  <a:lnTo>
                    <a:pt x="3215" y="13788"/>
                  </a:lnTo>
                  <a:lnTo>
                    <a:pt x="3975" y="13788"/>
                  </a:lnTo>
                  <a:lnTo>
                    <a:pt x="4320" y="13719"/>
                  </a:lnTo>
                  <a:lnTo>
                    <a:pt x="4666" y="13650"/>
                  </a:lnTo>
                  <a:lnTo>
                    <a:pt x="4977" y="13512"/>
                  </a:lnTo>
                  <a:lnTo>
                    <a:pt x="5288" y="13373"/>
                  </a:lnTo>
                  <a:lnTo>
                    <a:pt x="5599" y="13201"/>
                  </a:lnTo>
                  <a:lnTo>
                    <a:pt x="5876" y="12993"/>
                  </a:lnTo>
                  <a:lnTo>
                    <a:pt x="6117" y="12751"/>
                  </a:lnTo>
                  <a:lnTo>
                    <a:pt x="6359" y="12510"/>
                  </a:lnTo>
                  <a:lnTo>
                    <a:pt x="6567" y="12233"/>
                  </a:lnTo>
                  <a:lnTo>
                    <a:pt x="6739" y="11922"/>
                  </a:lnTo>
                  <a:lnTo>
                    <a:pt x="6878" y="11611"/>
                  </a:lnTo>
                  <a:lnTo>
                    <a:pt x="7016" y="11300"/>
                  </a:lnTo>
                  <a:lnTo>
                    <a:pt x="7120" y="10954"/>
                  </a:lnTo>
                  <a:lnTo>
                    <a:pt x="7154" y="10574"/>
                  </a:lnTo>
                  <a:lnTo>
                    <a:pt x="8156" y="726"/>
                  </a:lnTo>
                  <a:lnTo>
                    <a:pt x="100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6" name="Google Shape;14282;p81">
              <a:extLst>
                <a:ext uri="{FF2B5EF4-FFF2-40B4-BE49-F238E27FC236}">
                  <a16:creationId xmlns:a16="http://schemas.microsoft.com/office/drawing/2014/main" id="{DCC639BC-6746-E353-1452-6790F59AFB1E}"/>
                </a:ext>
              </a:extLst>
            </p:cNvPr>
            <p:cNvSpPr/>
            <p:nvPr/>
          </p:nvSpPr>
          <p:spPr>
            <a:xfrm>
              <a:off x="5011675" y="5126125"/>
              <a:ext cx="203925" cy="344725"/>
            </a:xfrm>
            <a:custGeom>
              <a:avLst/>
              <a:gdLst/>
              <a:ahLst/>
              <a:cxnLst/>
              <a:rect l="l" t="t" r="r" b="b"/>
              <a:pathLst>
                <a:path w="8157" h="13789" fill="none" extrusionOk="0">
                  <a:moveTo>
                    <a:pt x="1003" y="0"/>
                  </a:moveTo>
                  <a:lnTo>
                    <a:pt x="8156" y="726"/>
                  </a:lnTo>
                  <a:lnTo>
                    <a:pt x="7154" y="10574"/>
                  </a:lnTo>
                  <a:lnTo>
                    <a:pt x="7154" y="10574"/>
                  </a:lnTo>
                  <a:lnTo>
                    <a:pt x="7120" y="10954"/>
                  </a:lnTo>
                  <a:lnTo>
                    <a:pt x="7016" y="11300"/>
                  </a:lnTo>
                  <a:lnTo>
                    <a:pt x="6878" y="11611"/>
                  </a:lnTo>
                  <a:lnTo>
                    <a:pt x="6739" y="11922"/>
                  </a:lnTo>
                  <a:lnTo>
                    <a:pt x="6567" y="12233"/>
                  </a:lnTo>
                  <a:lnTo>
                    <a:pt x="6359" y="12510"/>
                  </a:lnTo>
                  <a:lnTo>
                    <a:pt x="6117" y="12751"/>
                  </a:lnTo>
                  <a:lnTo>
                    <a:pt x="5876" y="12993"/>
                  </a:lnTo>
                  <a:lnTo>
                    <a:pt x="5599" y="13201"/>
                  </a:lnTo>
                  <a:lnTo>
                    <a:pt x="5288" y="13373"/>
                  </a:lnTo>
                  <a:lnTo>
                    <a:pt x="4977" y="13512"/>
                  </a:lnTo>
                  <a:lnTo>
                    <a:pt x="4666" y="13650"/>
                  </a:lnTo>
                  <a:lnTo>
                    <a:pt x="4320" y="13719"/>
                  </a:lnTo>
                  <a:lnTo>
                    <a:pt x="3975" y="13788"/>
                  </a:lnTo>
                  <a:lnTo>
                    <a:pt x="3595" y="13788"/>
                  </a:lnTo>
                  <a:lnTo>
                    <a:pt x="3249" y="13788"/>
                  </a:lnTo>
                  <a:lnTo>
                    <a:pt x="3215" y="13788"/>
                  </a:lnTo>
                  <a:lnTo>
                    <a:pt x="3215" y="13788"/>
                  </a:lnTo>
                  <a:lnTo>
                    <a:pt x="2869" y="13719"/>
                  </a:lnTo>
                  <a:lnTo>
                    <a:pt x="2524" y="13650"/>
                  </a:lnTo>
                  <a:lnTo>
                    <a:pt x="2178" y="13512"/>
                  </a:lnTo>
                  <a:lnTo>
                    <a:pt x="1867" y="13373"/>
                  </a:lnTo>
                  <a:lnTo>
                    <a:pt x="1556" y="13166"/>
                  </a:lnTo>
                  <a:lnTo>
                    <a:pt x="1280" y="12959"/>
                  </a:lnTo>
                  <a:lnTo>
                    <a:pt x="1038" y="12751"/>
                  </a:lnTo>
                  <a:lnTo>
                    <a:pt x="796" y="12475"/>
                  </a:lnTo>
                  <a:lnTo>
                    <a:pt x="588" y="12199"/>
                  </a:lnTo>
                  <a:lnTo>
                    <a:pt x="416" y="11922"/>
                  </a:lnTo>
                  <a:lnTo>
                    <a:pt x="277" y="11611"/>
                  </a:lnTo>
                  <a:lnTo>
                    <a:pt x="139" y="11265"/>
                  </a:lnTo>
                  <a:lnTo>
                    <a:pt x="70" y="10920"/>
                  </a:lnTo>
                  <a:lnTo>
                    <a:pt x="1" y="10574"/>
                  </a:lnTo>
                  <a:lnTo>
                    <a:pt x="1" y="10229"/>
                  </a:lnTo>
                  <a:lnTo>
                    <a:pt x="1" y="9849"/>
                  </a:lnTo>
                  <a:lnTo>
                    <a:pt x="100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7" name="Google Shape;14283;p81">
              <a:extLst>
                <a:ext uri="{FF2B5EF4-FFF2-40B4-BE49-F238E27FC236}">
                  <a16:creationId xmlns:a16="http://schemas.microsoft.com/office/drawing/2014/main" id="{8862ABC5-4917-90BE-161D-ED9E1CD4164D}"/>
                </a:ext>
              </a:extLst>
            </p:cNvPr>
            <p:cNvSpPr/>
            <p:nvPr/>
          </p:nvSpPr>
          <p:spPr>
            <a:xfrm>
              <a:off x="5024650" y="2352975"/>
              <a:ext cx="450975" cy="2914850"/>
            </a:xfrm>
            <a:custGeom>
              <a:avLst/>
              <a:gdLst/>
              <a:ahLst/>
              <a:cxnLst/>
              <a:rect l="l" t="t" r="r" b="b"/>
              <a:pathLst>
                <a:path w="18039" h="116594" extrusionOk="0">
                  <a:moveTo>
                    <a:pt x="15101" y="0"/>
                  </a:moveTo>
                  <a:lnTo>
                    <a:pt x="14894" y="35"/>
                  </a:lnTo>
                  <a:lnTo>
                    <a:pt x="14687" y="104"/>
                  </a:lnTo>
                  <a:lnTo>
                    <a:pt x="14514" y="173"/>
                  </a:lnTo>
                  <a:lnTo>
                    <a:pt x="14341" y="277"/>
                  </a:lnTo>
                  <a:lnTo>
                    <a:pt x="14168" y="449"/>
                  </a:lnTo>
                  <a:lnTo>
                    <a:pt x="14065" y="622"/>
                  </a:lnTo>
                  <a:lnTo>
                    <a:pt x="13926" y="829"/>
                  </a:lnTo>
                  <a:lnTo>
                    <a:pt x="10955" y="7844"/>
                  </a:lnTo>
                  <a:lnTo>
                    <a:pt x="10886" y="8017"/>
                  </a:lnTo>
                  <a:lnTo>
                    <a:pt x="0" y="115868"/>
                  </a:lnTo>
                  <a:lnTo>
                    <a:pt x="1452" y="116006"/>
                  </a:lnTo>
                  <a:lnTo>
                    <a:pt x="1590" y="116040"/>
                  </a:lnTo>
                  <a:lnTo>
                    <a:pt x="4665" y="116351"/>
                  </a:lnTo>
                  <a:lnTo>
                    <a:pt x="6428" y="116524"/>
                  </a:lnTo>
                  <a:lnTo>
                    <a:pt x="7119" y="116593"/>
                  </a:lnTo>
                  <a:lnTo>
                    <a:pt x="18004" y="9088"/>
                  </a:lnTo>
                  <a:lnTo>
                    <a:pt x="18039" y="8743"/>
                  </a:lnTo>
                  <a:lnTo>
                    <a:pt x="16484" y="1071"/>
                  </a:lnTo>
                  <a:lnTo>
                    <a:pt x="16415" y="864"/>
                  </a:lnTo>
                  <a:lnTo>
                    <a:pt x="16311" y="657"/>
                  </a:lnTo>
                  <a:lnTo>
                    <a:pt x="16173" y="484"/>
                  </a:lnTo>
                  <a:lnTo>
                    <a:pt x="16034" y="346"/>
                  </a:lnTo>
                  <a:lnTo>
                    <a:pt x="15862" y="207"/>
                  </a:lnTo>
                  <a:lnTo>
                    <a:pt x="15689" y="104"/>
                  </a:lnTo>
                  <a:lnTo>
                    <a:pt x="15516" y="69"/>
                  </a:lnTo>
                  <a:lnTo>
                    <a:pt x="15309" y="35"/>
                  </a:lnTo>
                  <a:lnTo>
                    <a:pt x="15101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8" name="Google Shape;14284;p81">
              <a:extLst>
                <a:ext uri="{FF2B5EF4-FFF2-40B4-BE49-F238E27FC236}">
                  <a16:creationId xmlns:a16="http://schemas.microsoft.com/office/drawing/2014/main" id="{1D8291BA-13C0-E882-96A3-FAEA2B249517}"/>
                </a:ext>
              </a:extLst>
            </p:cNvPr>
            <p:cNvSpPr/>
            <p:nvPr/>
          </p:nvSpPr>
          <p:spPr>
            <a:xfrm>
              <a:off x="5024650" y="2352975"/>
              <a:ext cx="450975" cy="2914850"/>
            </a:xfrm>
            <a:custGeom>
              <a:avLst/>
              <a:gdLst/>
              <a:ahLst/>
              <a:cxnLst/>
              <a:rect l="l" t="t" r="r" b="b"/>
              <a:pathLst>
                <a:path w="18039" h="116594" fill="none" extrusionOk="0">
                  <a:moveTo>
                    <a:pt x="7119" y="116593"/>
                  </a:moveTo>
                  <a:lnTo>
                    <a:pt x="6428" y="116524"/>
                  </a:lnTo>
                  <a:lnTo>
                    <a:pt x="4665" y="116351"/>
                  </a:lnTo>
                  <a:lnTo>
                    <a:pt x="1590" y="116040"/>
                  </a:lnTo>
                  <a:lnTo>
                    <a:pt x="1452" y="116006"/>
                  </a:lnTo>
                  <a:lnTo>
                    <a:pt x="0" y="115868"/>
                  </a:lnTo>
                  <a:lnTo>
                    <a:pt x="10886" y="8017"/>
                  </a:lnTo>
                  <a:lnTo>
                    <a:pt x="10955" y="7844"/>
                  </a:lnTo>
                  <a:lnTo>
                    <a:pt x="13926" y="829"/>
                  </a:lnTo>
                  <a:lnTo>
                    <a:pt x="13926" y="829"/>
                  </a:lnTo>
                  <a:lnTo>
                    <a:pt x="14065" y="622"/>
                  </a:lnTo>
                  <a:lnTo>
                    <a:pt x="14168" y="449"/>
                  </a:lnTo>
                  <a:lnTo>
                    <a:pt x="14341" y="277"/>
                  </a:lnTo>
                  <a:lnTo>
                    <a:pt x="14514" y="173"/>
                  </a:lnTo>
                  <a:lnTo>
                    <a:pt x="14687" y="104"/>
                  </a:lnTo>
                  <a:lnTo>
                    <a:pt x="14894" y="35"/>
                  </a:lnTo>
                  <a:lnTo>
                    <a:pt x="15101" y="0"/>
                  </a:lnTo>
                  <a:lnTo>
                    <a:pt x="15309" y="35"/>
                  </a:lnTo>
                  <a:lnTo>
                    <a:pt x="15516" y="69"/>
                  </a:lnTo>
                  <a:lnTo>
                    <a:pt x="15689" y="104"/>
                  </a:lnTo>
                  <a:lnTo>
                    <a:pt x="15862" y="207"/>
                  </a:lnTo>
                  <a:lnTo>
                    <a:pt x="16034" y="346"/>
                  </a:lnTo>
                  <a:lnTo>
                    <a:pt x="16173" y="484"/>
                  </a:lnTo>
                  <a:lnTo>
                    <a:pt x="16311" y="657"/>
                  </a:lnTo>
                  <a:lnTo>
                    <a:pt x="16415" y="864"/>
                  </a:lnTo>
                  <a:lnTo>
                    <a:pt x="16484" y="1071"/>
                  </a:lnTo>
                  <a:lnTo>
                    <a:pt x="18039" y="8743"/>
                  </a:lnTo>
                  <a:lnTo>
                    <a:pt x="18004" y="9088"/>
                  </a:lnTo>
                  <a:lnTo>
                    <a:pt x="7119" y="11659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39" name="Google Shape;14285;p81">
              <a:extLst>
                <a:ext uri="{FF2B5EF4-FFF2-40B4-BE49-F238E27FC236}">
                  <a16:creationId xmlns:a16="http://schemas.microsoft.com/office/drawing/2014/main" id="{79682BAB-8723-67BB-7226-3BDCFE74D95F}"/>
                </a:ext>
              </a:extLst>
            </p:cNvPr>
            <p:cNvSpPr/>
            <p:nvPr/>
          </p:nvSpPr>
          <p:spPr>
            <a:xfrm>
              <a:off x="5296775" y="2296800"/>
              <a:ext cx="178850" cy="298950"/>
            </a:xfrm>
            <a:custGeom>
              <a:avLst/>
              <a:gdLst/>
              <a:ahLst/>
              <a:cxnLst/>
              <a:rect l="l" t="t" r="r" b="b"/>
              <a:pathLst>
                <a:path w="7154" h="11958" extrusionOk="0">
                  <a:moveTo>
                    <a:pt x="4493" y="1"/>
                  </a:moveTo>
                  <a:lnTo>
                    <a:pt x="4355" y="35"/>
                  </a:lnTo>
                  <a:lnTo>
                    <a:pt x="4216" y="70"/>
                  </a:lnTo>
                  <a:lnTo>
                    <a:pt x="4078" y="139"/>
                  </a:lnTo>
                  <a:lnTo>
                    <a:pt x="3975" y="208"/>
                  </a:lnTo>
                  <a:lnTo>
                    <a:pt x="3871" y="312"/>
                  </a:lnTo>
                  <a:lnTo>
                    <a:pt x="3767" y="450"/>
                  </a:lnTo>
                  <a:lnTo>
                    <a:pt x="3698" y="588"/>
                  </a:lnTo>
                  <a:lnTo>
                    <a:pt x="1" y="10264"/>
                  </a:lnTo>
                  <a:lnTo>
                    <a:pt x="381" y="10299"/>
                  </a:lnTo>
                  <a:lnTo>
                    <a:pt x="588" y="10299"/>
                  </a:lnTo>
                  <a:lnTo>
                    <a:pt x="726" y="10264"/>
                  </a:lnTo>
                  <a:lnTo>
                    <a:pt x="795" y="10230"/>
                  </a:lnTo>
                  <a:lnTo>
                    <a:pt x="864" y="10160"/>
                  </a:lnTo>
                  <a:lnTo>
                    <a:pt x="1072" y="10160"/>
                  </a:lnTo>
                  <a:lnTo>
                    <a:pt x="1210" y="10195"/>
                  </a:lnTo>
                  <a:lnTo>
                    <a:pt x="1348" y="10264"/>
                  </a:lnTo>
                  <a:lnTo>
                    <a:pt x="1556" y="10471"/>
                  </a:lnTo>
                  <a:lnTo>
                    <a:pt x="1694" y="10575"/>
                  </a:lnTo>
                  <a:lnTo>
                    <a:pt x="1832" y="10679"/>
                  </a:lnTo>
                  <a:lnTo>
                    <a:pt x="2039" y="10748"/>
                  </a:lnTo>
                  <a:lnTo>
                    <a:pt x="2316" y="10782"/>
                  </a:lnTo>
                  <a:lnTo>
                    <a:pt x="2558" y="10782"/>
                  </a:lnTo>
                  <a:lnTo>
                    <a:pt x="2730" y="10713"/>
                  </a:lnTo>
                  <a:lnTo>
                    <a:pt x="2869" y="10575"/>
                  </a:lnTo>
                  <a:lnTo>
                    <a:pt x="2972" y="10437"/>
                  </a:lnTo>
                  <a:lnTo>
                    <a:pt x="3076" y="10264"/>
                  </a:lnTo>
                  <a:lnTo>
                    <a:pt x="3180" y="10160"/>
                  </a:lnTo>
                  <a:lnTo>
                    <a:pt x="3283" y="10091"/>
                  </a:lnTo>
                  <a:lnTo>
                    <a:pt x="3387" y="10091"/>
                  </a:lnTo>
                  <a:lnTo>
                    <a:pt x="3491" y="10057"/>
                  </a:lnTo>
                  <a:lnTo>
                    <a:pt x="3629" y="10057"/>
                  </a:lnTo>
                  <a:lnTo>
                    <a:pt x="3767" y="10091"/>
                  </a:lnTo>
                  <a:lnTo>
                    <a:pt x="3905" y="10160"/>
                  </a:lnTo>
                  <a:lnTo>
                    <a:pt x="4009" y="10264"/>
                  </a:lnTo>
                  <a:lnTo>
                    <a:pt x="4113" y="10368"/>
                  </a:lnTo>
                  <a:lnTo>
                    <a:pt x="4320" y="10644"/>
                  </a:lnTo>
                  <a:lnTo>
                    <a:pt x="4493" y="10990"/>
                  </a:lnTo>
                  <a:lnTo>
                    <a:pt x="4666" y="11301"/>
                  </a:lnTo>
                  <a:lnTo>
                    <a:pt x="4838" y="11612"/>
                  </a:lnTo>
                  <a:lnTo>
                    <a:pt x="4942" y="11716"/>
                  </a:lnTo>
                  <a:lnTo>
                    <a:pt x="5046" y="11819"/>
                  </a:lnTo>
                  <a:lnTo>
                    <a:pt x="5184" y="11888"/>
                  </a:lnTo>
                  <a:lnTo>
                    <a:pt x="5288" y="11957"/>
                  </a:lnTo>
                  <a:lnTo>
                    <a:pt x="5495" y="11957"/>
                  </a:lnTo>
                  <a:lnTo>
                    <a:pt x="5668" y="11888"/>
                  </a:lnTo>
                  <a:lnTo>
                    <a:pt x="5806" y="11819"/>
                  </a:lnTo>
                  <a:lnTo>
                    <a:pt x="5979" y="11681"/>
                  </a:lnTo>
                  <a:lnTo>
                    <a:pt x="6186" y="11508"/>
                  </a:lnTo>
                  <a:lnTo>
                    <a:pt x="6428" y="11370"/>
                  </a:lnTo>
                  <a:lnTo>
                    <a:pt x="6739" y="11232"/>
                  </a:lnTo>
                  <a:lnTo>
                    <a:pt x="7119" y="11128"/>
                  </a:lnTo>
                  <a:lnTo>
                    <a:pt x="7154" y="10990"/>
                  </a:lnTo>
                  <a:lnTo>
                    <a:pt x="5460" y="796"/>
                  </a:lnTo>
                  <a:lnTo>
                    <a:pt x="5426" y="623"/>
                  </a:lnTo>
                  <a:lnTo>
                    <a:pt x="5357" y="485"/>
                  </a:lnTo>
                  <a:lnTo>
                    <a:pt x="5253" y="346"/>
                  </a:lnTo>
                  <a:lnTo>
                    <a:pt x="5184" y="243"/>
                  </a:lnTo>
                  <a:lnTo>
                    <a:pt x="5046" y="139"/>
                  </a:lnTo>
                  <a:lnTo>
                    <a:pt x="4908" y="70"/>
                  </a:lnTo>
                  <a:lnTo>
                    <a:pt x="4769" y="35"/>
                  </a:lnTo>
                  <a:lnTo>
                    <a:pt x="4631" y="1"/>
                  </a:lnTo>
                  <a:close/>
                </a:path>
              </a:pathLst>
            </a:custGeom>
            <a:solidFill>
              <a:srgbClr val="F1BAC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0" name="Google Shape;14286;p81">
              <a:extLst>
                <a:ext uri="{FF2B5EF4-FFF2-40B4-BE49-F238E27FC236}">
                  <a16:creationId xmlns:a16="http://schemas.microsoft.com/office/drawing/2014/main" id="{85A10635-07C3-D6C0-0D46-A7EA951D10C8}"/>
                </a:ext>
              </a:extLst>
            </p:cNvPr>
            <p:cNvSpPr/>
            <p:nvPr/>
          </p:nvSpPr>
          <p:spPr>
            <a:xfrm>
              <a:off x="5296775" y="2296800"/>
              <a:ext cx="178850" cy="298950"/>
            </a:xfrm>
            <a:custGeom>
              <a:avLst/>
              <a:gdLst/>
              <a:ahLst/>
              <a:cxnLst/>
              <a:rect l="l" t="t" r="r" b="b"/>
              <a:pathLst>
                <a:path w="7154" h="11958" fill="none" extrusionOk="0">
                  <a:moveTo>
                    <a:pt x="1" y="10264"/>
                  </a:moveTo>
                  <a:lnTo>
                    <a:pt x="3698" y="588"/>
                  </a:lnTo>
                  <a:lnTo>
                    <a:pt x="3698" y="588"/>
                  </a:lnTo>
                  <a:lnTo>
                    <a:pt x="3767" y="450"/>
                  </a:lnTo>
                  <a:lnTo>
                    <a:pt x="3871" y="312"/>
                  </a:lnTo>
                  <a:lnTo>
                    <a:pt x="3975" y="208"/>
                  </a:lnTo>
                  <a:lnTo>
                    <a:pt x="4078" y="139"/>
                  </a:lnTo>
                  <a:lnTo>
                    <a:pt x="4216" y="70"/>
                  </a:lnTo>
                  <a:lnTo>
                    <a:pt x="4355" y="35"/>
                  </a:lnTo>
                  <a:lnTo>
                    <a:pt x="4493" y="1"/>
                  </a:lnTo>
                  <a:lnTo>
                    <a:pt x="4631" y="1"/>
                  </a:lnTo>
                  <a:lnTo>
                    <a:pt x="4769" y="35"/>
                  </a:lnTo>
                  <a:lnTo>
                    <a:pt x="4908" y="70"/>
                  </a:lnTo>
                  <a:lnTo>
                    <a:pt x="5046" y="139"/>
                  </a:lnTo>
                  <a:lnTo>
                    <a:pt x="5184" y="243"/>
                  </a:lnTo>
                  <a:lnTo>
                    <a:pt x="5253" y="346"/>
                  </a:lnTo>
                  <a:lnTo>
                    <a:pt x="5357" y="485"/>
                  </a:lnTo>
                  <a:lnTo>
                    <a:pt x="5426" y="623"/>
                  </a:lnTo>
                  <a:lnTo>
                    <a:pt x="5460" y="796"/>
                  </a:lnTo>
                  <a:lnTo>
                    <a:pt x="7154" y="10990"/>
                  </a:lnTo>
                  <a:lnTo>
                    <a:pt x="7119" y="11128"/>
                  </a:lnTo>
                  <a:lnTo>
                    <a:pt x="7119" y="11128"/>
                  </a:lnTo>
                  <a:lnTo>
                    <a:pt x="6739" y="11232"/>
                  </a:lnTo>
                  <a:lnTo>
                    <a:pt x="6428" y="11370"/>
                  </a:lnTo>
                  <a:lnTo>
                    <a:pt x="6186" y="11508"/>
                  </a:lnTo>
                  <a:lnTo>
                    <a:pt x="5979" y="11681"/>
                  </a:lnTo>
                  <a:lnTo>
                    <a:pt x="5806" y="11819"/>
                  </a:lnTo>
                  <a:lnTo>
                    <a:pt x="5668" y="11888"/>
                  </a:lnTo>
                  <a:lnTo>
                    <a:pt x="5495" y="11957"/>
                  </a:lnTo>
                  <a:lnTo>
                    <a:pt x="5288" y="11957"/>
                  </a:lnTo>
                  <a:lnTo>
                    <a:pt x="5288" y="11957"/>
                  </a:lnTo>
                  <a:lnTo>
                    <a:pt x="5184" y="11888"/>
                  </a:lnTo>
                  <a:lnTo>
                    <a:pt x="5046" y="11819"/>
                  </a:lnTo>
                  <a:lnTo>
                    <a:pt x="4942" y="11716"/>
                  </a:lnTo>
                  <a:lnTo>
                    <a:pt x="4838" y="11612"/>
                  </a:lnTo>
                  <a:lnTo>
                    <a:pt x="4666" y="11301"/>
                  </a:lnTo>
                  <a:lnTo>
                    <a:pt x="4493" y="10990"/>
                  </a:lnTo>
                  <a:lnTo>
                    <a:pt x="4320" y="10644"/>
                  </a:lnTo>
                  <a:lnTo>
                    <a:pt x="4113" y="10368"/>
                  </a:lnTo>
                  <a:lnTo>
                    <a:pt x="4009" y="10264"/>
                  </a:lnTo>
                  <a:lnTo>
                    <a:pt x="3905" y="10160"/>
                  </a:lnTo>
                  <a:lnTo>
                    <a:pt x="3767" y="10091"/>
                  </a:lnTo>
                  <a:lnTo>
                    <a:pt x="3629" y="10057"/>
                  </a:lnTo>
                  <a:lnTo>
                    <a:pt x="3629" y="10057"/>
                  </a:lnTo>
                  <a:lnTo>
                    <a:pt x="3491" y="10057"/>
                  </a:lnTo>
                  <a:lnTo>
                    <a:pt x="3387" y="10091"/>
                  </a:lnTo>
                  <a:lnTo>
                    <a:pt x="3283" y="10091"/>
                  </a:lnTo>
                  <a:lnTo>
                    <a:pt x="3180" y="10160"/>
                  </a:lnTo>
                  <a:lnTo>
                    <a:pt x="3076" y="10264"/>
                  </a:lnTo>
                  <a:lnTo>
                    <a:pt x="2972" y="10437"/>
                  </a:lnTo>
                  <a:lnTo>
                    <a:pt x="2972" y="10437"/>
                  </a:lnTo>
                  <a:lnTo>
                    <a:pt x="2869" y="10575"/>
                  </a:lnTo>
                  <a:lnTo>
                    <a:pt x="2730" y="10713"/>
                  </a:lnTo>
                  <a:lnTo>
                    <a:pt x="2558" y="10782"/>
                  </a:lnTo>
                  <a:lnTo>
                    <a:pt x="2454" y="10782"/>
                  </a:lnTo>
                  <a:lnTo>
                    <a:pt x="2316" y="10782"/>
                  </a:lnTo>
                  <a:lnTo>
                    <a:pt x="2316" y="10782"/>
                  </a:lnTo>
                  <a:lnTo>
                    <a:pt x="2039" y="10748"/>
                  </a:lnTo>
                  <a:lnTo>
                    <a:pt x="1832" y="10679"/>
                  </a:lnTo>
                  <a:lnTo>
                    <a:pt x="1694" y="10575"/>
                  </a:lnTo>
                  <a:lnTo>
                    <a:pt x="1556" y="10471"/>
                  </a:lnTo>
                  <a:lnTo>
                    <a:pt x="1348" y="10264"/>
                  </a:lnTo>
                  <a:lnTo>
                    <a:pt x="1210" y="10195"/>
                  </a:lnTo>
                  <a:lnTo>
                    <a:pt x="1072" y="10160"/>
                  </a:lnTo>
                  <a:lnTo>
                    <a:pt x="1072" y="10160"/>
                  </a:lnTo>
                  <a:lnTo>
                    <a:pt x="934" y="10160"/>
                  </a:lnTo>
                  <a:lnTo>
                    <a:pt x="864" y="10160"/>
                  </a:lnTo>
                  <a:lnTo>
                    <a:pt x="795" y="10230"/>
                  </a:lnTo>
                  <a:lnTo>
                    <a:pt x="795" y="10230"/>
                  </a:lnTo>
                  <a:lnTo>
                    <a:pt x="726" y="10264"/>
                  </a:lnTo>
                  <a:lnTo>
                    <a:pt x="588" y="10299"/>
                  </a:lnTo>
                  <a:lnTo>
                    <a:pt x="381" y="10299"/>
                  </a:lnTo>
                  <a:lnTo>
                    <a:pt x="1" y="1026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1" name="Google Shape;14287;p81">
              <a:extLst>
                <a:ext uri="{FF2B5EF4-FFF2-40B4-BE49-F238E27FC236}">
                  <a16:creationId xmlns:a16="http://schemas.microsoft.com/office/drawing/2014/main" id="{74333467-78B5-2B87-BE4F-E0FF466E06CE}"/>
                </a:ext>
              </a:extLst>
            </p:cNvPr>
            <p:cNvSpPr/>
            <p:nvPr/>
          </p:nvSpPr>
          <p:spPr>
            <a:xfrm>
              <a:off x="5368475" y="2269175"/>
              <a:ext cx="74325" cy="107150"/>
            </a:xfrm>
            <a:custGeom>
              <a:avLst/>
              <a:gdLst/>
              <a:ahLst/>
              <a:cxnLst/>
              <a:rect l="l" t="t" r="r" b="b"/>
              <a:pathLst>
                <a:path w="2973" h="4286" extrusionOk="0">
                  <a:moveTo>
                    <a:pt x="1901" y="0"/>
                  </a:moveTo>
                  <a:lnTo>
                    <a:pt x="1729" y="35"/>
                  </a:lnTo>
                  <a:lnTo>
                    <a:pt x="1556" y="69"/>
                  </a:lnTo>
                  <a:lnTo>
                    <a:pt x="1452" y="173"/>
                  </a:lnTo>
                  <a:lnTo>
                    <a:pt x="1348" y="346"/>
                  </a:lnTo>
                  <a:lnTo>
                    <a:pt x="35" y="3801"/>
                  </a:lnTo>
                  <a:lnTo>
                    <a:pt x="1" y="3870"/>
                  </a:lnTo>
                  <a:lnTo>
                    <a:pt x="35" y="3905"/>
                  </a:lnTo>
                  <a:lnTo>
                    <a:pt x="70" y="3940"/>
                  </a:lnTo>
                  <a:lnTo>
                    <a:pt x="139" y="3940"/>
                  </a:lnTo>
                  <a:lnTo>
                    <a:pt x="796" y="3801"/>
                  </a:lnTo>
                  <a:lnTo>
                    <a:pt x="1348" y="3767"/>
                  </a:lnTo>
                  <a:lnTo>
                    <a:pt x="1521" y="3801"/>
                  </a:lnTo>
                  <a:lnTo>
                    <a:pt x="1694" y="3870"/>
                  </a:lnTo>
                  <a:lnTo>
                    <a:pt x="2005" y="4078"/>
                  </a:lnTo>
                  <a:lnTo>
                    <a:pt x="2178" y="4181"/>
                  </a:lnTo>
                  <a:lnTo>
                    <a:pt x="2351" y="4251"/>
                  </a:lnTo>
                  <a:lnTo>
                    <a:pt x="2592" y="4285"/>
                  </a:lnTo>
                  <a:lnTo>
                    <a:pt x="2903" y="4216"/>
                  </a:lnTo>
                  <a:lnTo>
                    <a:pt x="2938" y="4181"/>
                  </a:lnTo>
                  <a:lnTo>
                    <a:pt x="2973" y="4112"/>
                  </a:lnTo>
                  <a:lnTo>
                    <a:pt x="2351" y="449"/>
                  </a:lnTo>
                  <a:lnTo>
                    <a:pt x="2281" y="277"/>
                  </a:lnTo>
                  <a:lnTo>
                    <a:pt x="2178" y="138"/>
                  </a:lnTo>
                  <a:lnTo>
                    <a:pt x="2040" y="69"/>
                  </a:lnTo>
                  <a:lnTo>
                    <a:pt x="190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2" name="Google Shape;14288;p81">
              <a:extLst>
                <a:ext uri="{FF2B5EF4-FFF2-40B4-BE49-F238E27FC236}">
                  <a16:creationId xmlns:a16="http://schemas.microsoft.com/office/drawing/2014/main" id="{E4928C54-E7E3-E871-78F9-74FFC816EA70}"/>
                </a:ext>
              </a:extLst>
            </p:cNvPr>
            <p:cNvSpPr/>
            <p:nvPr/>
          </p:nvSpPr>
          <p:spPr>
            <a:xfrm>
              <a:off x="5024650" y="2550800"/>
              <a:ext cx="298925" cy="2703200"/>
            </a:xfrm>
            <a:custGeom>
              <a:avLst/>
              <a:gdLst/>
              <a:ahLst/>
              <a:cxnLst/>
              <a:rect l="l" t="t" r="r" b="b"/>
              <a:pathLst>
                <a:path w="11957" h="108128" extrusionOk="0">
                  <a:moveTo>
                    <a:pt x="11957" y="0"/>
                  </a:moveTo>
                  <a:lnTo>
                    <a:pt x="11715" y="35"/>
                  </a:lnTo>
                  <a:lnTo>
                    <a:pt x="11680" y="70"/>
                  </a:lnTo>
                  <a:lnTo>
                    <a:pt x="11577" y="139"/>
                  </a:lnTo>
                  <a:lnTo>
                    <a:pt x="11335" y="139"/>
                  </a:lnTo>
                  <a:lnTo>
                    <a:pt x="10886" y="104"/>
                  </a:lnTo>
                  <a:lnTo>
                    <a:pt x="2661" y="81554"/>
                  </a:lnTo>
                  <a:lnTo>
                    <a:pt x="2454" y="83558"/>
                  </a:lnTo>
                  <a:lnTo>
                    <a:pt x="0" y="107955"/>
                  </a:lnTo>
                  <a:lnTo>
                    <a:pt x="1452" y="108093"/>
                  </a:lnTo>
                  <a:lnTo>
                    <a:pt x="1590" y="108127"/>
                  </a:lnTo>
                  <a:lnTo>
                    <a:pt x="2143" y="103428"/>
                  </a:lnTo>
                  <a:lnTo>
                    <a:pt x="2661" y="98486"/>
                  </a:lnTo>
                  <a:lnTo>
                    <a:pt x="3145" y="93406"/>
                  </a:lnTo>
                  <a:lnTo>
                    <a:pt x="3629" y="88258"/>
                  </a:lnTo>
                  <a:lnTo>
                    <a:pt x="4527" y="78236"/>
                  </a:lnTo>
                  <a:lnTo>
                    <a:pt x="4976" y="73571"/>
                  </a:lnTo>
                  <a:lnTo>
                    <a:pt x="5391" y="69286"/>
                  </a:lnTo>
                  <a:lnTo>
                    <a:pt x="6082" y="62824"/>
                  </a:lnTo>
                  <a:lnTo>
                    <a:pt x="6981" y="54323"/>
                  </a:lnTo>
                  <a:lnTo>
                    <a:pt x="8052" y="44440"/>
                  </a:lnTo>
                  <a:lnTo>
                    <a:pt x="9158" y="33935"/>
                  </a:lnTo>
                  <a:lnTo>
                    <a:pt x="10194" y="23499"/>
                  </a:lnTo>
                  <a:lnTo>
                    <a:pt x="10678" y="18557"/>
                  </a:lnTo>
                  <a:lnTo>
                    <a:pt x="11058" y="13892"/>
                  </a:lnTo>
                  <a:lnTo>
                    <a:pt x="11438" y="9642"/>
                  </a:lnTo>
                  <a:lnTo>
                    <a:pt x="11680" y="5841"/>
                  </a:lnTo>
                  <a:lnTo>
                    <a:pt x="11888" y="2592"/>
                  </a:lnTo>
                  <a:lnTo>
                    <a:pt x="11922" y="1210"/>
                  </a:lnTo>
                  <a:lnTo>
                    <a:pt x="11957" y="0"/>
                  </a:lnTo>
                  <a:close/>
                </a:path>
              </a:pathLst>
            </a:custGeom>
            <a:solidFill>
              <a:srgbClr val="D9820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3" name="Google Shape;14289;p81">
              <a:extLst>
                <a:ext uri="{FF2B5EF4-FFF2-40B4-BE49-F238E27FC236}">
                  <a16:creationId xmlns:a16="http://schemas.microsoft.com/office/drawing/2014/main" id="{2F14423C-A95D-CD44-3ACB-F49CE2DD4B13}"/>
                </a:ext>
              </a:extLst>
            </p:cNvPr>
            <p:cNvSpPr/>
            <p:nvPr/>
          </p:nvSpPr>
          <p:spPr>
            <a:xfrm>
              <a:off x="5024650" y="2550800"/>
              <a:ext cx="298925" cy="2703200"/>
            </a:xfrm>
            <a:custGeom>
              <a:avLst/>
              <a:gdLst/>
              <a:ahLst/>
              <a:cxnLst/>
              <a:rect l="l" t="t" r="r" b="b"/>
              <a:pathLst>
                <a:path w="11957" h="108128" fill="none" extrusionOk="0">
                  <a:moveTo>
                    <a:pt x="11957" y="0"/>
                  </a:moveTo>
                  <a:lnTo>
                    <a:pt x="11715" y="35"/>
                  </a:lnTo>
                  <a:lnTo>
                    <a:pt x="11715" y="35"/>
                  </a:lnTo>
                  <a:lnTo>
                    <a:pt x="11680" y="70"/>
                  </a:lnTo>
                  <a:lnTo>
                    <a:pt x="11680" y="70"/>
                  </a:lnTo>
                  <a:lnTo>
                    <a:pt x="11577" y="139"/>
                  </a:lnTo>
                  <a:lnTo>
                    <a:pt x="11335" y="139"/>
                  </a:lnTo>
                  <a:lnTo>
                    <a:pt x="11335" y="139"/>
                  </a:lnTo>
                  <a:lnTo>
                    <a:pt x="10886" y="104"/>
                  </a:lnTo>
                  <a:lnTo>
                    <a:pt x="2661" y="81554"/>
                  </a:lnTo>
                  <a:lnTo>
                    <a:pt x="2454" y="83558"/>
                  </a:lnTo>
                  <a:lnTo>
                    <a:pt x="0" y="107955"/>
                  </a:lnTo>
                  <a:lnTo>
                    <a:pt x="1452" y="108093"/>
                  </a:lnTo>
                  <a:lnTo>
                    <a:pt x="1590" y="108127"/>
                  </a:lnTo>
                  <a:lnTo>
                    <a:pt x="1590" y="108127"/>
                  </a:lnTo>
                  <a:lnTo>
                    <a:pt x="2143" y="103428"/>
                  </a:lnTo>
                  <a:lnTo>
                    <a:pt x="2661" y="98486"/>
                  </a:lnTo>
                  <a:lnTo>
                    <a:pt x="3145" y="93406"/>
                  </a:lnTo>
                  <a:lnTo>
                    <a:pt x="3629" y="88258"/>
                  </a:lnTo>
                  <a:lnTo>
                    <a:pt x="4527" y="78236"/>
                  </a:lnTo>
                  <a:lnTo>
                    <a:pt x="4976" y="73571"/>
                  </a:lnTo>
                  <a:lnTo>
                    <a:pt x="5391" y="69286"/>
                  </a:lnTo>
                  <a:lnTo>
                    <a:pt x="5391" y="69286"/>
                  </a:lnTo>
                  <a:lnTo>
                    <a:pt x="6082" y="62824"/>
                  </a:lnTo>
                  <a:lnTo>
                    <a:pt x="6981" y="54323"/>
                  </a:lnTo>
                  <a:lnTo>
                    <a:pt x="8052" y="44440"/>
                  </a:lnTo>
                  <a:lnTo>
                    <a:pt x="9158" y="33935"/>
                  </a:lnTo>
                  <a:lnTo>
                    <a:pt x="10194" y="23499"/>
                  </a:lnTo>
                  <a:lnTo>
                    <a:pt x="10678" y="18557"/>
                  </a:lnTo>
                  <a:lnTo>
                    <a:pt x="11058" y="13892"/>
                  </a:lnTo>
                  <a:lnTo>
                    <a:pt x="11438" y="9642"/>
                  </a:lnTo>
                  <a:lnTo>
                    <a:pt x="11680" y="5841"/>
                  </a:lnTo>
                  <a:lnTo>
                    <a:pt x="11888" y="2592"/>
                  </a:lnTo>
                  <a:lnTo>
                    <a:pt x="11922" y="1210"/>
                  </a:lnTo>
                  <a:lnTo>
                    <a:pt x="11957" y="0"/>
                  </a:lnTo>
                  <a:lnTo>
                    <a:pt x="1195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4" name="Google Shape;14290;p81">
              <a:extLst>
                <a:ext uri="{FF2B5EF4-FFF2-40B4-BE49-F238E27FC236}">
                  <a16:creationId xmlns:a16="http://schemas.microsoft.com/office/drawing/2014/main" id="{F8200BDB-EBB3-8401-4B78-06C42C67D9ED}"/>
                </a:ext>
              </a:extLst>
            </p:cNvPr>
            <p:cNvSpPr/>
            <p:nvPr/>
          </p:nvSpPr>
          <p:spPr>
            <a:xfrm>
              <a:off x="5296775" y="2551675"/>
              <a:ext cx="20750" cy="2600"/>
            </a:xfrm>
            <a:custGeom>
              <a:avLst/>
              <a:gdLst/>
              <a:ahLst/>
              <a:cxnLst/>
              <a:rect l="l" t="t" r="r" b="b"/>
              <a:pathLst>
                <a:path w="830" h="104" extrusionOk="0">
                  <a:moveTo>
                    <a:pt x="830" y="0"/>
                  </a:moveTo>
                  <a:lnTo>
                    <a:pt x="1" y="69"/>
                  </a:lnTo>
                  <a:lnTo>
                    <a:pt x="450" y="104"/>
                  </a:lnTo>
                  <a:lnTo>
                    <a:pt x="692" y="104"/>
                  </a:lnTo>
                  <a:lnTo>
                    <a:pt x="795" y="35"/>
                  </a:lnTo>
                  <a:lnTo>
                    <a:pt x="830" y="0"/>
                  </a:lnTo>
                  <a:close/>
                </a:path>
              </a:pathLst>
            </a:custGeom>
            <a:solidFill>
              <a:srgbClr val="DEACB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5" name="Google Shape;14291;p81">
              <a:extLst>
                <a:ext uri="{FF2B5EF4-FFF2-40B4-BE49-F238E27FC236}">
                  <a16:creationId xmlns:a16="http://schemas.microsoft.com/office/drawing/2014/main" id="{6A0B9E43-81DF-C509-E4EF-9D64109EF2FC}"/>
                </a:ext>
              </a:extLst>
            </p:cNvPr>
            <p:cNvSpPr/>
            <p:nvPr/>
          </p:nvSpPr>
          <p:spPr>
            <a:xfrm>
              <a:off x="5296775" y="2551675"/>
              <a:ext cx="20750" cy="2600"/>
            </a:xfrm>
            <a:custGeom>
              <a:avLst/>
              <a:gdLst/>
              <a:ahLst/>
              <a:cxnLst/>
              <a:rect l="l" t="t" r="r" b="b"/>
              <a:pathLst>
                <a:path w="830" h="104" fill="none" extrusionOk="0">
                  <a:moveTo>
                    <a:pt x="830" y="0"/>
                  </a:move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450" y="104"/>
                  </a:lnTo>
                  <a:lnTo>
                    <a:pt x="450" y="104"/>
                  </a:lnTo>
                  <a:lnTo>
                    <a:pt x="692" y="104"/>
                  </a:lnTo>
                  <a:lnTo>
                    <a:pt x="795" y="35"/>
                  </a:lnTo>
                  <a:lnTo>
                    <a:pt x="795" y="35"/>
                  </a:lnTo>
                  <a:lnTo>
                    <a:pt x="83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6" name="Google Shape;14292;p81">
              <a:extLst>
                <a:ext uri="{FF2B5EF4-FFF2-40B4-BE49-F238E27FC236}">
                  <a16:creationId xmlns:a16="http://schemas.microsoft.com/office/drawing/2014/main" id="{33E9663E-1B03-4516-5283-DE7DD9B6810C}"/>
                </a:ext>
              </a:extLst>
            </p:cNvPr>
            <p:cNvSpPr/>
            <p:nvPr/>
          </p:nvSpPr>
          <p:spPr>
            <a:xfrm>
              <a:off x="5323550" y="2550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7" name="Google Shape;14293;p81">
              <a:extLst>
                <a:ext uri="{FF2B5EF4-FFF2-40B4-BE49-F238E27FC236}">
                  <a16:creationId xmlns:a16="http://schemas.microsoft.com/office/drawing/2014/main" id="{7D031492-F830-7F34-581B-473DB22E68CF}"/>
                </a:ext>
              </a:extLst>
            </p:cNvPr>
            <p:cNvSpPr/>
            <p:nvPr/>
          </p:nvSpPr>
          <p:spPr>
            <a:xfrm>
              <a:off x="5263950" y="3018175"/>
              <a:ext cx="203050" cy="190075"/>
            </a:xfrm>
            <a:custGeom>
              <a:avLst/>
              <a:gdLst/>
              <a:ahLst/>
              <a:cxnLst/>
              <a:rect l="l" t="t" r="r" b="b"/>
              <a:pathLst>
                <a:path w="8122" h="7603" extrusionOk="0">
                  <a:moveTo>
                    <a:pt x="7119" y="0"/>
                  </a:moveTo>
                  <a:lnTo>
                    <a:pt x="7050" y="35"/>
                  </a:lnTo>
                  <a:lnTo>
                    <a:pt x="6635" y="312"/>
                  </a:lnTo>
                  <a:lnTo>
                    <a:pt x="6255" y="588"/>
                  </a:lnTo>
                  <a:lnTo>
                    <a:pt x="5529" y="1175"/>
                  </a:lnTo>
                  <a:lnTo>
                    <a:pt x="4942" y="1659"/>
                  </a:lnTo>
                  <a:lnTo>
                    <a:pt x="4700" y="1832"/>
                  </a:lnTo>
                  <a:lnTo>
                    <a:pt x="4493" y="1936"/>
                  </a:lnTo>
                  <a:lnTo>
                    <a:pt x="4424" y="1936"/>
                  </a:lnTo>
                  <a:lnTo>
                    <a:pt x="4389" y="1901"/>
                  </a:lnTo>
                  <a:lnTo>
                    <a:pt x="4354" y="1867"/>
                  </a:lnTo>
                  <a:lnTo>
                    <a:pt x="4389" y="1763"/>
                  </a:lnTo>
                  <a:lnTo>
                    <a:pt x="4527" y="1245"/>
                  </a:lnTo>
                  <a:lnTo>
                    <a:pt x="4562" y="934"/>
                  </a:lnTo>
                  <a:lnTo>
                    <a:pt x="4562" y="795"/>
                  </a:lnTo>
                  <a:lnTo>
                    <a:pt x="4562" y="657"/>
                  </a:lnTo>
                  <a:lnTo>
                    <a:pt x="4493" y="553"/>
                  </a:lnTo>
                  <a:lnTo>
                    <a:pt x="4424" y="484"/>
                  </a:lnTo>
                  <a:lnTo>
                    <a:pt x="4285" y="450"/>
                  </a:lnTo>
                  <a:lnTo>
                    <a:pt x="4078" y="415"/>
                  </a:lnTo>
                  <a:lnTo>
                    <a:pt x="3905" y="484"/>
                  </a:lnTo>
                  <a:lnTo>
                    <a:pt x="3698" y="588"/>
                  </a:lnTo>
                  <a:lnTo>
                    <a:pt x="3525" y="726"/>
                  </a:lnTo>
                  <a:lnTo>
                    <a:pt x="3352" y="934"/>
                  </a:lnTo>
                  <a:lnTo>
                    <a:pt x="3007" y="1452"/>
                  </a:lnTo>
                  <a:lnTo>
                    <a:pt x="2592" y="2108"/>
                  </a:lnTo>
                  <a:lnTo>
                    <a:pt x="2143" y="2800"/>
                  </a:lnTo>
                  <a:lnTo>
                    <a:pt x="1866" y="3180"/>
                  </a:lnTo>
                  <a:lnTo>
                    <a:pt x="1555" y="3525"/>
                  </a:lnTo>
                  <a:lnTo>
                    <a:pt x="1244" y="3871"/>
                  </a:lnTo>
                  <a:lnTo>
                    <a:pt x="864" y="4216"/>
                  </a:lnTo>
                  <a:lnTo>
                    <a:pt x="450" y="4527"/>
                  </a:lnTo>
                  <a:lnTo>
                    <a:pt x="0" y="4804"/>
                  </a:lnTo>
                  <a:lnTo>
                    <a:pt x="70" y="5288"/>
                  </a:lnTo>
                  <a:lnTo>
                    <a:pt x="139" y="5806"/>
                  </a:lnTo>
                  <a:lnTo>
                    <a:pt x="242" y="6359"/>
                  </a:lnTo>
                  <a:lnTo>
                    <a:pt x="415" y="6877"/>
                  </a:lnTo>
                  <a:lnTo>
                    <a:pt x="519" y="7119"/>
                  </a:lnTo>
                  <a:lnTo>
                    <a:pt x="622" y="7292"/>
                  </a:lnTo>
                  <a:lnTo>
                    <a:pt x="761" y="7465"/>
                  </a:lnTo>
                  <a:lnTo>
                    <a:pt x="899" y="7568"/>
                  </a:lnTo>
                  <a:lnTo>
                    <a:pt x="1072" y="7603"/>
                  </a:lnTo>
                  <a:lnTo>
                    <a:pt x="1244" y="7568"/>
                  </a:lnTo>
                  <a:lnTo>
                    <a:pt x="2419" y="7050"/>
                  </a:lnTo>
                  <a:lnTo>
                    <a:pt x="4009" y="6324"/>
                  </a:lnTo>
                  <a:lnTo>
                    <a:pt x="5599" y="5564"/>
                  </a:lnTo>
                  <a:lnTo>
                    <a:pt x="6221" y="5253"/>
                  </a:lnTo>
                  <a:lnTo>
                    <a:pt x="6670" y="5011"/>
                  </a:lnTo>
                  <a:lnTo>
                    <a:pt x="6877" y="4873"/>
                  </a:lnTo>
                  <a:lnTo>
                    <a:pt x="7084" y="4700"/>
                  </a:lnTo>
                  <a:lnTo>
                    <a:pt x="7292" y="4527"/>
                  </a:lnTo>
                  <a:lnTo>
                    <a:pt x="7430" y="4355"/>
                  </a:lnTo>
                  <a:lnTo>
                    <a:pt x="7568" y="4147"/>
                  </a:lnTo>
                  <a:lnTo>
                    <a:pt x="7706" y="3940"/>
                  </a:lnTo>
                  <a:lnTo>
                    <a:pt x="7914" y="3525"/>
                  </a:lnTo>
                  <a:lnTo>
                    <a:pt x="8017" y="3076"/>
                  </a:lnTo>
                  <a:lnTo>
                    <a:pt x="8087" y="2627"/>
                  </a:lnTo>
                  <a:lnTo>
                    <a:pt x="8121" y="2212"/>
                  </a:lnTo>
                  <a:lnTo>
                    <a:pt x="8087" y="1763"/>
                  </a:lnTo>
                  <a:lnTo>
                    <a:pt x="8017" y="1383"/>
                  </a:lnTo>
                  <a:lnTo>
                    <a:pt x="7914" y="1003"/>
                  </a:lnTo>
                  <a:lnTo>
                    <a:pt x="7776" y="657"/>
                  </a:lnTo>
                  <a:lnTo>
                    <a:pt x="7637" y="381"/>
                  </a:lnTo>
                  <a:lnTo>
                    <a:pt x="7499" y="173"/>
                  </a:lnTo>
                  <a:lnTo>
                    <a:pt x="7326" y="35"/>
                  </a:lnTo>
                  <a:lnTo>
                    <a:pt x="7188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8" name="Google Shape;14294;p81">
              <a:extLst>
                <a:ext uri="{FF2B5EF4-FFF2-40B4-BE49-F238E27FC236}">
                  <a16:creationId xmlns:a16="http://schemas.microsoft.com/office/drawing/2014/main" id="{A72F766B-C9DA-6D4D-F6AD-C34DC1D985D7}"/>
                </a:ext>
              </a:extLst>
            </p:cNvPr>
            <p:cNvSpPr/>
            <p:nvPr/>
          </p:nvSpPr>
          <p:spPr>
            <a:xfrm>
              <a:off x="4577150" y="3092475"/>
              <a:ext cx="749025" cy="341275"/>
            </a:xfrm>
            <a:custGeom>
              <a:avLst/>
              <a:gdLst/>
              <a:ahLst/>
              <a:cxnLst/>
              <a:rect l="l" t="t" r="r" b="b"/>
              <a:pathLst>
                <a:path w="29961" h="13651" extrusionOk="0">
                  <a:moveTo>
                    <a:pt x="27403" y="0"/>
                  </a:moveTo>
                  <a:lnTo>
                    <a:pt x="27300" y="35"/>
                  </a:lnTo>
                  <a:lnTo>
                    <a:pt x="27230" y="69"/>
                  </a:lnTo>
                  <a:lnTo>
                    <a:pt x="26194" y="899"/>
                  </a:lnTo>
                  <a:lnTo>
                    <a:pt x="24881" y="1901"/>
                  </a:lnTo>
                  <a:lnTo>
                    <a:pt x="23326" y="3041"/>
                  </a:lnTo>
                  <a:lnTo>
                    <a:pt x="21701" y="4147"/>
                  </a:lnTo>
                  <a:lnTo>
                    <a:pt x="20872" y="4700"/>
                  </a:lnTo>
                  <a:lnTo>
                    <a:pt x="20043" y="5184"/>
                  </a:lnTo>
                  <a:lnTo>
                    <a:pt x="19248" y="5633"/>
                  </a:lnTo>
                  <a:lnTo>
                    <a:pt x="18522" y="6048"/>
                  </a:lnTo>
                  <a:lnTo>
                    <a:pt x="17831" y="6359"/>
                  </a:lnTo>
                  <a:lnTo>
                    <a:pt x="17175" y="6635"/>
                  </a:lnTo>
                  <a:lnTo>
                    <a:pt x="16622" y="6773"/>
                  </a:lnTo>
                  <a:lnTo>
                    <a:pt x="16380" y="6808"/>
                  </a:lnTo>
                  <a:lnTo>
                    <a:pt x="16172" y="6843"/>
                  </a:lnTo>
                  <a:lnTo>
                    <a:pt x="15896" y="6808"/>
                  </a:lnTo>
                  <a:lnTo>
                    <a:pt x="15516" y="6704"/>
                  </a:lnTo>
                  <a:lnTo>
                    <a:pt x="15032" y="6601"/>
                  </a:lnTo>
                  <a:lnTo>
                    <a:pt x="14479" y="6393"/>
                  </a:lnTo>
                  <a:lnTo>
                    <a:pt x="13857" y="6186"/>
                  </a:lnTo>
                  <a:lnTo>
                    <a:pt x="13201" y="5909"/>
                  </a:lnTo>
                  <a:lnTo>
                    <a:pt x="12440" y="5564"/>
                  </a:lnTo>
                  <a:lnTo>
                    <a:pt x="11680" y="5184"/>
                  </a:lnTo>
                  <a:lnTo>
                    <a:pt x="10851" y="4769"/>
                  </a:lnTo>
                  <a:lnTo>
                    <a:pt x="10021" y="4320"/>
                  </a:lnTo>
                  <a:lnTo>
                    <a:pt x="9192" y="3802"/>
                  </a:lnTo>
                  <a:lnTo>
                    <a:pt x="8328" y="3214"/>
                  </a:lnTo>
                  <a:lnTo>
                    <a:pt x="7464" y="2592"/>
                  </a:lnTo>
                  <a:lnTo>
                    <a:pt x="6635" y="1936"/>
                  </a:lnTo>
                  <a:lnTo>
                    <a:pt x="5840" y="1244"/>
                  </a:lnTo>
                  <a:lnTo>
                    <a:pt x="5080" y="484"/>
                  </a:lnTo>
                  <a:lnTo>
                    <a:pt x="4251" y="588"/>
                  </a:lnTo>
                  <a:lnTo>
                    <a:pt x="3387" y="691"/>
                  </a:lnTo>
                  <a:lnTo>
                    <a:pt x="2419" y="864"/>
                  </a:lnTo>
                  <a:lnTo>
                    <a:pt x="1935" y="1002"/>
                  </a:lnTo>
                  <a:lnTo>
                    <a:pt x="1451" y="1141"/>
                  </a:lnTo>
                  <a:lnTo>
                    <a:pt x="1037" y="1313"/>
                  </a:lnTo>
                  <a:lnTo>
                    <a:pt x="657" y="1521"/>
                  </a:lnTo>
                  <a:lnTo>
                    <a:pt x="346" y="1728"/>
                  </a:lnTo>
                  <a:lnTo>
                    <a:pt x="242" y="1866"/>
                  </a:lnTo>
                  <a:lnTo>
                    <a:pt x="138" y="2005"/>
                  </a:lnTo>
                  <a:lnTo>
                    <a:pt x="69" y="2143"/>
                  </a:lnTo>
                  <a:lnTo>
                    <a:pt x="35" y="2281"/>
                  </a:lnTo>
                  <a:lnTo>
                    <a:pt x="0" y="2419"/>
                  </a:lnTo>
                  <a:lnTo>
                    <a:pt x="35" y="2592"/>
                  </a:lnTo>
                  <a:lnTo>
                    <a:pt x="69" y="2799"/>
                  </a:lnTo>
                  <a:lnTo>
                    <a:pt x="173" y="3007"/>
                  </a:lnTo>
                  <a:lnTo>
                    <a:pt x="518" y="3594"/>
                  </a:lnTo>
                  <a:lnTo>
                    <a:pt x="1002" y="4285"/>
                  </a:lnTo>
                  <a:lnTo>
                    <a:pt x="1624" y="5080"/>
                  </a:lnTo>
                  <a:lnTo>
                    <a:pt x="2384" y="5944"/>
                  </a:lnTo>
                  <a:lnTo>
                    <a:pt x="3248" y="6877"/>
                  </a:lnTo>
                  <a:lnTo>
                    <a:pt x="4216" y="7845"/>
                  </a:lnTo>
                  <a:lnTo>
                    <a:pt x="5287" y="8778"/>
                  </a:lnTo>
                  <a:lnTo>
                    <a:pt x="6428" y="9745"/>
                  </a:lnTo>
                  <a:lnTo>
                    <a:pt x="7602" y="10609"/>
                  </a:lnTo>
                  <a:lnTo>
                    <a:pt x="8224" y="11058"/>
                  </a:lnTo>
                  <a:lnTo>
                    <a:pt x="8847" y="11439"/>
                  </a:lnTo>
                  <a:lnTo>
                    <a:pt x="9503" y="11819"/>
                  </a:lnTo>
                  <a:lnTo>
                    <a:pt x="10125" y="12164"/>
                  </a:lnTo>
                  <a:lnTo>
                    <a:pt x="10782" y="12510"/>
                  </a:lnTo>
                  <a:lnTo>
                    <a:pt x="11438" y="12786"/>
                  </a:lnTo>
                  <a:lnTo>
                    <a:pt x="12060" y="13028"/>
                  </a:lnTo>
                  <a:lnTo>
                    <a:pt x="12717" y="13235"/>
                  </a:lnTo>
                  <a:lnTo>
                    <a:pt x="13373" y="13408"/>
                  </a:lnTo>
                  <a:lnTo>
                    <a:pt x="14030" y="13546"/>
                  </a:lnTo>
                  <a:lnTo>
                    <a:pt x="14652" y="13616"/>
                  </a:lnTo>
                  <a:lnTo>
                    <a:pt x="15274" y="13650"/>
                  </a:lnTo>
                  <a:lnTo>
                    <a:pt x="15585" y="13616"/>
                  </a:lnTo>
                  <a:lnTo>
                    <a:pt x="15931" y="13581"/>
                  </a:lnTo>
                  <a:lnTo>
                    <a:pt x="16311" y="13477"/>
                  </a:lnTo>
                  <a:lnTo>
                    <a:pt x="16691" y="13339"/>
                  </a:lnTo>
                  <a:lnTo>
                    <a:pt x="17624" y="12959"/>
                  </a:lnTo>
                  <a:lnTo>
                    <a:pt x="18626" y="12475"/>
                  </a:lnTo>
                  <a:lnTo>
                    <a:pt x="19732" y="11922"/>
                  </a:lnTo>
                  <a:lnTo>
                    <a:pt x="20872" y="11300"/>
                  </a:lnTo>
                  <a:lnTo>
                    <a:pt x="22047" y="10609"/>
                  </a:lnTo>
                  <a:lnTo>
                    <a:pt x="23222" y="9883"/>
                  </a:lnTo>
                  <a:lnTo>
                    <a:pt x="25468" y="8432"/>
                  </a:lnTo>
                  <a:lnTo>
                    <a:pt x="27438" y="7084"/>
                  </a:lnTo>
                  <a:lnTo>
                    <a:pt x="28924" y="6048"/>
                  </a:lnTo>
                  <a:lnTo>
                    <a:pt x="29719" y="5426"/>
                  </a:lnTo>
                  <a:lnTo>
                    <a:pt x="29788" y="5357"/>
                  </a:lnTo>
                  <a:lnTo>
                    <a:pt x="29857" y="5218"/>
                  </a:lnTo>
                  <a:lnTo>
                    <a:pt x="29926" y="5080"/>
                  </a:lnTo>
                  <a:lnTo>
                    <a:pt x="29960" y="4907"/>
                  </a:lnTo>
                  <a:lnTo>
                    <a:pt x="29960" y="4562"/>
                  </a:lnTo>
                  <a:lnTo>
                    <a:pt x="29891" y="4113"/>
                  </a:lnTo>
                  <a:lnTo>
                    <a:pt x="29788" y="3629"/>
                  </a:lnTo>
                  <a:lnTo>
                    <a:pt x="29649" y="3145"/>
                  </a:lnTo>
                  <a:lnTo>
                    <a:pt x="29442" y="2627"/>
                  </a:lnTo>
                  <a:lnTo>
                    <a:pt x="29235" y="2143"/>
                  </a:lnTo>
                  <a:lnTo>
                    <a:pt x="28958" y="1659"/>
                  </a:lnTo>
                  <a:lnTo>
                    <a:pt x="28716" y="1210"/>
                  </a:lnTo>
                  <a:lnTo>
                    <a:pt x="28440" y="795"/>
                  </a:lnTo>
                  <a:lnTo>
                    <a:pt x="28164" y="450"/>
                  </a:lnTo>
                  <a:lnTo>
                    <a:pt x="27887" y="208"/>
                  </a:lnTo>
                  <a:lnTo>
                    <a:pt x="27645" y="35"/>
                  </a:lnTo>
                  <a:lnTo>
                    <a:pt x="27542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49" name="Google Shape;14295;p81">
              <a:extLst>
                <a:ext uri="{FF2B5EF4-FFF2-40B4-BE49-F238E27FC236}">
                  <a16:creationId xmlns:a16="http://schemas.microsoft.com/office/drawing/2014/main" id="{739270DD-B4AA-1D8F-BC91-86ED3310C686}"/>
                </a:ext>
              </a:extLst>
            </p:cNvPr>
            <p:cNvSpPr/>
            <p:nvPr/>
          </p:nvSpPr>
          <p:spPr>
            <a:xfrm>
              <a:off x="3670900" y="2765050"/>
              <a:ext cx="137375" cy="338675"/>
            </a:xfrm>
            <a:custGeom>
              <a:avLst/>
              <a:gdLst/>
              <a:ahLst/>
              <a:cxnLst/>
              <a:rect l="l" t="t" r="r" b="b"/>
              <a:pathLst>
                <a:path w="5495" h="13547" extrusionOk="0">
                  <a:moveTo>
                    <a:pt x="2765" y="0"/>
                  </a:moveTo>
                  <a:lnTo>
                    <a:pt x="2696" y="35"/>
                  </a:lnTo>
                  <a:lnTo>
                    <a:pt x="2592" y="208"/>
                  </a:lnTo>
                  <a:lnTo>
                    <a:pt x="2523" y="415"/>
                  </a:lnTo>
                  <a:lnTo>
                    <a:pt x="2488" y="657"/>
                  </a:lnTo>
                  <a:lnTo>
                    <a:pt x="2454" y="968"/>
                  </a:lnTo>
                  <a:lnTo>
                    <a:pt x="2488" y="1694"/>
                  </a:lnTo>
                  <a:lnTo>
                    <a:pt x="2592" y="3145"/>
                  </a:lnTo>
                  <a:lnTo>
                    <a:pt x="2592" y="3767"/>
                  </a:lnTo>
                  <a:lnTo>
                    <a:pt x="2558" y="3974"/>
                  </a:lnTo>
                  <a:lnTo>
                    <a:pt x="2488" y="4113"/>
                  </a:lnTo>
                  <a:lnTo>
                    <a:pt x="2385" y="4251"/>
                  </a:lnTo>
                  <a:lnTo>
                    <a:pt x="2247" y="4355"/>
                  </a:lnTo>
                  <a:lnTo>
                    <a:pt x="2074" y="4424"/>
                  </a:lnTo>
                  <a:lnTo>
                    <a:pt x="1866" y="4458"/>
                  </a:lnTo>
                  <a:lnTo>
                    <a:pt x="1452" y="4527"/>
                  </a:lnTo>
                  <a:lnTo>
                    <a:pt x="1037" y="4562"/>
                  </a:lnTo>
                  <a:lnTo>
                    <a:pt x="830" y="4596"/>
                  </a:lnTo>
                  <a:lnTo>
                    <a:pt x="622" y="4666"/>
                  </a:lnTo>
                  <a:lnTo>
                    <a:pt x="450" y="4735"/>
                  </a:lnTo>
                  <a:lnTo>
                    <a:pt x="277" y="4873"/>
                  </a:lnTo>
                  <a:lnTo>
                    <a:pt x="173" y="5011"/>
                  </a:lnTo>
                  <a:lnTo>
                    <a:pt x="70" y="5218"/>
                  </a:lnTo>
                  <a:lnTo>
                    <a:pt x="0" y="5495"/>
                  </a:lnTo>
                  <a:lnTo>
                    <a:pt x="0" y="5806"/>
                  </a:lnTo>
                  <a:lnTo>
                    <a:pt x="35" y="5944"/>
                  </a:lnTo>
                  <a:lnTo>
                    <a:pt x="70" y="6082"/>
                  </a:lnTo>
                  <a:lnTo>
                    <a:pt x="173" y="6359"/>
                  </a:lnTo>
                  <a:lnTo>
                    <a:pt x="346" y="6635"/>
                  </a:lnTo>
                  <a:lnTo>
                    <a:pt x="553" y="6946"/>
                  </a:lnTo>
                  <a:lnTo>
                    <a:pt x="761" y="7326"/>
                  </a:lnTo>
                  <a:lnTo>
                    <a:pt x="1003" y="7776"/>
                  </a:lnTo>
                  <a:lnTo>
                    <a:pt x="1210" y="8329"/>
                  </a:lnTo>
                  <a:lnTo>
                    <a:pt x="1383" y="8985"/>
                  </a:lnTo>
                  <a:lnTo>
                    <a:pt x="1486" y="9503"/>
                  </a:lnTo>
                  <a:lnTo>
                    <a:pt x="1555" y="10125"/>
                  </a:lnTo>
                  <a:lnTo>
                    <a:pt x="1694" y="11508"/>
                  </a:lnTo>
                  <a:lnTo>
                    <a:pt x="1866" y="12752"/>
                  </a:lnTo>
                  <a:lnTo>
                    <a:pt x="1936" y="13201"/>
                  </a:lnTo>
                  <a:lnTo>
                    <a:pt x="2005" y="13339"/>
                  </a:lnTo>
                  <a:lnTo>
                    <a:pt x="2039" y="13443"/>
                  </a:lnTo>
                  <a:lnTo>
                    <a:pt x="2143" y="13512"/>
                  </a:lnTo>
                  <a:lnTo>
                    <a:pt x="2281" y="13547"/>
                  </a:lnTo>
                  <a:lnTo>
                    <a:pt x="2488" y="13547"/>
                  </a:lnTo>
                  <a:lnTo>
                    <a:pt x="2696" y="13512"/>
                  </a:lnTo>
                  <a:lnTo>
                    <a:pt x="3283" y="13374"/>
                  </a:lnTo>
                  <a:lnTo>
                    <a:pt x="3871" y="13166"/>
                  </a:lnTo>
                  <a:lnTo>
                    <a:pt x="4977" y="12752"/>
                  </a:lnTo>
                  <a:lnTo>
                    <a:pt x="5495" y="12579"/>
                  </a:lnTo>
                  <a:lnTo>
                    <a:pt x="5322" y="11784"/>
                  </a:lnTo>
                  <a:lnTo>
                    <a:pt x="5115" y="10851"/>
                  </a:lnTo>
                  <a:lnTo>
                    <a:pt x="4838" y="9918"/>
                  </a:lnTo>
                  <a:lnTo>
                    <a:pt x="4527" y="8985"/>
                  </a:lnTo>
                  <a:lnTo>
                    <a:pt x="4251" y="8156"/>
                  </a:lnTo>
                  <a:lnTo>
                    <a:pt x="4044" y="7326"/>
                  </a:lnTo>
                  <a:lnTo>
                    <a:pt x="3940" y="6877"/>
                  </a:lnTo>
                  <a:lnTo>
                    <a:pt x="3905" y="6463"/>
                  </a:lnTo>
                  <a:lnTo>
                    <a:pt x="3871" y="6048"/>
                  </a:lnTo>
                  <a:lnTo>
                    <a:pt x="3905" y="5633"/>
                  </a:lnTo>
                  <a:lnTo>
                    <a:pt x="3940" y="4977"/>
                  </a:lnTo>
                  <a:lnTo>
                    <a:pt x="3871" y="4147"/>
                  </a:lnTo>
                  <a:lnTo>
                    <a:pt x="3802" y="3249"/>
                  </a:lnTo>
                  <a:lnTo>
                    <a:pt x="3663" y="2316"/>
                  </a:lnTo>
                  <a:lnTo>
                    <a:pt x="3491" y="1452"/>
                  </a:lnTo>
                  <a:lnTo>
                    <a:pt x="3352" y="726"/>
                  </a:lnTo>
                  <a:lnTo>
                    <a:pt x="3180" y="242"/>
                  </a:lnTo>
                  <a:lnTo>
                    <a:pt x="3111" y="70"/>
                  </a:lnTo>
                  <a:lnTo>
                    <a:pt x="3041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0" name="Google Shape;14296;p81">
              <a:extLst>
                <a:ext uri="{FF2B5EF4-FFF2-40B4-BE49-F238E27FC236}">
                  <a16:creationId xmlns:a16="http://schemas.microsoft.com/office/drawing/2014/main" id="{29A7E44A-585C-3011-9DAD-AA5FE43A0E42}"/>
                </a:ext>
              </a:extLst>
            </p:cNvPr>
            <p:cNvSpPr/>
            <p:nvPr/>
          </p:nvSpPr>
          <p:spPr>
            <a:xfrm>
              <a:off x="3986225" y="5196100"/>
              <a:ext cx="131350" cy="218575"/>
            </a:xfrm>
            <a:custGeom>
              <a:avLst/>
              <a:gdLst/>
              <a:ahLst/>
              <a:cxnLst/>
              <a:rect l="l" t="t" r="r" b="b"/>
              <a:pathLst>
                <a:path w="5254" h="8743" extrusionOk="0">
                  <a:moveTo>
                    <a:pt x="312" y="0"/>
                  </a:moveTo>
                  <a:lnTo>
                    <a:pt x="139" y="2454"/>
                  </a:lnTo>
                  <a:lnTo>
                    <a:pt x="1" y="4527"/>
                  </a:lnTo>
                  <a:lnTo>
                    <a:pt x="1" y="5460"/>
                  </a:lnTo>
                  <a:lnTo>
                    <a:pt x="1" y="6220"/>
                  </a:lnTo>
                  <a:lnTo>
                    <a:pt x="1210" y="8743"/>
                  </a:lnTo>
                  <a:lnTo>
                    <a:pt x="4597" y="6773"/>
                  </a:lnTo>
                  <a:lnTo>
                    <a:pt x="5253" y="10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1" name="Google Shape;14297;p81">
              <a:extLst>
                <a:ext uri="{FF2B5EF4-FFF2-40B4-BE49-F238E27FC236}">
                  <a16:creationId xmlns:a16="http://schemas.microsoft.com/office/drawing/2014/main" id="{60B1FF4F-3290-6D03-F6EE-CA740CF3A373}"/>
                </a:ext>
              </a:extLst>
            </p:cNvPr>
            <p:cNvSpPr/>
            <p:nvPr/>
          </p:nvSpPr>
          <p:spPr>
            <a:xfrm>
              <a:off x="3751250" y="5332600"/>
              <a:ext cx="366325" cy="139975"/>
            </a:xfrm>
            <a:custGeom>
              <a:avLst/>
              <a:gdLst/>
              <a:ahLst/>
              <a:cxnLst/>
              <a:rect l="l" t="t" r="r" b="b"/>
              <a:pathLst>
                <a:path w="14653" h="5599" extrusionOk="0">
                  <a:moveTo>
                    <a:pt x="8881" y="0"/>
                  </a:moveTo>
                  <a:lnTo>
                    <a:pt x="8777" y="35"/>
                  </a:lnTo>
                  <a:lnTo>
                    <a:pt x="8708" y="104"/>
                  </a:lnTo>
                  <a:lnTo>
                    <a:pt x="8674" y="242"/>
                  </a:lnTo>
                  <a:lnTo>
                    <a:pt x="8639" y="588"/>
                  </a:lnTo>
                  <a:lnTo>
                    <a:pt x="8605" y="829"/>
                  </a:lnTo>
                  <a:lnTo>
                    <a:pt x="8536" y="1106"/>
                  </a:lnTo>
                  <a:lnTo>
                    <a:pt x="8466" y="1244"/>
                  </a:lnTo>
                  <a:lnTo>
                    <a:pt x="8397" y="1382"/>
                  </a:lnTo>
                  <a:lnTo>
                    <a:pt x="8259" y="1521"/>
                  </a:lnTo>
                  <a:lnTo>
                    <a:pt x="8086" y="1659"/>
                  </a:lnTo>
                  <a:lnTo>
                    <a:pt x="7706" y="1866"/>
                  </a:lnTo>
                  <a:lnTo>
                    <a:pt x="7222" y="2073"/>
                  </a:lnTo>
                  <a:lnTo>
                    <a:pt x="6670" y="2246"/>
                  </a:lnTo>
                  <a:lnTo>
                    <a:pt x="6082" y="2384"/>
                  </a:lnTo>
                  <a:lnTo>
                    <a:pt x="5426" y="2488"/>
                  </a:lnTo>
                  <a:lnTo>
                    <a:pt x="4734" y="2557"/>
                  </a:lnTo>
                  <a:lnTo>
                    <a:pt x="3387" y="2695"/>
                  </a:lnTo>
                  <a:lnTo>
                    <a:pt x="2177" y="2799"/>
                  </a:lnTo>
                  <a:lnTo>
                    <a:pt x="1175" y="2834"/>
                  </a:lnTo>
                  <a:lnTo>
                    <a:pt x="588" y="2868"/>
                  </a:lnTo>
                  <a:lnTo>
                    <a:pt x="484" y="2937"/>
                  </a:lnTo>
                  <a:lnTo>
                    <a:pt x="380" y="3006"/>
                  </a:lnTo>
                  <a:lnTo>
                    <a:pt x="277" y="3145"/>
                  </a:lnTo>
                  <a:lnTo>
                    <a:pt x="173" y="3318"/>
                  </a:lnTo>
                  <a:lnTo>
                    <a:pt x="104" y="3490"/>
                  </a:lnTo>
                  <a:lnTo>
                    <a:pt x="35" y="3732"/>
                  </a:lnTo>
                  <a:lnTo>
                    <a:pt x="35" y="3940"/>
                  </a:lnTo>
                  <a:lnTo>
                    <a:pt x="0" y="4181"/>
                  </a:lnTo>
                  <a:lnTo>
                    <a:pt x="35" y="4423"/>
                  </a:lnTo>
                  <a:lnTo>
                    <a:pt x="138" y="4665"/>
                  </a:lnTo>
                  <a:lnTo>
                    <a:pt x="242" y="4873"/>
                  </a:lnTo>
                  <a:lnTo>
                    <a:pt x="415" y="5045"/>
                  </a:lnTo>
                  <a:lnTo>
                    <a:pt x="657" y="5218"/>
                  </a:lnTo>
                  <a:lnTo>
                    <a:pt x="933" y="5356"/>
                  </a:lnTo>
                  <a:lnTo>
                    <a:pt x="1313" y="5425"/>
                  </a:lnTo>
                  <a:lnTo>
                    <a:pt x="1728" y="5460"/>
                  </a:lnTo>
                  <a:lnTo>
                    <a:pt x="7430" y="5529"/>
                  </a:lnTo>
                  <a:lnTo>
                    <a:pt x="13304" y="5598"/>
                  </a:lnTo>
                  <a:lnTo>
                    <a:pt x="13477" y="5564"/>
                  </a:lnTo>
                  <a:lnTo>
                    <a:pt x="13650" y="5529"/>
                  </a:lnTo>
                  <a:lnTo>
                    <a:pt x="13823" y="5460"/>
                  </a:lnTo>
                  <a:lnTo>
                    <a:pt x="13961" y="5391"/>
                  </a:lnTo>
                  <a:lnTo>
                    <a:pt x="14099" y="5253"/>
                  </a:lnTo>
                  <a:lnTo>
                    <a:pt x="14203" y="5114"/>
                  </a:lnTo>
                  <a:lnTo>
                    <a:pt x="14307" y="4976"/>
                  </a:lnTo>
                  <a:lnTo>
                    <a:pt x="14341" y="4803"/>
                  </a:lnTo>
                  <a:lnTo>
                    <a:pt x="14514" y="4181"/>
                  </a:lnTo>
                  <a:lnTo>
                    <a:pt x="14583" y="3490"/>
                  </a:lnTo>
                  <a:lnTo>
                    <a:pt x="14652" y="2765"/>
                  </a:lnTo>
                  <a:lnTo>
                    <a:pt x="14618" y="2108"/>
                  </a:lnTo>
                  <a:lnTo>
                    <a:pt x="14583" y="1521"/>
                  </a:lnTo>
                  <a:lnTo>
                    <a:pt x="14514" y="1244"/>
                  </a:lnTo>
                  <a:lnTo>
                    <a:pt x="14445" y="1037"/>
                  </a:lnTo>
                  <a:lnTo>
                    <a:pt x="14376" y="864"/>
                  </a:lnTo>
                  <a:lnTo>
                    <a:pt x="14307" y="726"/>
                  </a:lnTo>
                  <a:lnTo>
                    <a:pt x="14203" y="622"/>
                  </a:lnTo>
                  <a:lnTo>
                    <a:pt x="14065" y="588"/>
                  </a:lnTo>
                  <a:lnTo>
                    <a:pt x="13650" y="484"/>
                  </a:lnTo>
                  <a:lnTo>
                    <a:pt x="13166" y="415"/>
                  </a:lnTo>
                  <a:lnTo>
                    <a:pt x="11991" y="380"/>
                  </a:lnTo>
                  <a:lnTo>
                    <a:pt x="11335" y="346"/>
                  </a:lnTo>
                  <a:lnTo>
                    <a:pt x="10609" y="277"/>
                  </a:lnTo>
                  <a:lnTo>
                    <a:pt x="9849" y="173"/>
                  </a:lnTo>
                  <a:lnTo>
                    <a:pt x="90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2" name="Google Shape;14298;p81">
              <a:extLst>
                <a:ext uri="{FF2B5EF4-FFF2-40B4-BE49-F238E27FC236}">
                  <a16:creationId xmlns:a16="http://schemas.microsoft.com/office/drawing/2014/main" id="{B6302F3E-D212-A3DF-634F-394785C19C17}"/>
                </a:ext>
              </a:extLst>
            </p:cNvPr>
            <p:cNvSpPr/>
            <p:nvPr/>
          </p:nvSpPr>
          <p:spPr>
            <a:xfrm>
              <a:off x="4654025" y="5114025"/>
              <a:ext cx="162450" cy="235875"/>
            </a:xfrm>
            <a:custGeom>
              <a:avLst/>
              <a:gdLst/>
              <a:ahLst/>
              <a:cxnLst/>
              <a:rect l="l" t="t" r="r" b="b"/>
              <a:pathLst>
                <a:path w="6498" h="9435" extrusionOk="0">
                  <a:moveTo>
                    <a:pt x="4700" y="0"/>
                  </a:moveTo>
                  <a:lnTo>
                    <a:pt x="1" y="1521"/>
                  </a:lnTo>
                  <a:lnTo>
                    <a:pt x="726" y="3871"/>
                  </a:lnTo>
                  <a:lnTo>
                    <a:pt x="1348" y="5840"/>
                  </a:lnTo>
                  <a:lnTo>
                    <a:pt x="1694" y="6739"/>
                  </a:lnTo>
                  <a:lnTo>
                    <a:pt x="1970" y="7465"/>
                  </a:lnTo>
                  <a:lnTo>
                    <a:pt x="4009" y="9434"/>
                  </a:lnTo>
                  <a:lnTo>
                    <a:pt x="6497" y="6497"/>
                  </a:lnTo>
                  <a:lnTo>
                    <a:pt x="470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3" name="Google Shape;14299;p81">
              <a:extLst>
                <a:ext uri="{FF2B5EF4-FFF2-40B4-BE49-F238E27FC236}">
                  <a16:creationId xmlns:a16="http://schemas.microsoft.com/office/drawing/2014/main" id="{8563BFC2-0055-EBD2-2F1E-1EFA0C450F28}"/>
                </a:ext>
              </a:extLst>
            </p:cNvPr>
            <p:cNvSpPr/>
            <p:nvPr/>
          </p:nvSpPr>
          <p:spPr>
            <a:xfrm>
              <a:off x="4509750" y="5258300"/>
              <a:ext cx="346450" cy="218575"/>
            </a:xfrm>
            <a:custGeom>
              <a:avLst/>
              <a:gdLst/>
              <a:ahLst/>
              <a:cxnLst/>
              <a:rect l="l" t="t" r="r" b="b"/>
              <a:pathLst>
                <a:path w="13858" h="8743" extrusionOk="0">
                  <a:moveTo>
                    <a:pt x="12061" y="0"/>
                  </a:moveTo>
                  <a:lnTo>
                    <a:pt x="11646" y="35"/>
                  </a:lnTo>
                  <a:lnTo>
                    <a:pt x="11162" y="138"/>
                  </a:lnTo>
                  <a:lnTo>
                    <a:pt x="10022" y="484"/>
                  </a:lnTo>
                  <a:lnTo>
                    <a:pt x="9400" y="657"/>
                  </a:lnTo>
                  <a:lnTo>
                    <a:pt x="8709" y="830"/>
                  </a:lnTo>
                  <a:lnTo>
                    <a:pt x="7949" y="1002"/>
                  </a:lnTo>
                  <a:lnTo>
                    <a:pt x="7154" y="1106"/>
                  </a:lnTo>
                  <a:lnTo>
                    <a:pt x="6981" y="1141"/>
                  </a:lnTo>
                  <a:lnTo>
                    <a:pt x="6877" y="1210"/>
                  </a:lnTo>
                  <a:lnTo>
                    <a:pt x="6877" y="1279"/>
                  </a:lnTo>
                  <a:lnTo>
                    <a:pt x="6877" y="1417"/>
                  </a:lnTo>
                  <a:lnTo>
                    <a:pt x="6947" y="1797"/>
                  </a:lnTo>
                  <a:lnTo>
                    <a:pt x="7016" y="2005"/>
                  </a:lnTo>
                  <a:lnTo>
                    <a:pt x="7050" y="2281"/>
                  </a:lnTo>
                  <a:lnTo>
                    <a:pt x="7050" y="2454"/>
                  </a:lnTo>
                  <a:lnTo>
                    <a:pt x="7016" y="2627"/>
                  </a:lnTo>
                  <a:lnTo>
                    <a:pt x="6947" y="2765"/>
                  </a:lnTo>
                  <a:lnTo>
                    <a:pt x="6843" y="2938"/>
                  </a:lnTo>
                  <a:lnTo>
                    <a:pt x="6566" y="3283"/>
                  </a:lnTo>
                  <a:lnTo>
                    <a:pt x="6186" y="3629"/>
                  </a:lnTo>
                  <a:lnTo>
                    <a:pt x="5737" y="3940"/>
                  </a:lnTo>
                  <a:lnTo>
                    <a:pt x="5219" y="4285"/>
                  </a:lnTo>
                  <a:lnTo>
                    <a:pt x="4631" y="4596"/>
                  </a:lnTo>
                  <a:lnTo>
                    <a:pt x="4044" y="4907"/>
                  </a:lnTo>
                  <a:lnTo>
                    <a:pt x="2800" y="5460"/>
                  </a:lnTo>
                  <a:lnTo>
                    <a:pt x="1694" y="5944"/>
                  </a:lnTo>
                  <a:lnTo>
                    <a:pt x="761" y="6324"/>
                  </a:lnTo>
                  <a:lnTo>
                    <a:pt x="208" y="6566"/>
                  </a:lnTo>
                  <a:lnTo>
                    <a:pt x="139" y="6635"/>
                  </a:lnTo>
                  <a:lnTo>
                    <a:pt x="70" y="6739"/>
                  </a:lnTo>
                  <a:lnTo>
                    <a:pt x="35" y="6912"/>
                  </a:lnTo>
                  <a:lnTo>
                    <a:pt x="1" y="7084"/>
                  </a:lnTo>
                  <a:lnTo>
                    <a:pt x="1" y="7292"/>
                  </a:lnTo>
                  <a:lnTo>
                    <a:pt x="35" y="7499"/>
                  </a:lnTo>
                  <a:lnTo>
                    <a:pt x="104" y="7741"/>
                  </a:lnTo>
                  <a:lnTo>
                    <a:pt x="173" y="7948"/>
                  </a:lnTo>
                  <a:lnTo>
                    <a:pt x="277" y="8156"/>
                  </a:lnTo>
                  <a:lnTo>
                    <a:pt x="450" y="8363"/>
                  </a:lnTo>
                  <a:lnTo>
                    <a:pt x="623" y="8536"/>
                  </a:lnTo>
                  <a:lnTo>
                    <a:pt x="865" y="8639"/>
                  </a:lnTo>
                  <a:lnTo>
                    <a:pt x="1141" y="8708"/>
                  </a:lnTo>
                  <a:lnTo>
                    <a:pt x="1452" y="8743"/>
                  </a:lnTo>
                  <a:lnTo>
                    <a:pt x="1832" y="8708"/>
                  </a:lnTo>
                  <a:lnTo>
                    <a:pt x="2247" y="8605"/>
                  </a:lnTo>
                  <a:lnTo>
                    <a:pt x="7638" y="6808"/>
                  </a:lnTo>
                  <a:lnTo>
                    <a:pt x="13132" y="4942"/>
                  </a:lnTo>
                  <a:lnTo>
                    <a:pt x="13305" y="4873"/>
                  </a:lnTo>
                  <a:lnTo>
                    <a:pt x="13478" y="4769"/>
                  </a:lnTo>
                  <a:lnTo>
                    <a:pt x="13581" y="4665"/>
                  </a:lnTo>
                  <a:lnTo>
                    <a:pt x="13720" y="4527"/>
                  </a:lnTo>
                  <a:lnTo>
                    <a:pt x="13789" y="4389"/>
                  </a:lnTo>
                  <a:lnTo>
                    <a:pt x="13858" y="4216"/>
                  </a:lnTo>
                  <a:lnTo>
                    <a:pt x="13858" y="4043"/>
                  </a:lnTo>
                  <a:lnTo>
                    <a:pt x="13858" y="3871"/>
                  </a:lnTo>
                  <a:lnTo>
                    <a:pt x="13789" y="3214"/>
                  </a:lnTo>
                  <a:lnTo>
                    <a:pt x="13616" y="2523"/>
                  </a:lnTo>
                  <a:lnTo>
                    <a:pt x="13409" y="1866"/>
                  </a:lnTo>
                  <a:lnTo>
                    <a:pt x="13132" y="1244"/>
                  </a:lnTo>
                  <a:lnTo>
                    <a:pt x="12890" y="691"/>
                  </a:lnTo>
                  <a:lnTo>
                    <a:pt x="12752" y="484"/>
                  </a:lnTo>
                  <a:lnTo>
                    <a:pt x="12579" y="277"/>
                  </a:lnTo>
                  <a:lnTo>
                    <a:pt x="12441" y="138"/>
                  </a:lnTo>
                  <a:lnTo>
                    <a:pt x="12303" y="35"/>
                  </a:lnTo>
                  <a:lnTo>
                    <a:pt x="1219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4" name="Google Shape;14300;p81">
              <a:extLst>
                <a:ext uri="{FF2B5EF4-FFF2-40B4-BE49-F238E27FC236}">
                  <a16:creationId xmlns:a16="http://schemas.microsoft.com/office/drawing/2014/main" id="{C63AD26C-1C04-9480-881C-C378A6A34D3D}"/>
                </a:ext>
              </a:extLst>
            </p:cNvPr>
            <p:cNvSpPr/>
            <p:nvPr/>
          </p:nvSpPr>
          <p:spPr>
            <a:xfrm>
              <a:off x="3969800" y="3703250"/>
              <a:ext cx="854450" cy="1612075"/>
            </a:xfrm>
            <a:custGeom>
              <a:avLst/>
              <a:gdLst/>
              <a:ahLst/>
              <a:cxnLst/>
              <a:rect l="l" t="t" r="r" b="b"/>
              <a:pathLst>
                <a:path w="34178" h="64483" extrusionOk="0">
                  <a:moveTo>
                    <a:pt x="16657" y="1"/>
                  </a:moveTo>
                  <a:lnTo>
                    <a:pt x="12579" y="2247"/>
                  </a:lnTo>
                  <a:lnTo>
                    <a:pt x="12027" y="3767"/>
                  </a:lnTo>
                  <a:lnTo>
                    <a:pt x="11439" y="5599"/>
                  </a:lnTo>
                  <a:lnTo>
                    <a:pt x="10817" y="7672"/>
                  </a:lnTo>
                  <a:lnTo>
                    <a:pt x="10161" y="9953"/>
                  </a:lnTo>
                  <a:lnTo>
                    <a:pt x="9538" y="12337"/>
                  </a:lnTo>
                  <a:lnTo>
                    <a:pt x="8882" y="14825"/>
                  </a:lnTo>
                  <a:lnTo>
                    <a:pt x="7638" y="19940"/>
                  </a:lnTo>
                  <a:lnTo>
                    <a:pt x="6463" y="24881"/>
                  </a:lnTo>
                  <a:lnTo>
                    <a:pt x="5495" y="29305"/>
                  </a:lnTo>
                  <a:lnTo>
                    <a:pt x="4770" y="32795"/>
                  </a:lnTo>
                  <a:lnTo>
                    <a:pt x="4355" y="35006"/>
                  </a:lnTo>
                  <a:lnTo>
                    <a:pt x="1971" y="50142"/>
                  </a:lnTo>
                  <a:lnTo>
                    <a:pt x="588" y="58781"/>
                  </a:lnTo>
                  <a:lnTo>
                    <a:pt x="174" y="61649"/>
                  </a:lnTo>
                  <a:lnTo>
                    <a:pt x="1" y="62893"/>
                  </a:lnTo>
                  <a:lnTo>
                    <a:pt x="1" y="62962"/>
                  </a:lnTo>
                  <a:lnTo>
                    <a:pt x="70" y="63032"/>
                  </a:lnTo>
                  <a:lnTo>
                    <a:pt x="277" y="63170"/>
                  </a:lnTo>
                  <a:lnTo>
                    <a:pt x="623" y="63343"/>
                  </a:lnTo>
                  <a:lnTo>
                    <a:pt x="1038" y="63515"/>
                  </a:lnTo>
                  <a:lnTo>
                    <a:pt x="1556" y="63723"/>
                  </a:lnTo>
                  <a:lnTo>
                    <a:pt x="2109" y="63861"/>
                  </a:lnTo>
                  <a:lnTo>
                    <a:pt x="2731" y="64034"/>
                  </a:lnTo>
                  <a:lnTo>
                    <a:pt x="3387" y="64172"/>
                  </a:lnTo>
                  <a:lnTo>
                    <a:pt x="4044" y="64310"/>
                  </a:lnTo>
                  <a:lnTo>
                    <a:pt x="4701" y="64379"/>
                  </a:lnTo>
                  <a:lnTo>
                    <a:pt x="5323" y="64448"/>
                  </a:lnTo>
                  <a:lnTo>
                    <a:pt x="5910" y="64483"/>
                  </a:lnTo>
                  <a:lnTo>
                    <a:pt x="6394" y="64448"/>
                  </a:lnTo>
                  <a:lnTo>
                    <a:pt x="6843" y="64379"/>
                  </a:lnTo>
                  <a:lnTo>
                    <a:pt x="7016" y="64345"/>
                  </a:lnTo>
                  <a:lnTo>
                    <a:pt x="7189" y="64276"/>
                  </a:lnTo>
                  <a:lnTo>
                    <a:pt x="7292" y="64172"/>
                  </a:lnTo>
                  <a:lnTo>
                    <a:pt x="7396" y="64103"/>
                  </a:lnTo>
                  <a:lnTo>
                    <a:pt x="7465" y="63930"/>
                  </a:lnTo>
                  <a:lnTo>
                    <a:pt x="7569" y="63654"/>
                  </a:lnTo>
                  <a:lnTo>
                    <a:pt x="7742" y="62859"/>
                  </a:lnTo>
                  <a:lnTo>
                    <a:pt x="7949" y="61753"/>
                  </a:lnTo>
                  <a:lnTo>
                    <a:pt x="8156" y="60336"/>
                  </a:lnTo>
                  <a:lnTo>
                    <a:pt x="8605" y="56846"/>
                  </a:lnTo>
                  <a:lnTo>
                    <a:pt x="9158" y="52768"/>
                  </a:lnTo>
                  <a:lnTo>
                    <a:pt x="9469" y="50660"/>
                  </a:lnTo>
                  <a:lnTo>
                    <a:pt x="9780" y="48518"/>
                  </a:lnTo>
                  <a:lnTo>
                    <a:pt x="10126" y="46410"/>
                  </a:lnTo>
                  <a:lnTo>
                    <a:pt x="10472" y="44406"/>
                  </a:lnTo>
                  <a:lnTo>
                    <a:pt x="10852" y="42540"/>
                  </a:lnTo>
                  <a:lnTo>
                    <a:pt x="11266" y="40846"/>
                  </a:lnTo>
                  <a:lnTo>
                    <a:pt x="11474" y="40086"/>
                  </a:lnTo>
                  <a:lnTo>
                    <a:pt x="11681" y="39395"/>
                  </a:lnTo>
                  <a:lnTo>
                    <a:pt x="11888" y="38773"/>
                  </a:lnTo>
                  <a:lnTo>
                    <a:pt x="12130" y="38220"/>
                  </a:lnTo>
                  <a:lnTo>
                    <a:pt x="14618" y="32415"/>
                  </a:lnTo>
                  <a:lnTo>
                    <a:pt x="17797" y="25020"/>
                  </a:lnTo>
                  <a:lnTo>
                    <a:pt x="21633" y="15931"/>
                  </a:lnTo>
                  <a:lnTo>
                    <a:pt x="21219" y="19283"/>
                  </a:lnTo>
                  <a:lnTo>
                    <a:pt x="20769" y="22946"/>
                  </a:lnTo>
                  <a:lnTo>
                    <a:pt x="20320" y="26713"/>
                  </a:lnTo>
                  <a:lnTo>
                    <a:pt x="19905" y="30410"/>
                  </a:lnTo>
                  <a:lnTo>
                    <a:pt x="19733" y="32138"/>
                  </a:lnTo>
                  <a:lnTo>
                    <a:pt x="19594" y="33797"/>
                  </a:lnTo>
                  <a:lnTo>
                    <a:pt x="19491" y="35352"/>
                  </a:lnTo>
                  <a:lnTo>
                    <a:pt x="19456" y="36769"/>
                  </a:lnTo>
                  <a:lnTo>
                    <a:pt x="19456" y="38047"/>
                  </a:lnTo>
                  <a:lnTo>
                    <a:pt x="19525" y="39119"/>
                  </a:lnTo>
                  <a:lnTo>
                    <a:pt x="19560" y="39568"/>
                  </a:lnTo>
                  <a:lnTo>
                    <a:pt x="19629" y="39982"/>
                  </a:lnTo>
                  <a:lnTo>
                    <a:pt x="19733" y="40328"/>
                  </a:lnTo>
                  <a:lnTo>
                    <a:pt x="19836" y="40604"/>
                  </a:lnTo>
                  <a:lnTo>
                    <a:pt x="20838" y="43300"/>
                  </a:lnTo>
                  <a:lnTo>
                    <a:pt x="22013" y="46548"/>
                  </a:lnTo>
                  <a:lnTo>
                    <a:pt x="24501" y="53563"/>
                  </a:lnTo>
                  <a:lnTo>
                    <a:pt x="27370" y="61891"/>
                  </a:lnTo>
                  <a:lnTo>
                    <a:pt x="27577" y="61960"/>
                  </a:lnTo>
                  <a:lnTo>
                    <a:pt x="27784" y="62029"/>
                  </a:lnTo>
                  <a:lnTo>
                    <a:pt x="28268" y="62133"/>
                  </a:lnTo>
                  <a:lnTo>
                    <a:pt x="28786" y="62133"/>
                  </a:lnTo>
                  <a:lnTo>
                    <a:pt x="29339" y="62099"/>
                  </a:lnTo>
                  <a:lnTo>
                    <a:pt x="29927" y="62029"/>
                  </a:lnTo>
                  <a:lnTo>
                    <a:pt x="30549" y="61891"/>
                  </a:lnTo>
                  <a:lnTo>
                    <a:pt x="31136" y="61753"/>
                  </a:lnTo>
                  <a:lnTo>
                    <a:pt x="31724" y="61546"/>
                  </a:lnTo>
                  <a:lnTo>
                    <a:pt x="32277" y="61373"/>
                  </a:lnTo>
                  <a:lnTo>
                    <a:pt x="32795" y="61166"/>
                  </a:lnTo>
                  <a:lnTo>
                    <a:pt x="33624" y="60785"/>
                  </a:lnTo>
                  <a:lnTo>
                    <a:pt x="33901" y="60613"/>
                  </a:lnTo>
                  <a:lnTo>
                    <a:pt x="34108" y="60509"/>
                  </a:lnTo>
                  <a:lnTo>
                    <a:pt x="34177" y="60405"/>
                  </a:lnTo>
                  <a:lnTo>
                    <a:pt x="34177" y="60371"/>
                  </a:lnTo>
                  <a:lnTo>
                    <a:pt x="34143" y="60336"/>
                  </a:lnTo>
                  <a:lnTo>
                    <a:pt x="33452" y="58332"/>
                  </a:lnTo>
                  <a:lnTo>
                    <a:pt x="32622" y="55775"/>
                  </a:lnTo>
                  <a:lnTo>
                    <a:pt x="31724" y="52837"/>
                  </a:lnTo>
                  <a:lnTo>
                    <a:pt x="30791" y="49693"/>
                  </a:lnTo>
                  <a:lnTo>
                    <a:pt x="29892" y="46583"/>
                  </a:lnTo>
                  <a:lnTo>
                    <a:pt x="29132" y="43645"/>
                  </a:lnTo>
                  <a:lnTo>
                    <a:pt x="28821" y="42332"/>
                  </a:lnTo>
                  <a:lnTo>
                    <a:pt x="28545" y="41123"/>
                  </a:lnTo>
                  <a:lnTo>
                    <a:pt x="28337" y="40086"/>
                  </a:lnTo>
                  <a:lnTo>
                    <a:pt x="28199" y="39188"/>
                  </a:lnTo>
                  <a:lnTo>
                    <a:pt x="28199" y="38704"/>
                  </a:lnTo>
                  <a:lnTo>
                    <a:pt x="28199" y="38082"/>
                  </a:lnTo>
                  <a:lnTo>
                    <a:pt x="28233" y="37287"/>
                  </a:lnTo>
                  <a:lnTo>
                    <a:pt x="28303" y="36354"/>
                  </a:lnTo>
                  <a:lnTo>
                    <a:pt x="28510" y="34108"/>
                  </a:lnTo>
                  <a:lnTo>
                    <a:pt x="28821" y="31447"/>
                  </a:lnTo>
                  <a:lnTo>
                    <a:pt x="29201" y="28475"/>
                  </a:lnTo>
                  <a:lnTo>
                    <a:pt x="29650" y="25261"/>
                  </a:lnTo>
                  <a:lnTo>
                    <a:pt x="30687" y="18558"/>
                  </a:lnTo>
                  <a:lnTo>
                    <a:pt x="31689" y="12026"/>
                  </a:lnTo>
                  <a:lnTo>
                    <a:pt x="32622" y="6428"/>
                  </a:lnTo>
                  <a:lnTo>
                    <a:pt x="33521" y="1037"/>
                  </a:lnTo>
                  <a:lnTo>
                    <a:pt x="16657" y="1"/>
                  </a:lnTo>
                  <a:close/>
                </a:path>
              </a:pathLst>
            </a:custGeom>
            <a:solidFill>
              <a:srgbClr val="2D2D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5" name="Google Shape;14301;p81">
              <a:extLst>
                <a:ext uri="{FF2B5EF4-FFF2-40B4-BE49-F238E27FC236}">
                  <a16:creationId xmlns:a16="http://schemas.microsoft.com/office/drawing/2014/main" id="{797E4BFC-6846-22E3-61C8-2656CB7C0384}"/>
                </a:ext>
              </a:extLst>
            </p:cNvPr>
            <p:cNvSpPr/>
            <p:nvPr/>
          </p:nvSpPr>
          <p:spPr>
            <a:xfrm>
              <a:off x="3969800" y="3703250"/>
              <a:ext cx="854450" cy="1612075"/>
            </a:xfrm>
            <a:custGeom>
              <a:avLst/>
              <a:gdLst/>
              <a:ahLst/>
              <a:cxnLst/>
              <a:rect l="l" t="t" r="r" b="b"/>
              <a:pathLst>
                <a:path w="34178" h="64483" fill="none" extrusionOk="0">
                  <a:moveTo>
                    <a:pt x="12579" y="2247"/>
                  </a:moveTo>
                  <a:lnTo>
                    <a:pt x="12579" y="2247"/>
                  </a:lnTo>
                  <a:lnTo>
                    <a:pt x="12027" y="3767"/>
                  </a:lnTo>
                  <a:lnTo>
                    <a:pt x="11439" y="5599"/>
                  </a:lnTo>
                  <a:lnTo>
                    <a:pt x="10817" y="7672"/>
                  </a:lnTo>
                  <a:lnTo>
                    <a:pt x="10161" y="9953"/>
                  </a:lnTo>
                  <a:lnTo>
                    <a:pt x="9538" y="12337"/>
                  </a:lnTo>
                  <a:lnTo>
                    <a:pt x="8882" y="14825"/>
                  </a:lnTo>
                  <a:lnTo>
                    <a:pt x="7638" y="19940"/>
                  </a:lnTo>
                  <a:lnTo>
                    <a:pt x="6463" y="24881"/>
                  </a:lnTo>
                  <a:lnTo>
                    <a:pt x="5495" y="29305"/>
                  </a:lnTo>
                  <a:lnTo>
                    <a:pt x="4770" y="32795"/>
                  </a:lnTo>
                  <a:lnTo>
                    <a:pt x="4355" y="35006"/>
                  </a:lnTo>
                  <a:lnTo>
                    <a:pt x="4355" y="35006"/>
                  </a:lnTo>
                  <a:lnTo>
                    <a:pt x="1971" y="50142"/>
                  </a:lnTo>
                  <a:lnTo>
                    <a:pt x="588" y="58781"/>
                  </a:lnTo>
                  <a:lnTo>
                    <a:pt x="174" y="61649"/>
                  </a:lnTo>
                  <a:lnTo>
                    <a:pt x="1" y="62893"/>
                  </a:lnTo>
                  <a:lnTo>
                    <a:pt x="1" y="62893"/>
                  </a:lnTo>
                  <a:lnTo>
                    <a:pt x="1" y="62962"/>
                  </a:lnTo>
                  <a:lnTo>
                    <a:pt x="70" y="63032"/>
                  </a:lnTo>
                  <a:lnTo>
                    <a:pt x="277" y="63170"/>
                  </a:lnTo>
                  <a:lnTo>
                    <a:pt x="623" y="63343"/>
                  </a:lnTo>
                  <a:lnTo>
                    <a:pt x="1038" y="63515"/>
                  </a:lnTo>
                  <a:lnTo>
                    <a:pt x="1556" y="63723"/>
                  </a:lnTo>
                  <a:lnTo>
                    <a:pt x="2109" y="63861"/>
                  </a:lnTo>
                  <a:lnTo>
                    <a:pt x="2731" y="64034"/>
                  </a:lnTo>
                  <a:lnTo>
                    <a:pt x="3387" y="64172"/>
                  </a:lnTo>
                  <a:lnTo>
                    <a:pt x="4044" y="64310"/>
                  </a:lnTo>
                  <a:lnTo>
                    <a:pt x="4701" y="64379"/>
                  </a:lnTo>
                  <a:lnTo>
                    <a:pt x="5323" y="64448"/>
                  </a:lnTo>
                  <a:lnTo>
                    <a:pt x="5910" y="64483"/>
                  </a:lnTo>
                  <a:lnTo>
                    <a:pt x="6394" y="64448"/>
                  </a:lnTo>
                  <a:lnTo>
                    <a:pt x="6843" y="64379"/>
                  </a:lnTo>
                  <a:lnTo>
                    <a:pt x="7016" y="64345"/>
                  </a:lnTo>
                  <a:lnTo>
                    <a:pt x="7189" y="64276"/>
                  </a:lnTo>
                  <a:lnTo>
                    <a:pt x="7292" y="64172"/>
                  </a:lnTo>
                  <a:lnTo>
                    <a:pt x="7396" y="64103"/>
                  </a:lnTo>
                  <a:lnTo>
                    <a:pt x="7396" y="64103"/>
                  </a:lnTo>
                  <a:lnTo>
                    <a:pt x="7465" y="63930"/>
                  </a:lnTo>
                  <a:lnTo>
                    <a:pt x="7569" y="63654"/>
                  </a:lnTo>
                  <a:lnTo>
                    <a:pt x="7742" y="62859"/>
                  </a:lnTo>
                  <a:lnTo>
                    <a:pt x="7949" y="61753"/>
                  </a:lnTo>
                  <a:lnTo>
                    <a:pt x="8156" y="60336"/>
                  </a:lnTo>
                  <a:lnTo>
                    <a:pt x="8605" y="56846"/>
                  </a:lnTo>
                  <a:lnTo>
                    <a:pt x="9158" y="52768"/>
                  </a:lnTo>
                  <a:lnTo>
                    <a:pt x="9469" y="50660"/>
                  </a:lnTo>
                  <a:lnTo>
                    <a:pt x="9780" y="48518"/>
                  </a:lnTo>
                  <a:lnTo>
                    <a:pt x="10126" y="46410"/>
                  </a:lnTo>
                  <a:lnTo>
                    <a:pt x="10472" y="44406"/>
                  </a:lnTo>
                  <a:lnTo>
                    <a:pt x="10852" y="42540"/>
                  </a:lnTo>
                  <a:lnTo>
                    <a:pt x="11266" y="40846"/>
                  </a:lnTo>
                  <a:lnTo>
                    <a:pt x="11474" y="40086"/>
                  </a:lnTo>
                  <a:lnTo>
                    <a:pt x="11681" y="39395"/>
                  </a:lnTo>
                  <a:lnTo>
                    <a:pt x="11888" y="38773"/>
                  </a:lnTo>
                  <a:lnTo>
                    <a:pt x="12130" y="38220"/>
                  </a:lnTo>
                  <a:lnTo>
                    <a:pt x="12130" y="38220"/>
                  </a:lnTo>
                  <a:lnTo>
                    <a:pt x="14618" y="32415"/>
                  </a:lnTo>
                  <a:lnTo>
                    <a:pt x="17797" y="25020"/>
                  </a:lnTo>
                  <a:lnTo>
                    <a:pt x="21633" y="15931"/>
                  </a:lnTo>
                  <a:lnTo>
                    <a:pt x="21633" y="15931"/>
                  </a:lnTo>
                  <a:lnTo>
                    <a:pt x="21219" y="19283"/>
                  </a:lnTo>
                  <a:lnTo>
                    <a:pt x="20769" y="22946"/>
                  </a:lnTo>
                  <a:lnTo>
                    <a:pt x="20320" y="26713"/>
                  </a:lnTo>
                  <a:lnTo>
                    <a:pt x="19905" y="30410"/>
                  </a:lnTo>
                  <a:lnTo>
                    <a:pt x="19733" y="32138"/>
                  </a:lnTo>
                  <a:lnTo>
                    <a:pt x="19594" y="33797"/>
                  </a:lnTo>
                  <a:lnTo>
                    <a:pt x="19491" y="35352"/>
                  </a:lnTo>
                  <a:lnTo>
                    <a:pt x="19456" y="36769"/>
                  </a:lnTo>
                  <a:lnTo>
                    <a:pt x="19456" y="38047"/>
                  </a:lnTo>
                  <a:lnTo>
                    <a:pt x="19525" y="39119"/>
                  </a:lnTo>
                  <a:lnTo>
                    <a:pt x="19560" y="39568"/>
                  </a:lnTo>
                  <a:lnTo>
                    <a:pt x="19629" y="39982"/>
                  </a:lnTo>
                  <a:lnTo>
                    <a:pt x="19733" y="40328"/>
                  </a:lnTo>
                  <a:lnTo>
                    <a:pt x="19836" y="40604"/>
                  </a:lnTo>
                  <a:lnTo>
                    <a:pt x="19836" y="40604"/>
                  </a:lnTo>
                  <a:lnTo>
                    <a:pt x="20838" y="43300"/>
                  </a:lnTo>
                  <a:lnTo>
                    <a:pt x="22013" y="46548"/>
                  </a:lnTo>
                  <a:lnTo>
                    <a:pt x="24501" y="53563"/>
                  </a:lnTo>
                  <a:lnTo>
                    <a:pt x="27370" y="61891"/>
                  </a:lnTo>
                  <a:lnTo>
                    <a:pt x="27370" y="61891"/>
                  </a:lnTo>
                  <a:lnTo>
                    <a:pt x="27577" y="61960"/>
                  </a:lnTo>
                  <a:lnTo>
                    <a:pt x="27784" y="62029"/>
                  </a:lnTo>
                  <a:lnTo>
                    <a:pt x="28268" y="62133"/>
                  </a:lnTo>
                  <a:lnTo>
                    <a:pt x="28786" y="62133"/>
                  </a:lnTo>
                  <a:lnTo>
                    <a:pt x="29339" y="62099"/>
                  </a:lnTo>
                  <a:lnTo>
                    <a:pt x="29927" y="62029"/>
                  </a:lnTo>
                  <a:lnTo>
                    <a:pt x="30549" y="61891"/>
                  </a:lnTo>
                  <a:lnTo>
                    <a:pt x="31136" y="61753"/>
                  </a:lnTo>
                  <a:lnTo>
                    <a:pt x="31724" y="61546"/>
                  </a:lnTo>
                  <a:lnTo>
                    <a:pt x="32277" y="61373"/>
                  </a:lnTo>
                  <a:lnTo>
                    <a:pt x="32795" y="61166"/>
                  </a:lnTo>
                  <a:lnTo>
                    <a:pt x="33624" y="60785"/>
                  </a:lnTo>
                  <a:lnTo>
                    <a:pt x="33901" y="60613"/>
                  </a:lnTo>
                  <a:lnTo>
                    <a:pt x="34108" y="60509"/>
                  </a:lnTo>
                  <a:lnTo>
                    <a:pt x="34177" y="60405"/>
                  </a:lnTo>
                  <a:lnTo>
                    <a:pt x="34177" y="60371"/>
                  </a:lnTo>
                  <a:lnTo>
                    <a:pt x="34143" y="60336"/>
                  </a:lnTo>
                  <a:lnTo>
                    <a:pt x="34143" y="60336"/>
                  </a:lnTo>
                  <a:lnTo>
                    <a:pt x="33452" y="58332"/>
                  </a:lnTo>
                  <a:lnTo>
                    <a:pt x="32622" y="55775"/>
                  </a:lnTo>
                  <a:lnTo>
                    <a:pt x="31724" y="52837"/>
                  </a:lnTo>
                  <a:lnTo>
                    <a:pt x="30791" y="49693"/>
                  </a:lnTo>
                  <a:lnTo>
                    <a:pt x="29892" y="46583"/>
                  </a:lnTo>
                  <a:lnTo>
                    <a:pt x="29132" y="43645"/>
                  </a:lnTo>
                  <a:lnTo>
                    <a:pt x="28821" y="42332"/>
                  </a:lnTo>
                  <a:lnTo>
                    <a:pt x="28545" y="41123"/>
                  </a:lnTo>
                  <a:lnTo>
                    <a:pt x="28337" y="40086"/>
                  </a:lnTo>
                  <a:lnTo>
                    <a:pt x="28199" y="39188"/>
                  </a:lnTo>
                  <a:lnTo>
                    <a:pt x="28199" y="39188"/>
                  </a:lnTo>
                  <a:lnTo>
                    <a:pt x="28199" y="38704"/>
                  </a:lnTo>
                  <a:lnTo>
                    <a:pt x="28199" y="38082"/>
                  </a:lnTo>
                  <a:lnTo>
                    <a:pt x="28233" y="37287"/>
                  </a:lnTo>
                  <a:lnTo>
                    <a:pt x="28303" y="36354"/>
                  </a:lnTo>
                  <a:lnTo>
                    <a:pt x="28510" y="34108"/>
                  </a:lnTo>
                  <a:lnTo>
                    <a:pt x="28821" y="31447"/>
                  </a:lnTo>
                  <a:lnTo>
                    <a:pt x="29201" y="28475"/>
                  </a:lnTo>
                  <a:lnTo>
                    <a:pt x="29650" y="25261"/>
                  </a:lnTo>
                  <a:lnTo>
                    <a:pt x="30687" y="18558"/>
                  </a:lnTo>
                  <a:lnTo>
                    <a:pt x="31689" y="12026"/>
                  </a:lnTo>
                  <a:lnTo>
                    <a:pt x="32622" y="6428"/>
                  </a:lnTo>
                  <a:lnTo>
                    <a:pt x="33521" y="1037"/>
                  </a:lnTo>
                  <a:lnTo>
                    <a:pt x="16657" y="1"/>
                  </a:lnTo>
                  <a:lnTo>
                    <a:pt x="12579" y="224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6" name="Google Shape;14302;p81">
              <a:extLst>
                <a:ext uri="{FF2B5EF4-FFF2-40B4-BE49-F238E27FC236}">
                  <a16:creationId xmlns:a16="http://schemas.microsoft.com/office/drawing/2014/main" id="{A15B1F10-B4FC-B106-73AB-2203F4C04050}"/>
                </a:ext>
              </a:extLst>
            </p:cNvPr>
            <p:cNvSpPr/>
            <p:nvPr/>
          </p:nvSpPr>
          <p:spPr>
            <a:xfrm>
              <a:off x="4486425" y="4220750"/>
              <a:ext cx="9525" cy="75175"/>
            </a:xfrm>
            <a:custGeom>
              <a:avLst/>
              <a:gdLst/>
              <a:ahLst/>
              <a:cxnLst/>
              <a:rect l="l" t="t" r="r" b="b"/>
              <a:pathLst>
                <a:path w="381" h="3007" extrusionOk="0">
                  <a:moveTo>
                    <a:pt x="381" y="0"/>
                  </a:moveTo>
                  <a:lnTo>
                    <a:pt x="1" y="3006"/>
                  </a:lnTo>
                  <a:lnTo>
                    <a:pt x="208" y="1486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71718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7" name="Google Shape;14303;p81">
              <a:extLst>
                <a:ext uri="{FF2B5EF4-FFF2-40B4-BE49-F238E27FC236}">
                  <a16:creationId xmlns:a16="http://schemas.microsoft.com/office/drawing/2014/main" id="{D9C4018E-35B5-72BE-429A-44BC83603F32}"/>
                </a:ext>
              </a:extLst>
            </p:cNvPr>
            <p:cNvSpPr/>
            <p:nvPr/>
          </p:nvSpPr>
          <p:spPr>
            <a:xfrm>
              <a:off x="4486425" y="4220750"/>
              <a:ext cx="9525" cy="75175"/>
            </a:xfrm>
            <a:custGeom>
              <a:avLst/>
              <a:gdLst/>
              <a:ahLst/>
              <a:cxnLst/>
              <a:rect l="l" t="t" r="r" b="b"/>
              <a:pathLst>
                <a:path w="381" h="3007" fill="none" extrusionOk="0">
                  <a:moveTo>
                    <a:pt x="381" y="0"/>
                  </a:moveTo>
                  <a:lnTo>
                    <a:pt x="381" y="0"/>
                  </a:lnTo>
                  <a:lnTo>
                    <a:pt x="208" y="1486"/>
                  </a:lnTo>
                  <a:lnTo>
                    <a:pt x="1" y="3006"/>
                  </a:lnTo>
                  <a:lnTo>
                    <a:pt x="1" y="3006"/>
                  </a:lnTo>
                  <a:lnTo>
                    <a:pt x="38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8" name="Google Shape;14304;p81">
              <a:extLst>
                <a:ext uri="{FF2B5EF4-FFF2-40B4-BE49-F238E27FC236}">
                  <a16:creationId xmlns:a16="http://schemas.microsoft.com/office/drawing/2014/main" id="{5CC9CB7F-E150-2974-E26F-1562FCC59B6E}"/>
                </a:ext>
              </a:extLst>
            </p:cNvPr>
            <p:cNvSpPr/>
            <p:nvPr/>
          </p:nvSpPr>
          <p:spPr>
            <a:xfrm>
              <a:off x="4486425" y="3977125"/>
              <a:ext cx="79500" cy="318800"/>
            </a:xfrm>
            <a:custGeom>
              <a:avLst/>
              <a:gdLst/>
              <a:ahLst/>
              <a:cxnLst/>
              <a:rect l="l" t="t" r="r" b="b"/>
              <a:pathLst>
                <a:path w="3180" h="12752" extrusionOk="0">
                  <a:moveTo>
                    <a:pt x="3180" y="0"/>
                  </a:moveTo>
                  <a:lnTo>
                    <a:pt x="3076" y="380"/>
                  </a:lnTo>
                  <a:lnTo>
                    <a:pt x="2661" y="1451"/>
                  </a:lnTo>
                  <a:lnTo>
                    <a:pt x="2385" y="2177"/>
                  </a:lnTo>
                  <a:lnTo>
                    <a:pt x="2005" y="3041"/>
                  </a:lnTo>
                  <a:lnTo>
                    <a:pt x="1521" y="3974"/>
                  </a:lnTo>
                  <a:lnTo>
                    <a:pt x="968" y="4976"/>
                  </a:lnTo>
                  <a:lnTo>
                    <a:pt x="865" y="6117"/>
                  </a:lnTo>
                  <a:lnTo>
                    <a:pt x="726" y="7292"/>
                  </a:lnTo>
                  <a:lnTo>
                    <a:pt x="381" y="9745"/>
                  </a:lnTo>
                  <a:lnTo>
                    <a:pt x="1" y="12751"/>
                  </a:lnTo>
                  <a:lnTo>
                    <a:pt x="3180" y="0"/>
                  </a:lnTo>
                  <a:close/>
                </a:path>
              </a:pathLst>
            </a:custGeom>
            <a:solidFill>
              <a:srgbClr val="24243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59" name="Google Shape;14305;p81">
              <a:extLst>
                <a:ext uri="{FF2B5EF4-FFF2-40B4-BE49-F238E27FC236}">
                  <a16:creationId xmlns:a16="http://schemas.microsoft.com/office/drawing/2014/main" id="{60EEF13F-BCE2-6BA2-0B29-D3F5E16D7014}"/>
                </a:ext>
              </a:extLst>
            </p:cNvPr>
            <p:cNvSpPr/>
            <p:nvPr/>
          </p:nvSpPr>
          <p:spPr>
            <a:xfrm>
              <a:off x="4486425" y="3977125"/>
              <a:ext cx="79500" cy="318800"/>
            </a:xfrm>
            <a:custGeom>
              <a:avLst/>
              <a:gdLst/>
              <a:ahLst/>
              <a:cxnLst/>
              <a:rect l="l" t="t" r="r" b="b"/>
              <a:pathLst>
                <a:path w="3180" h="12752" fill="none" extrusionOk="0">
                  <a:moveTo>
                    <a:pt x="3180" y="0"/>
                  </a:moveTo>
                  <a:lnTo>
                    <a:pt x="3180" y="0"/>
                  </a:lnTo>
                  <a:lnTo>
                    <a:pt x="3076" y="380"/>
                  </a:lnTo>
                  <a:lnTo>
                    <a:pt x="2661" y="1451"/>
                  </a:lnTo>
                  <a:lnTo>
                    <a:pt x="2385" y="2177"/>
                  </a:lnTo>
                  <a:lnTo>
                    <a:pt x="2005" y="3041"/>
                  </a:lnTo>
                  <a:lnTo>
                    <a:pt x="1521" y="3974"/>
                  </a:lnTo>
                  <a:lnTo>
                    <a:pt x="968" y="4976"/>
                  </a:lnTo>
                  <a:lnTo>
                    <a:pt x="968" y="4976"/>
                  </a:lnTo>
                  <a:lnTo>
                    <a:pt x="865" y="6117"/>
                  </a:lnTo>
                  <a:lnTo>
                    <a:pt x="726" y="7292"/>
                  </a:lnTo>
                  <a:lnTo>
                    <a:pt x="381" y="9745"/>
                  </a:lnTo>
                  <a:lnTo>
                    <a:pt x="381" y="9745"/>
                  </a:lnTo>
                  <a:lnTo>
                    <a:pt x="1" y="12751"/>
                  </a:lnTo>
                  <a:lnTo>
                    <a:pt x="1" y="12751"/>
                  </a:lnTo>
                  <a:lnTo>
                    <a:pt x="1" y="12751"/>
                  </a:lnTo>
                  <a:lnTo>
                    <a:pt x="31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60" name="Google Shape;14306;p81">
              <a:extLst>
                <a:ext uri="{FF2B5EF4-FFF2-40B4-BE49-F238E27FC236}">
                  <a16:creationId xmlns:a16="http://schemas.microsoft.com/office/drawing/2014/main" id="{79150246-1482-41FE-2A73-160C8B64B8B0}"/>
                </a:ext>
              </a:extLst>
            </p:cNvPr>
            <p:cNvSpPr/>
            <p:nvPr/>
          </p:nvSpPr>
          <p:spPr>
            <a:xfrm>
              <a:off x="4413000" y="2757275"/>
              <a:ext cx="188350" cy="340400"/>
            </a:xfrm>
            <a:custGeom>
              <a:avLst/>
              <a:gdLst/>
              <a:ahLst/>
              <a:cxnLst/>
              <a:rect l="l" t="t" r="r" b="b"/>
              <a:pathLst>
                <a:path w="7534" h="13616" extrusionOk="0">
                  <a:moveTo>
                    <a:pt x="4562" y="0"/>
                  </a:moveTo>
                  <a:lnTo>
                    <a:pt x="4078" y="35"/>
                  </a:lnTo>
                  <a:lnTo>
                    <a:pt x="3629" y="104"/>
                  </a:lnTo>
                  <a:lnTo>
                    <a:pt x="3214" y="208"/>
                  </a:lnTo>
                  <a:lnTo>
                    <a:pt x="2765" y="311"/>
                  </a:lnTo>
                  <a:lnTo>
                    <a:pt x="2385" y="450"/>
                  </a:lnTo>
                  <a:lnTo>
                    <a:pt x="2074" y="622"/>
                  </a:lnTo>
                  <a:lnTo>
                    <a:pt x="1763" y="761"/>
                  </a:lnTo>
                  <a:lnTo>
                    <a:pt x="1555" y="933"/>
                  </a:lnTo>
                  <a:lnTo>
                    <a:pt x="1383" y="1106"/>
                  </a:lnTo>
                  <a:lnTo>
                    <a:pt x="1314" y="1279"/>
                  </a:lnTo>
                  <a:lnTo>
                    <a:pt x="1037" y="2247"/>
                  </a:lnTo>
                  <a:lnTo>
                    <a:pt x="830" y="3007"/>
                  </a:lnTo>
                  <a:lnTo>
                    <a:pt x="588" y="3629"/>
                  </a:lnTo>
                  <a:lnTo>
                    <a:pt x="415" y="4113"/>
                  </a:lnTo>
                  <a:lnTo>
                    <a:pt x="139" y="4735"/>
                  </a:lnTo>
                  <a:lnTo>
                    <a:pt x="35" y="4907"/>
                  </a:lnTo>
                  <a:lnTo>
                    <a:pt x="0" y="5046"/>
                  </a:lnTo>
                  <a:lnTo>
                    <a:pt x="173" y="5149"/>
                  </a:lnTo>
                  <a:lnTo>
                    <a:pt x="311" y="5184"/>
                  </a:lnTo>
                  <a:lnTo>
                    <a:pt x="450" y="5184"/>
                  </a:lnTo>
                  <a:lnTo>
                    <a:pt x="450" y="5253"/>
                  </a:lnTo>
                  <a:lnTo>
                    <a:pt x="450" y="5426"/>
                  </a:lnTo>
                  <a:lnTo>
                    <a:pt x="346" y="6186"/>
                  </a:lnTo>
                  <a:lnTo>
                    <a:pt x="242" y="6946"/>
                  </a:lnTo>
                  <a:lnTo>
                    <a:pt x="242" y="7672"/>
                  </a:lnTo>
                  <a:lnTo>
                    <a:pt x="242" y="7983"/>
                  </a:lnTo>
                  <a:lnTo>
                    <a:pt x="277" y="8259"/>
                  </a:lnTo>
                  <a:lnTo>
                    <a:pt x="346" y="8501"/>
                  </a:lnTo>
                  <a:lnTo>
                    <a:pt x="450" y="8709"/>
                  </a:lnTo>
                  <a:lnTo>
                    <a:pt x="553" y="8881"/>
                  </a:lnTo>
                  <a:lnTo>
                    <a:pt x="726" y="8985"/>
                  </a:lnTo>
                  <a:lnTo>
                    <a:pt x="933" y="9054"/>
                  </a:lnTo>
                  <a:lnTo>
                    <a:pt x="1175" y="9054"/>
                  </a:lnTo>
                  <a:lnTo>
                    <a:pt x="1486" y="9020"/>
                  </a:lnTo>
                  <a:lnTo>
                    <a:pt x="1832" y="8881"/>
                  </a:lnTo>
                  <a:lnTo>
                    <a:pt x="2212" y="8709"/>
                  </a:lnTo>
                  <a:lnTo>
                    <a:pt x="2696" y="8432"/>
                  </a:lnTo>
                  <a:lnTo>
                    <a:pt x="2419" y="10575"/>
                  </a:lnTo>
                  <a:lnTo>
                    <a:pt x="3007" y="13616"/>
                  </a:lnTo>
                  <a:lnTo>
                    <a:pt x="7154" y="13270"/>
                  </a:lnTo>
                  <a:lnTo>
                    <a:pt x="7084" y="12994"/>
                  </a:lnTo>
                  <a:lnTo>
                    <a:pt x="7015" y="12683"/>
                  </a:lnTo>
                  <a:lnTo>
                    <a:pt x="6946" y="12026"/>
                  </a:lnTo>
                  <a:lnTo>
                    <a:pt x="6946" y="11266"/>
                  </a:lnTo>
                  <a:lnTo>
                    <a:pt x="6981" y="10436"/>
                  </a:lnTo>
                  <a:lnTo>
                    <a:pt x="7015" y="9538"/>
                  </a:lnTo>
                  <a:lnTo>
                    <a:pt x="7119" y="8605"/>
                  </a:lnTo>
                  <a:lnTo>
                    <a:pt x="7326" y="6670"/>
                  </a:lnTo>
                  <a:lnTo>
                    <a:pt x="7465" y="4804"/>
                  </a:lnTo>
                  <a:lnTo>
                    <a:pt x="7534" y="3905"/>
                  </a:lnTo>
                  <a:lnTo>
                    <a:pt x="7534" y="3111"/>
                  </a:lnTo>
                  <a:lnTo>
                    <a:pt x="7499" y="2350"/>
                  </a:lnTo>
                  <a:lnTo>
                    <a:pt x="7395" y="1728"/>
                  </a:lnTo>
                  <a:lnTo>
                    <a:pt x="7326" y="1452"/>
                  </a:lnTo>
                  <a:lnTo>
                    <a:pt x="7223" y="1210"/>
                  </a:lnTo>
                  <a:lnTo>
                    <a:pt x="7119" y="1003"/>
                  </a:lnTo>
                  <a:lnTo>
                    <a:pt x="6981" y="830"/>
                  </a:lnTo>
                  <a:lnTo>
                    <a:pt x="6808" y="657"/>
                  </a:lnTo>
                  <a:lnTo>
                    <a:pt x="6670" y="519"/>
                  </a:lnTo>
                  <a:lnTo>
                    <a:pt x="6290" y="311"/>
                  </a:lnTo>
                  <a:lnTo>
                    <a:pt x="5910" y="173"/>
                  </a:lnTo>
                  <a:lnTo>
                    <a:pt x="5460" y="70"/>
                  </a:lnTo>
                  <a:lnTo>
                    <a:pt x="5011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61" name="Google Shape;14307;p81">
              <a:extLst>
                <a:ext uri="{FF2B5EF4-FFF2-40B4-BE49-F238E27FC236}">
                  <a16:creationId xmlns:a16="http://schemas.microsoft.com/office/drawing/2014/main" id="{155AA8C2-F353-C752-E3FB-DCAC16580E71}"/>
                </a:ext>
              </a:extLst>
            </p:cNvPr>
            <p:cNvSpPr/>
            <p:nvPr/>
          </p:nvSpPr>
          <p:spPr>
            <a:xfrm>
              <a:off x="4413000" y="2757275"/>
              <a:ext cx="188350" cy="340400"/>
            </a:xfrm>
            <a:custGeom>
              <a:avLst/>
              <a:gdLst/>
              <a:ahLst/>
              <a:cxnLst/>
              <a:rect l="l" t="t" r="r" b="b"/>
              <a:pathLst>
                <a:path w="7534" h="13616" fill="none" extrusionOk="0">
                  <a:moveTo>
                    <a:pt x="1314" y="1279"/>
                  </a:moveTo>
                  <a:lnTo>
                    <a:pt x="1314" y="1279"/>
                  </a:lnTo>
                  <a:lnTo>
                    <a:pt x="1037" y="2247"/>
                  </a:lnTo>
                  <a:lnTo>
                    <a:pt x="830" y="3007"/>
                  </a:lnTo>
                  <a:lnTo>
                    <a:pt x="588" y="3629"/>
                  </a:lnTo>
                  <a:lnTo>
                    <a:pt x="415" y="4113"/>
                  </a:lnTo>
                  <a:lnTo>
                    <a:pt x="139" y="4735"/>
                  </a:lnTo>
                  <a:lnTo>
                    <a:pt x="35" y="4907"/>
                  </a:lnTo>
                  <a:lnTo>
                    <a:pt x="0" y="5046"/>
                  </a:lnTo>
                  <a:lnTo>
                    <a:pt x="0" y="5046"/>
                  </a:lnTo>
                  <a:lnTo>
                    <a:pt x="173" y="5149"/>
                  </a:lnTo>
                  <a:lnTo>
                    <a:pt x="311" y="5184"/>
                  </a:lnTo>
                  <a:lnTo>
                    <a:pt x="380" y="5184"/>
                  </a:lnTo>
                  <a:lnTo>
                    <a:pt x="450" y="5184"/>
                  </a:lnTo>
                  <a:lnTo>
                    <a:pt x="450" y="5253"/>
                  </a:lnTo>
                  <a:lnTo>
                    <a:pt x="450" y="5426"/>
                  </a:lnTo>
                  <a:lnTo>
                    <a:pt x="346" y="6186"/>
                  </a:lnTo>
                  <a:lnTo>
                    <a:pt x="346" y="6186"/>
                  </a:lnTo>
                  <a:lnTo>
                    <a:pt x="242" y="6946"/>
                  </a:lnTo>
                  <a:lnTo>
                    <a:pt x="242" y="7672"/>
                  </a:lnTo>
                  <a:lnTo>
                    <a:pt x="242" y="7983"/>
                  </a:lnTo>
                  <a:lnTo>
                    <a:pt x="277" y="8259"/>
                  </a:lnTo>
                  <a:lnTo>
                    <a:pt x="346" y="8501"/>
                  </a:lnTo>
                  <a:lnTo>
                    <a:pt x="450" y="8709"/>
                  </a:lnTo>
                  <a:lnTo>
                    <a:pt x="553" y="8881"/>
                  </a:lnTo>
                  <a:lnTo>
                    <a:pt x="726" y="8985"/>
                  </a:lnTo>
                  <a:lnTo>
                    <a:pt x="933" y="9054"/>
                  </a:lnTo>
                  <a:lnTo>
                    <a:pt x="1175" y="9054"/>
                  </a:lnTo>
                  <a:lnTo>
                    <a:pt x="1486" y="9020"/>
                  </a:lnTo>
                  <a:lnTo>
                    <a:pt x="1832" y="8881"/>
                  </a:lnTo>
                  <a:lnTo>
                    <a:pt x="2212" y="8709"/>
                  </a:lnTo>
                  <a:lnTo>
                    <a:pt x="2696" y="8432"/>
                  </a:lnTo>
                  <a:lnTo>
                    <a:pt x="2696" y="8432"/>
                  </a:lnTo>
                  <a:lnTo>
                    <a:pt x="2419" y="10575"/>
                  </a:lnTo>
                  <a:lnTo>
                    <a:pt x="3007" y="13616"/>
                  </a:lnTo>
                  <a:lnTo>
                    <a:pt x="7154" y="13270"/>
                  </a:lnTo>
                  <a:lnTo>
                    <a:pt x="7154" y="13270"/>
                  </a:lnTo>
                  <a:lnTo>
                    <a:pt x="7084" y="12994"/>
                  </a:lnTo>
                  <a:lnTo>
                    <a:pt x="7015" y="12683"/>
                  </a:lnTo>
                  <a:lnTo>
                    <a:pt x="6946" y="12026"/>
                  </a:lnTo>
                  <a:lnTo>
                    <a:pt x="6946" y="11266"/>
                  </a:lnTo>
                  <a:lnTo>
                    <a:pt x="6981" y="10436"/>
                  </a:lnTo>
                  <a:lnTo>
                    <a:pt x="7015" y="9538"/>
                  </a:lnTo>
                  <a:lnTo>
                    <a:pt x="7119" y="8605"/>
                  </a:lnTo>
                  <a:lnTo>
                    <a:pt x="7326" y="6670"/>
                  </a:lnTo>
                  <a:lnTo>
                    <a:pt x="7465" y="4804"/>
                  </a:lnTo>
                  <a:lnTo>
                    <a:pt x="7534" y="3905"/>
                  </a:lnTo>
                  <a:lnTo>
                    <a:pt x="7534" y="3111"/>
                  </a:lnTo>
                  <a:lnTo>
                    <a:pt x="7499" y="2350"/>
                  </a:lnTo>
                  <a:lnTo>
                    <a:pt x="7395" y="1728"/>
                  </a:lnTo>
                  <a:lnTo>
                    <a:pt x="7326" y="1452"/>
                  </a:lnTo>
                  <a:lnTo>
                    <a:pt x="7223" y="1210"/>
                  </a:lnTo>
                  <a:lnTo>
                    <a:pt x="7119" y="1003"/>
                  </a:lnTo>
                  <a:lnTo>
                    <a:pt x="6981" y="830"/>
                  </a:lnTo>
                  <a:lnTo>
                    <a:pt x="6981" y="830"/>
                  </a:lnTo>
                  <a:lnTo>
                    <a:pt x="6808" y="657"/>
                  </a:lnTo>
                  <a:lnTo>
                    <a:pt x="6670" y="519"/>
                  </a:lnTo>
                  <a:lnTo>
                    <a:pt x="6290" y="311"/>
                  </a:lnTo>
                  <a:lnTo>
                    <a:pt x="5910" y="173"/>
                  </a:lnTo>
                  <a:lnTo>
                    <a:pt x="5460" y="70"/>
                  </a:lnTo>
                  <a:lnTo>
                    <a:pt x="5011" y="0"/>
                  </a:lnTo>
                  <a:lnTo>
                    <a:pt x="4562" y="0"/>
                  </a:lnTo>
                  <a:lnTo>
                    <a:pt x="4078" y="35"/>
                  </a:lnTo>
                  <a:lnTo>
                    <a:pt x="3629" y="104"/>
                  </a:lnTo>
                  <a:lnTo>
                    <a:pt x="3214" y="208"/>
                  </a:lnTo>
                  <a:lnTo>
                    <a:pt x="2765" y="311"/>
                  </a:lnTo>
                  <a:lnTo>
                    <a:pt x="2385" y="450"/>
                  </a:lnTo>
                  <a:lnTo>
                    <a:pt x="2074" y="622"/>
                  </a:lnTo>
                  <a:lnTo>
                    <a:pt x="1763" y="761"/>
                  </a:lnTo>
                  <a:lnTo>
                    <a:pt x="1555" y="933"/>
                  </a:lnTo>
                  <a:lnTo>
                    <a:pt x="1383" y="1106"/>
                  </a:lnTo>
                  <a:lnTo>
                    <a:pt x="1314" y="127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62" name="Google Shape;14308;p81">
              <a:extLst>
                <a:ext uri="{FF2B5EF4-FFF2-40B4-BE49-F238E27FC236}">
                  <a16:creationId xmlns:a16="http://schemas.microsoft.com/office/drawing/2014/main" id="{C8BB5E43-53CB-1DC8-80F6-54958F9BF6A2}"/>
                </a:ext>
              </a:extLst>
            </p:cNvPr>
            <p:cNvSpPr/>
            <p:nvPr/>
          </p:nvSpPr>
          <p:spPr>
            <a:xfrm>
              <a:off x="4423375" y="2708025"/>
              <a:ext cx="216000" cy="269575"/>
            </a:xfrm>
            <a:custGeom>
              <a:avLst/>
              <a:gdLst/>
              <a:ahLst/>
              <a:cxnLst/>
              <a:rect l="l" t="t" r="r" b="b"/>
              <a:pathLst>
                <a:path w="8640" h="10783" extrusionOk="0">
                  <a:moveTo>
                    <a:pt x="1624" y="1"/>
                  </a:moveTo>
                  <a:lnTo>
                    <a:pt x="1451" y="35"/>
                  </a:lnTo>
                  <a:lnTo>
                    <a:pt x="1140" y="139"/>
                  </a:lnTo>
                  <a:lnTo>
                    <a:pt x="864" y="277"/>
                  </a:lnTo>
                  <a:lnTo>
                    <a:pt x="587" y="485"/>
                  </a:lnTo>
                  <a:lnTo>
                    <a:pt x="380" y="692"/>
                  </a:lnTo>
                  <a:lnTo>
                    <a:pt x="242" y="865"/>
                  </a:lnTo>
                  <a:lnTo>
                    <a:pt x="173" y="1072"/>
                  </a:lnTo>
                  <a:lnTo>
                    <a:pt x="104" y="1245"/>
                  </a:lnTo>
                  <a:lnTo>
                    <a:pt x="138" y="1418"/>
                  </a:lnTo>
                  <a:lnTo>
                    <a:pt x="138" y="1590"/>
                  </a:lnTo>
                  <a:lnTo>
                    <a:pt x="242" y="1867"/>
                  </a:lnTo>
                  <a:lnTo>
                    <a:pt x="276" y="1970"/>
                  </a:lnTo>
                  <a:lnTo>
                    <a:pt x="173" y="2143"/>
                  </a:lnTo>
                  <a:lnTo>
                    <a:pt x="69" y="2316"/>
                  </a:lnTo>
                  <a:lnTo>
                    <a:pt x="35" y="2454"/>
                  </a:lnTo>
                  <a:lnTo>
                    <a:pt x="0" y="2592"/>
                  </a:lnTo>
                  <a:lnTo>
                    <a:pt x="0" y="2731"/>
                  </a:lnTo>
                  <a:lnTo>
                    <a:pt x="0" y="2869"/>
                  </a:lnTo>
                  <a:lnTo>
                    <a:pt x="138" y="3111"/>
                  </a:lnTo>
                  <a:lnTo>
                    <a:pt x="311" y="3318"/>
                  </a:lnTo>
                  <a:lnTo>
                    <a:pt x="518" y="3560"/>
                  </a:lnTo>
                  <a:lnTo>
                    <a:pt x="1002" y="4009"/>
                  </a:lnTo>
                  <a:lnTo>
                    <a:pt x="1279" y="4251"/>
                  </a:lnTo>
                  <a:lnTo>
                    <a:pt x="1521" y="4389"/>
                  </a:lnTo>
                  <a:lnTo>
                    <a:pt x="1935" y="4597"/>
                  </a:lnTo>
                  <a:lnTo>
                    <a:pt x="2108" y="4700"/>
                  </a:lnTo>
                  <a:lnTo>
                    <a:pt x="2246" y="4839"/>
                  </a:lnTo>
                  <a:lnTo>
                    <a:pt x="2281" y="4908"/>
                  </a:lnTo>
                  <a:lnTo>
                    <a:pt x="2281" y="5011"/>
                  </a:lnTo>
                  <a:lnTo>
                    <a:pt x="2281" y="5288"/>
                  </a:lnTo>
                  <a:lnTo>
                    <a:pt x="2212" y="5806"/>
                  </a:lnTo>
                  <a:lnTo>
                    <a:pt x="2212" y="5979"/>
                  </a:lnTo>
                  <a:lnTo>
                    <a:pt x="2246" y="6117"/>
                  </a:lnTo>
                  <a:lnTo>
                    <a:pt x="2350" y="6221"/>
                  </a:lnTo>
                  <a:lnTo>
                    <a:pt x="2523" y="6290"/>
                  </a:lnTo>
                  <a:lnTo>
                    <a:pt x="2730" y="6359"/>
                  </a:lnTo>
                  <a:lnTo>
                    <a:pt x="3076" y="6394"/>
                  </a:lnTo>
                  <a:lnTo>
                    <a:pt x="3283" y="6255"/>
                  </a:lnTo>
                  <a:lnTo>
                    <a:pt x="3456" y="6152"/>
                  </a:lnTo>
                  <a:lnTo>
                    <a:pt x="3628" y="6117"/>
                  </a:lnTo>
                  <a:lnTo>
                    <a:pt x="3801" y="6117"/>
                  </a:lnTo>
                  <a:lnTo>
                    <a:pt x="3939" y="6152"/>
                  </a:lnTo>
                  <a:lnTo>
                    <a:pt x="4078" y="6255"/>
                  </a:lnTo>
                  <a:lnTo>
                    <a:pt x="4181" y="6359"/>
                  </a:lnTo>
                  <a:lnTo>
                    <a:pt x="4250" y="6497"/>
                  </a:lnTo>
                  <a:lnTo>
                    <a:pt x="4320" y="6670"/>
                  </a:lnTo>
                  <a:lnTo>
                    <a:pt x="4354" y="6843"/>
                  </a:lnTo>
                  <a:lnTo>
                    <a:pt x="4354" y="7016"/>
                  </a:lnTo>
                  <a:lnTo>
                    <a:pt x="4320" y="7223"/>
                  </a:lnTo>
                  <a:lnTo>
                    <a:pt x="4216" y="7396"/>
                  </a:lnTo>
                  <a:lnTo>
                    <a:pt x="4112" y="7569"/>
                  </a:lnTo>
                  <a:lnTo>
                    <a:pt x="3974" y="7741"/>
                  </a:lnTo>
                  <a:lnTo>
                    <a:pt x="3801" y="7880"/>
                  </a:lnTo>
                  <a:lnTo>
                    <a:pt x="3801" y="8225"/>
                  </a:lnTo>
                  <a:lnTo>
                    <a:pt x="3836" y="8674"/>
                  </a:lnTo>
                  <a:lnTo>
                    <a:pt x="3974" y="9124"/>
                  </a:lnTo>
                  <a:lnTo>
                    <a:pt x="4181" y="9573"/>
                  </a:lnTo>
                  <a:lnTo>
                    <a:pt x="4423" y="10022"/>
                  </a:lnTo>
                  <a:lnTo>
                    <a:pt x="4561" y="10195"/>
                  </a:lnTo>
                  <a:lnTo>
                    <a:pt x="4734" y="10368"/>
                  </a:lnTo>
                  <a:lnTo>
                    <a:pt x="4907" y="10540"/>
                  </a:lnTo>
                  <a:lnTo>
                    <a:pt x="5114" y="10644"/>
                  </a:lnTo>
                  <a:lnTo>
                    <a:pt x="5322" y="10748"/>
                  </a:lnTo>
                  <a:lnTo>
                    <a:pt x="5564" y="10782"/>
                  </a:lnTo>
                  <a:lnTo>
                    <a:pt x="5978" y="10782"/>
                  </a:lnTo>
                  <a:lnTo>
                    <a:pt x="6186" y="10713"/>
                  </a:lnTo>
                  <a:lnTo>
                    <a:pt x="6393" y="10610"/>
                  </a:lnTo>
                  <a:lnTo>
                    <a:pt x="6566" y="10471"/>
                  </a:lnTo>
                  <a:lnTo>
                    <a:pt x="6704" y="10299"/>
                  </a:lnTo>
                  <a:lnTo>
                    <a:pt x="6877" y="10126"/>
                  </a:lnTo>
                  <a:lnTo>
                    <a:pt x="6980" y="9918"/>
                  </a:lnTo>
                  <a:lnTo>
                    <a:pt x="7119" y="9677"/>
                  </a:lnTo>
                  <a:lnTo>
                    <a:pt x="7222" y="9435"/>
                  </a:lnTo>
                  <a:lnTo>
                    <a:pt x="7361" y="8882"/>
                  </a:lnTo>
                  <a:lnTo>
                    <a:pt x="7464" y="8294"/>
                  </a:lnTo>
                  <a:lnTo>
                    <a:pt x="7499" y="7672"/>
                  </a:lnTo>
                  <a:lnTo>
                    <a:pt x="7499" y="7396"/>
                  </a:lnTo>
                  <a:lnTo>
                    <a:pt x="7568" y="7119"/>
                  </a:lnTo>
                  <a:lnTo>
                    <a:pt x="7637" y="6912"/>
                  </a:lnTo>
                  <a:lnTo>
                    <a:pt x="7741" y="6705"/>
                  </a:lnTo>
                  <a:lnTo>
                    <a:pt x="8017" y="6359"/>
                  </a:lnTo>
                  <a:lnTo>
                    <a:pt x="8259" y="5979"/>
                  </a:lnTo>
                  <a:lnTo>
                    <a:pt x="8397" y="5772"/>
                  </a:lnTo>
                  <a:lnTo>
                    <a:pt x="8501" y="5564"/>
                  </a:lnTo>
                  <a:lnTo>
                    <a:pt x="8605" y="5288"/>
                  </a:lnTo>
                  <a:lnTo>
                    <a:pt x="8639" y="5011"/>
                  </a:lnTo>
                  <a:lnTo>
                    <a:pt x="8639" y="4666"/>
                  </a:lnTo>
                  <a:lnTo>
                    <a:pt x="8605" y="4286"/>
                  </a:lnTo>
                  <a:lnTo>
                    <a:pt x="8535" y="3837"/>
                  </a:lnTo>
                  <a:lnTo>
                    <a:pt x="8397" y="3318"/>
                  </a:lnTo>
                  <a:lnTo>
                    <a:pt x="8294" y="3042"/>
                  </a:lnTo>
                  <a:lnTo>
                    <a:pt x="8190" y="2834"/>
                  </a:lnTo>
                  <a:lnTo>
                    <a:pt x="8086" y="2662"/>
                  </a:lnTo>
                  <a:lnTo>
                    <a:pt x="7983" y="2558"/>
                  </a:lnTo>
                  <a:lnTo>
                    <a:pt x="7879" y="2454"/>
                  </a:lnTo>
                  <a:lnTo>
                    <a:pt x="7741" y="2420"/>
                  </a:lnTo>
                  <a:lnTo>
                    <a:pt x="7533" y="2351"/>
                  </a:lnTo>
                  <a:lnTo>
                    <a:pt x="7326" y="2247"/>
                  </a:lnTo>
                  <a:lnTo>
                    <a:pt x="7222" y="2212"/>
                  </a:lnTo>
                  <a:lnTo>
                    <a:pt x="7153" y="2109"/>
                  </a:lnTo>
                  <a:lnTo>
                    <a:pt x="7050" y="1970"/>
                  </a:lnTo>
                  <a:lnTo>
                    <a:pt x="6946" y="1832"/>
                  </a:lnTo>
                  <a:lnTo>
                    <a:pt x="6877" y="1590"/>
                  </a:lnTo>
                  <a:lnTo>
                    <a:pt x="6808" y="1314"/>
                  </a:lnTo>
                  <a:lnTo>
                    <a:pt x="6739" y="1037"/>
                  </a:lnTo>
                  <a:lnTo>
                    <a:pt x="6635" y="796"/>
                  </a:lnTo>
                  <a:lnTo>
                    <a:pt x="6531" y="623"/>
                  </a:lnTo>
                  <a:lnTo>
                    <a:pt x="6393" y="450"/>
                  </a:lnTo>
                  <a:lnTo>
                    <a:pt x="6255" y="312"/>
                  </a:lnTo>
                  <a:lnTo>
                    <a:pt x="6117" y="208"/>
                  </a:lnTo>
                  <a:lnTo>
                    <a:pt x="5944" y="104"/>
                  </a:lnTo>
                  <a:lnTo>
                    <a:pt x="5771" y="70"/>
                  </a:lnTo>
                  <a:lnTo>
                    <a:pt x="5564" y="35"/>
                  </a:lnTo>
                  <a:lnTo>
                    <a:pt x="5356" y="35"/>
                  </a:lnTo>
                  <a:lnTo>
                    <a:pt x="5149" y="70"/>
                  </a:lnTo>
                  <a:lnTo>
                    <a:pt x="4942" y="139"/>
                  </a:lnTo>
                  <a:lnTo>
                    <a:pt x="4734" y="208"/>
                  </a:lnTo>
                  <a:lnTo>
                    <a:pt x="4527" y="312"/>
                  </a:lnTo>
                  <a:lnTo>
                    <a:pt x="4320" y="450"/>
                  </a:lnTo>
                  <a:lnTo>
                    <a:pt x="4112" y="623"/>
                  </a:lnTo>
                  <a:lnTo>
                    <a:pt x="3732" y="899"/>
                  </a:lnTo>
                  <a:lnTo>
                    <a:pt x="3456" y="1037"/>
                  </a:lnTo>
                  <a:lnTo>
                    <a:pt x="3352" y="1072"/>
                  </a:lnTo>
                  <a:lnTo>
                    <a:pt x="3248" y="1072"/>
                  </a:lnTo>
                  <a:lnTo>
                    <a:pt x="3179" y="1037"/>
                  </a:lnTo>
                  <a:lnTo>
                    <a:pt x="3110" y="1003"/>
                  </a:lnTo>
                  <a:lnTo>
                    <a:pt x="2972" y="899"/>
                  </a:lnTo>
                  <a:lnTo>
                    <a:pt x="2834" y="692"/>
                  </a:lnTo>
                  <a:lnTo>
                    <a:pt x="2661" y="485"/>
                  </a:lnTo>
                  <a:lnTo>
                    <a:pt x="2384" y="243"/>
                  </a:lnTo>
                  <a:lnTo>
                    <a:pt x="2246" y="139"/>
                  </a:lnTo>
                  <a:lnTo>
                    <a:pt x="2108" y="70"/>
                  </a:lnTo>
                  <a:lnTo>
                    <a:pt x="1935" y="1"/>
                  </a:lnTo>
                  <a:close/>
                </a:path>
              </a:pathLst>
            </a:custGeom>
            <a:solidFill>
              <a:srgbClr val="6D352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63" name="Google Shape;14309;p81">
              <a:extLst>
                <a:ext uri="{FF2B5EF4-FFF2-40B4-BE49-F238E27FC236}">
                  <a16:creationId xmlns:a16="http://schemas.microsoft.com/office/drawing/2014/main" id="{6B854EB1-F641-731A-5FB7-1A198911C61E}"/>
                </a:ext>
              </a:extLst>
            </p:cNvPr>
            <p:cNvSpPr/>
            <p:nvPr/>
          </p:nvSpPr>
          <p:spPr>
            <a:xfrm>
              <a:off x="4475200" y="2953375"/>
              <a:ext cx="54450" cy="63950"/>
            </a:xfrm>
            <a:custGeom>
              <a:avLst/>
              <a:gdLst/>
              <a:ahLst/>
              <a:cxnLst/>
              <a:rect l="l" t="t" r="r" b="b"/>
              <a:pathLst>
                <a:path w="2178" h="2558" extrusionOk="0">
                  <a:moveTo>
                    <a:pt x="1175" y="1"/>
                  </a:moveTo>
                  <a:lnTo>
                    <a:pt x="1003" y="35"/>
                  </a:lnTo>
                  <a:lnTo>
                    <a:pt x="761" y="139"/>
                  </a:lnTo>
                  <a:lnTo>
                    <a:pt x="519" y="312"/>
                  </a:lnTo>
                  <a:lnTo>
                    <a:pt x="208" y="588"/>
                  </a:lnTo>
                  <a:lnTo>
                    <a:pt x="35" y="2281"/>
                  </a:lnTo>
                  <a:lnTo>
                    <a:pt x="0" y="2558"/>
                  </a:lnTo>
                  <a:lnTo>
                    <a:pt x="0" y="2558"/>
                  </a:lnTo>
                  <a:lnTo>
                    <a:pt x="761" y="2523"/>
                  </a:lnTo>
                  <a:lnTo>
                    <a:pt x="1348" y="2523"/>
                  </a:lnTo>
                  <a:lnTo>
                    <a:pt x="1625" y="2316"/>
                  </a:lnTo>
                  <a:lnTo>
                    <a:pt x="1866" y="2109"/>
                  </a:lnTo>
                  <a:lnTo>
                    <a:pt x="2039" y="1867"/>
                  </a:lnTo>
                  <a:lnTo>
                    <a:pt x="2108" y="1763"/>
                  </a:lnTo>
                  <a:lnTo>
                    <a:pt x="2177" y="1625"/>
                  </a:lnTo>
                  <a:lnTo>
                    <a:pt x="2177" y="1487"/>
                  </a:lnTo>
                  <a:lnTo>
                    <a:pt x="2177" y="1348"/>
                  </a:lnTo>
                  <a:lnTo>
                    <a:pt x="2177" y="1176"/>
                  </a:lnTo>
                  <a:lnTo>
                    <a:pt x="2108" y="1003"/>
                  </a:lnTo>
                  <a:lnTo>
                    <a:pt x="2005" y="830"/>
                  </a:lnTo>
                  <a:lnTo>
                    <a:pt x="1901" y="623"/>
                  </a:lnTo>
                  <a:lnTo>
                    <a:pt x="1521" y="174"/>
                  </a:lnTo>
                  <a:lnTo>
                    <a:pt x="1383" y="70"/>
                  </a:lnTo>
                  <a:lnTo>
                    <a:pt x="1279" y="35"/>
                  </a:lnTo>
                  <a:lnTo>
                    <a:pt x="1175" y="1"/>
                  </a:lnTo>
                  <a:close/>
                </a:path>
              </a:pathLst>
            </a:custGeom>
            <a:solidFill>
              <a:srgbClr val="CE97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64" name="Google Shape;14310;p81">
              <a:extLst>
                <a:ext uri="{FF2B5EF4-FFF2-40B4-BE49-F238E27FC236}">
                  <a16:creationId xmlns:a16="http://schemas.microsoft.com/office/drawing/2014/main" id="{27487C01-5B04-BE1E-88ED-BE31A146E9F3}"/>
                </a:ext>
              </a:extLst>
            </p:cNvPr>
            <p:cNvSpPr/>
            <p:nvPr/>
          </p:nvSpPr>
          <p:spPr>
            <a:xfrm>
              <a:off x="4475200" y="2953375"/>
              <a:ext cx="54450" cy="63950"/>
            </a:xfrm>
            <a:custGeom>
              <a:avLst/>
              <a:gdLst/>
              <a:ahLst/>
              <a:cxnLst/>
              <a:rect l="l" t="t" r="r" b="b"/>
              <a:pathLst>
                <a:path w="2178" h="2558" fill="none" extrusionOk="0">
                  <a:moveTo>
                    <a:pt x="1175" y="1"/>
                  </a:moveTo>
                  <a:lnTo>
                    <a:pt x="1175" y="1"/>
                  </a:lnTo>
                  <a:lnTo>
                    <a:pt x="1003" y="35"/>
                  </a:lnTo>
                  <a:lnTo>
                    <a:pt x="761" y="139"/>
                  </a:lnTo>
                  <a:lnTo>
                    <a:pt x="519" y="312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35" y="2281"/>
                  </a:lnTo>
                  <a:lnTo>
                    <a:pt x="35" y="2281"/>
                  </a:lnTo>
                  <a:lnTo>
                    <a:pt x="0" y="2558"/>
                  </a:lnTo>
                  <a:lnTo>
                    <a:pt x="0" y="2558"/>
                  </a:lnTo>
                  <a:lnTo>
                    <a:pt x="761" y="2523"/>
                  </a:lnTo>
                  <a:lnTo>
                    <a:pt x="761" y="2523"/>
                  </a:lnTo>
                  <a:lnTo>
                    <a:pt x="1348" y="2523"/>
                  </a:lnTo>
                  <a:lnTo>
                    <a:pt x="1348" y="2523"/>
                  </a:lnTo>
                  <a:lnTo>
                    <a:pt x="1625" y="2316"/>
                  </a:lnTo>
                  <a:lnTo>
                    <a:pt x="1866" y="2109"/>
                  </a:lnTo>
                  <a:lnTo>
                    <a:pt x="2039" y="1867"/>
                  </a:lnTo>
                  <a:lnTo>
                    <a:pt x="2108" y="1763"/>
                  </a:lnTo>
                  <a:lnTo>
                    <a:pt x="2177" y="1625"/>
                  </a:lnTo>
                  <a:lnTo>
                    <a:pt x="2177" y="1487"/>
                  </a:lnTo>
                  <a:lnTo>
                    <a:pt x="2177" y="1348"/>
                  </a:lnTo>
                  <a:lnTo>
                    <a:pt x="2177" y="1176"/>
                  </a:lnTo>
                  <a:lnTo>
                    <a:pt x="2108" y="1003"/>
                  </a:lnTo>
                  <a:lnTo>
                    <a:pt x="2005" y="830"/>
                  </a:lnTo>
                  <a:lnTo>
                    <a:pt x="1901" y="623"/>
                  </a:lnTo>
                  <a:lnTo>
                    <a:pt x="1521" y="174"/>
                  </a:lnTo>
                  <a:lnTo>
                    <a:pt x="1521" y="174"/>
                  </a:lnTo>
                  <a:lnTo>
                    <a:pt x="1383" y="70"/>
                  </a:lnTo>
                  <a:lnTo>
                    <a:pt x="1279" y="35"/>
                  </a:lnTo>
                  <a:lnTo>
                    <a:pt x="117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65" name="Google Shape;14311;p81">
              <a:extLst>
                <a:ext uri="{FF2B5EF4-FFF2-40B4-BE49-F238E27FC236}">
                  <a16:creationId xmlns:a16="http://schemas.microsoft.com/office/drawing/2014/main" id="{E8A4AFEF-3CA1-A7B0-0FA3-64E98302E7EA}"/>
                </a:ext>
              </a:extLst>
            </p:cNvPr>
            <p:cNvSpPr/>
            <p:nvPr/>
          </p:nvSpPr>
          <p:spPr>
            <a:xfrm>
              <a:off x="3682125" y="2970650"/>
              <a:ext cx="1142125" cy="869125"/>
            </a:xfrm>
            <a:custGeom>
              <a:avLst/>
              <a:gdLst/>
              <a:ahLst/>
              <a:cxnLst/>
              <a:rect l="l" t="t" r="r" b="b"/>
              <a:pathLst>
                <a:path w="45685" h="34765" extrusionOk="0">
                  <a:moveTo>
                    <a:pt x="4839" y="1"/>
                  </a:moveTo>
                  <a:lnTo>
                    <a:pt x="4597" y="70"/>
                  </a:lnTo>
                  <a:lnTo>
                    <a:pt x="3940" y="277"/>
                  </a:lnTo>
                  <a:lnTo>
                    <a:pt x="3145" y="588"/>
                  </a:lnTo>
                  <a:lnTo>
                    <a:pt x="2316" y="968"/>
                  </a:lnTo>
                  <a:lnTo>
                    <a:pt x="1487" y="1418"/>
                  </a:lnTo>
                  <a:lnTo>
                    <a:pt x="795" y="1832"/>
                  </a:lnTo>
                  <a:lnTo>
                    <a:pt x="277" y="2178"/>
                  </a:lnTo>
                  <a:lnTo>
                    <a:pt x="104" y="2351"/>
                  </a:lnTo>
                  <a:lnTo>
                    <a:pt x="1" y="2454"/>
                  </a:lnTo>
                  <a:lnTo>
                    <a:pt x="312" y="3802"/>
                  </a:lnTo>
                  <a:lnTo>
                    <a:pt x="623" y="4908"/>
                  </a:lnTo>
                  <a:lnTo>
                    <a:pt x="968" y="6290"/>
                  </a:lnTo>
                  <a:lnTo>
                    <a:pt x="1417" y="7845"/>
                  </a:lnTo>
                  <a:lnTo>
                    <a:pt x="1970" y="9504"/>
                  </a:lnTo>
                  <a:lnTo>
                    <a:pt x="2592" y="11266"/>
                  </a:lnTo>
                  <a:lnTo>
                    <a:pt x="3284" y="13029"/>
                  </a:lnTo>
                  <a:lnTo>
                    <a:pt x="3664" y="13893"/>
                  </a:lnTo>
                  <a:lnTo>
                    <a:pt x="4044" y="14722"/>
                  </a:lnTo>
                  <a:lnTo>
                    <a:pt x="4458" y="15551"/>
                  </a:lnTo>
                  <a:lnTo>
                    <a:pt x="4908" y="16346"/>
                  </a:lnTo>
                  <a:lnTo>
                    <a:pt x="5357" y="17106"/>
                  </a:lnTo>
                  <a:lnTo>
                    <a:pt x="5841" y="17797"/>
                  </a:lnTo>
                  <a:lnTo>
                    <a:pt x="6324" y="18454"/>
                  </a:lnTo>
                  <a:lnTo>
                    <a:pt x="6843" y="19041"/>
                  </a:lnTo>
                  <a:lnTo>
                    <a:pt x="7361" y="19560"/>
                  </a:lnTo>
                  <a:lnTo>
                    <a:pt x="7914" y="20009"/>
                  </a:lnTo>
                  <a:lnTo>
                    <a:pt x="8467" y="20389"/>
                  </a:lnTo>
                  <a:lnTo>
                    <a:pt x="8778" y="20527"/>
                  </a:lnTo>
                  <a:lnTo>
                    <a:pt x="9054" y="20666"/>
                  </a:lnTo>
                  <a:lnTo>
                    <a:pt x="9365" y="20769"/>
                  </a:lnTo>
                  <a:lnTo>
                    <a:pt x="9676" y="20838"/>
                  </a:lnTo>
                  <a:lnTo>
                    <a:pt x="9987" y="20873"/>
                  </a:lnTo>
                  <a:lnTo>
                    <a:pt x="10298" y="20908"/>
                  </a:lnTo>
                  <a:lnTo>
                    <a:pt x="10609" y="20908"/>
                  </a:lnTo>
                  <a:lnTo>
                    <a:pt x="10920" y="20873"/>
                  </a:lnTo>
                  <a:lnTo>
                    <a:pt x="11231" y="20804"/>
                  </a:lnTo>
                  <a:lnTo>
                    <a:pt x="11577" y="20735"/>
                  </a:lnTo>
                  <a:lnTo>
                    <a:pt x="12026" y="20562"/>
                  </a:lnTo>
                  <a:lnTo>
                    <a:pt x="12510" y="20355"/>
                  </a:lnTo>
                  <a:lnTo>
                    <a:pt x="13512" y="19905"/>
                  </a:lnTo>
                  <a:lnTo>
                    <a:pt x="14583" y="19352"/>
                  </a:lnTo>
                  <a:lnTo>
                    <a:pt x="15655" y="18730"/>
                  </a:lnTo>
                  <a:lnTo>
                    <a:pt x="16726" y="18074"/>
                  </a:lnTo>
                  <a:lnTo>
                    <a:pt x="17797" y="17383"/>
                  </a:lnTo>
                  <a:lnTo>
                    <a:pt x="19905" y="16001"/>
                  </a:lnTo>
                  <a:lnTo>
                    <a:pt x="21806" y="14791"/>
                  </a:lnTo>
                  <a:lnTo>
                    <a:pt x="22635" y="14307"/>
                  </a:lnTo>
                  <a:lnTo>
                    <a:pt x="23361" y="13927"/>
                  </a:lnTo>
                  <a:lnTo>
                    <a:pt x="23672" y="13789"/>
                  </a:lnTo>
                  <a:lnTo>
                    <a:pt x="23948" y="13685"/>
                  </a:lnTo>
                  <a:lnTo>
                    <a:pt x="24225" y="13616"/>
                  </a:lnTo>
                  <a:lnTo>
                    <a:pt x="24432" y="13582"/>
                  </a:lnTo>
                  <a:lnTo>
                    <a:pt x="24639" y="13582"/>
                  </a:lnTo>
                  <a:lnTo>
                    <a:pt x="24778" y="13651"/>
                  </a:lnTo>
                  <a:lnTo>
                    <a:pt x="24881" y="13754"/>
                  </a:lnTo>
                  <a:lnTo>
                    <a:pt x="24950" y="13893"/>
                  </a:lnTo>
                  <a:lnTo>
                    <a:pt x="24950" y="14791"/>
                  </a:lnTo>
                  <a:lnTo>
                    <a:pt x="25019" y="15655"/>
                  </a:lnTo>
                  <a:lnTo>
                    <a:pt x="25123" y="17314"/>
                  </a:lnTo>
                  <a:lnTo>
                    <a:pt x="25296" y="18972"/>
                  </a:lnTo>
                  <a:lnTo>
                    <a:pt x="25330" y="19836"/>
                  </a:lnTo>
                  <a:lnTo>
                    <a:pt x="25365" y="20769"/>
                  </a:lnTo>
                  <a:lnTo>
                    <a:pt x="25365" y="21771"/>
                  </a:lnTo>
                  <a:lnTo>
                    <a:pt x="25365" y="22808"/>
                  </a:lnTo>
                  <a:lnTo>
                    <a:pt x="25296" y="23983"/>
                  </a:lnTo>
                  <a:lnTo>
                    <a:pt x="25158" y="25227"/>
                  </a:lnTo>
                  <a:lnTo>
                    <a:pt x="25019" y="26609"/>
                  </a:lnTo>
                  <a:lnTo>
                    <a:pt x="24778" y="28095"/>
                  </a:lnTo>
                  <a:lnTo>
                    <a:pt x="24467" y="29754"/>
                  </a:lnTo>
                  <a:lnTo>
                    <a:pt x="24086" y="31551"/>
                  </a:lnTo>
                  <a:lnTo>
                    <a:pt x="24674" y="32000"/>
                  </a:lnTo>
                  <a:lnTo>
                    <a:pt x="25261" y="32415"/>
                  </a:lnTo>
                  <a:lnTo>
                    <a:pt x="25953" y="32795"/>
                  </a:lnTo>
                  <a:lnTo>
                    <a:pt x="26644" y="33106"/>
                  </a:lnTo>
                  <a:lnTo>
                    <a:pt x="27404" y="33417"/>
                  </a:lnTo>
                  <a:lnTo>
                    <a:pt x="28164" y="33693"/>
                  </a:lnTo>
                  <a:lnTo>
                    <a:pt x="28993" y="33935"/>
                  </a:lnTo>
                  <a:lnTo>
                    <a:pt x="29823" y="34143"/>
                  </a:lnTo>
                  <a:lnTo>
                    <a:pt x="30687" y="34315"/>
                  </a:lnTo>
                  <a:lnTo>
                    <a:pt x="31551" y="34454"/>
                  </a:lnTo>
                  <a:lnTo>
                    <a:pt x="32449" y="34592"/>
                  </a:lnTo>
                  <a:lnTo>
                    <a:pt x="33313" y="34661"/>
                  </a:lnTo>
                  <a:lnTo>
                    <a:pt x="34211" y="34730"/>
                  </a:lnTo>
                  <a:lnTo>
                    <a:pt x="35110" y="34765"/>
                  </a:lnTo>
                  <a:lnTo>
                    <a:pt x="36872" y="34765"/>
                  </a:lnTo>
                  <a:lnTo>
                    <a:pt x="37736" y="34696"/>
                  </a:lnTo>
                  <a:lnTo>
                    <a:pt x="38566" y="34661"/>
                  </a:lnTo>
                  <a:lnTo>
                    <a:pt x="39360" y="34557"/>
                  </a:lnTo>
                  <a:lnTo>
                    <a:pt x="40155" y="34454"/>
                  </a:lnTo>
                  <a:lnTo>
                    <a:pt x="40915" y="34315"/>
                  </a:lnTo>
                  <a:lnTo>
                    <a:pt x="41607" y="34177"/>
                  </a:lnTo>
                  <a:lnTo>
                    <a:pt x="42298" y="34004"/>
                  </a:lnTo>
                  <a:lnTo>
                    <a:pt x="42920" y="33832"/>
                  </a:lnTo>
                  <a:lnTo>
                    <a:pt x="43473" y="33659"/>
                  </a:lnTo>
                  <a:lnTo>
                    <a:pt x="43991" y="33417"/>
                  </a:lnTo>
                  <a:lnTo>
                    <a:pt x="44440" y="33210"/>
                  </a:lnTo>
                  <a:lnTo>
                    <a:pt x="44820" y="32968"/>
                  </a:lnTo>
                  <a:lnTo>
                    <a:pt x="45166" y="32726"/>
                  </a:lnTo>
                  <a:lnTo>
                    <a:pt x="45408" y="32449"/>
                  </a:lnTo>
                  <a:lnTo>
                    <a:pt x="45546" y="32173"/>
                  </a:lnTo>
                  <a:lnTo>
                    <a:pt x="45615" y="32035"/>
                  </a:lnTo>
                  <a:lnTo>
                    <a:pt x="45650" y="31896"/>
                  </a:lnTo>
                  <a:lnTo>
                    <a:pt x="45684" y="31171"/>
                  </a:lnTo>
                  <a:lnTo>
                    <a:pt x="45684" y="30100"/>
                  </a:lnTo>
                  <a:lnTo>
                    <a:pt x="45650" y="28821"/>
                  </a:lnTo>
                  <a:lnTo>
                    <a:pt x="45546" y="27300"/>
                  </a:lnTo>
                  <a:lnTo>
                    <a:pt x="45270" y="23810"/>
                  </a:lnTo>
                  <a:lnTo>
                    <a:pt x="44889" y="20009"/>
                  </a:lnTo>
                  <a:lnTo>
                    <a:pt x="44440" y="16242"/>
                  </a:lnTo>
                  <a:lnTo>
                    <a:pt x="43991" y="12856"/>
                  </a:lnTo>
                  <a:lnTo>
                    <a:pt x="43784" y="11439"/>
                  </a:lnTo>
                  <a:lnTo>
                    <a:pt x="43576" y="10264"/>
                  </a:lnTo>
                  <a:lnTo>
                    <a:pt x="43403" y="9366"/>
                  </a:lnTo>
                  <a:lnTo>
                    <a:pt x="43231" y="8778"/>
                  </a:lnTo>
                  <a:lnTo>
                    <a:pt x="42989" y="8225"/>
                  </a:lnTo>
                  <a:lnTo>
                    <a:pt x="42712" y="7707"/>
                  </a:lnTo>
                  <a:lnTo>
                    <a:pt x="42367" y="7154"/>
                  </a:lnTo>
                  <a:lnTo>
                    <a:pt x="41987" y="6636"/>
                  </a:lnTo>
                  <a:lnTo>
                    <a:pt x="41537" y="6117"/>
                  </a:lnTo>
                  <a:lnTo>
                    <a:pt x="41088" y="5599"/>
                  </a:lnTo>
                  <a:lnTo>
                    <a:pt x="40639" y="5115"/>
                  </a:lnTo>
                  <a:lnTo>
                    <a:pt x="40155" y="4666"/>
                  </a:lnTo>
                  <a:lnTo>
                    <a:pt x="39222" y="3837"/>
                  </a:lnTo>
                  <a:lnTo>
                    <a:pt x="38324" y="3146"/>
                  </a:lnTo>
                  <a:lnTo>
                    <a:pt x="37598" y="2662"/>
                  </a:lnTo>
                  <a:lnTo>
                    <a:pt x="37287" y="2489"/>
                  </a:lnTo>
                  <a:lnTo>
                    <a:pt x="37080" y="2385"/>
                  </a:lnTo>
                  <a:lnTo>
                    <a:pt x="36838" y="2282"/>
                  </a:lnTo>
                  <a:lnTo>
                    <a:pt x="36492" y="2213"/>
                  </a:lnTo>
                  <a:lnTo>
                    <a:pt x="35559" y="2040"/>
                  </a:lnTo>
                  <a:lnTo>
                    <a:pt x="34384" y="1901"/>
                  </a:lnTo>
                  <a:lnTo>
                    <a:pt x="33071" y="1832"/>
                  </a:lnTo>
                  <a:lnTo>
                    <a:pt x="32345" y="1832"/>
                  </a:lnTo>
                  <a:lnTo>
                    <a:pt x="31654" y="1867"/>
                  </a:lnTo>
                  <a:lnTo>
                    <a:pt x="30963" y="1901"/>
                  </a:lnTo>
                  <a:lnTo>
                    <a:pt x="30272" y="1971"/>
                  </a:lnTo>
                  <a:lnTo>
                    <a:pt x="29615" y="2109"/>
                  </a:lnTo>
                  <a:lnTo>
                    <a:pt x="28993" y="2247"/>
                  </a:lnTo>
                  <a:lnTo>
                    <a:pt x="28406" y="2454"/>
                  </a:lnTo>
                  <a:lnTo>
                    <a:pt x="27888" y="2696"/>
                  </a:lnTo>
                  <a:lnTo>
                    <a:pt x="26955" y="3180"/>
                  </a:lnTo>
                  <a:lnTo>
                    <a:pt x="26091" y="3595"/>
                  </a:lnTo>
                  <a:lnTo>
                    <a:pt x="25261" y="4009"/>
                  </a:lnTo>
                  <a:lnTo>
                    <a:pt x="24432" y="4424"/>
                  </a:lnTo>
                  <a:lnTo>
                    <a:pt x="23603" y="4908"/>
                  </a:lnTo>
                  <a:lnTo>
                    <a:pt x="22739" y="5461"/>
                  </a:lnTo>
                  <a:lnTo>
                    <a:pt x="22290" y="5772"/>
                  </a:lnTo>
                  <a:lnTo>
                    <a:pt x="21840" y="6152"/>
                  </a:lnTo>
                  <a:lnTo>
                    <a:pt x="21391" y="6567"/>
                  </a:lnTo>
                  <a:lnTo>
                    <a:pt x="20907" y="7016"/>
                  </a:lnTo>
                  <a:lnTo>
                    <a:pt x="18972" y="8951"/>
                  </a:lnTo>
                  <a:lnTo>
                    <a:pt x="17866" y="10022"/>
                  </a:lnTo>
                  <a:lnTo>
                    <a:pt x="16691" y="11059"/>
                  </a:lnTo>
                  <a:lnTo>
                    <a:pt x="16069" y="11577"/>
                  </a:lnTo>
                  <a:lnTo>
                    <a:pt x="15447" y="12061"/>
                  </a:lnTo>
                  <a:lnTo>
                    <a:pt x="14825" y="12510"/>
                  </a:lnTo>
                  <a:lnTo>
                    <a:pt x="14203" y="12925"/>
                  </a:lnTo>
                  <a:lnTo>
                    <a:pt x="13581" y="13305"/>
                  </a:lnTo>
                  <a:lnTo>
                    <a:pt x="12959" y="13616"/>
                  </a:lnTo>
                  <a:lnTo>
                    <a:pt x="12337" y="13893"/>
                  </a:lnTo>
                  <a:lnTo>
                    <a:pt x="11750" y="14065"/>
                  </a:lnTo>
                  <a:lnTo>
                    <a:pt x="11473" y="14065"/>
                  </a:lnTo>
                  <a:lnTo>
                    <a:pt x="11197" y="13996"/>
                  </a:lnTo>
                  <a:lnTo>
                    <a:pt x="10920" y="13858"/>
                  </a:lnTo>
                  <a:lnTo>
                    <a:pt x="10644" y="13651"/>
                  </a:lnTo>
                  <a:lnTo>
                    <a:pt x="10368" y="13374"/>
                  </a:lnTo>
                  <a:lnTo>
                    <a:pt x="10091" y="13029"/>
                  </a:lnTo>
                  <a:lnTo>
                    <a:pt x="9780" y="12614"/>
                  </a:lnTo>
                  <a:lnTo>
                    <a:pt x="9504" y="12165"/>
                  </a:lnTo>
                  <a:lnTo>
                    <a:pt x="9227" y="11646"/>
                  </a:lnTo>
                  <a:lnTo>
                    <a:pt x="8951" y="11093"/>
                  </a:lnTo>
                  <a:lnTo>
                    <a:pt x="8398" y="9919"/>
                  </a:lnTo>
                  <a:lnTo>
                    <a:pt x="7845" y="8605"/>
                  </a:lnTo>
                  <a:lnTo>
                    <a:pt x="7327" y="7292"/>
                  </a:lnTo>
                  <a:lnTo>
                    <a:pt x="6877" y="5945"/>
                  </a:lnTo>
                  <a:lnTo>
                    <a:pt x="6428" y="4631"/>
                  </a:lnTo>
                  <a:lnTo>
                    <a:pt x="5702" y="2282"/>
                  </a:lnTo>
                  <a:lnTo>
                    <a:pt x="5219" y="623"/>
                  </a:lnTo>
                  <a:lnTo>
                    <a:pt x="5046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66" name="Google Shape;14312;p81">
              <a:extLst>
                <a:ext uri="{FF2B5EF4-FFF2-40B4-BE49-F238E27FC236}">
                  <a16:creationId xmlns:a16="http://schemas.microsoft.com/office/drawing/2014/main" id="{D4092250-56EE-58B0-CD7F-8C98F9E56FDA}"/>
                </a:ext>
              </a:extLst>
            </p:cNvPr>
            <p:cNvSpPr/>
            <p:nvPr/>
          </p:nvSpPr>
          <p:spPr>
            <a:xfrm>
              <a:off x="3682125" y="2970650"/>
              <a:ext cx="1142125" cy="869125"/>
            </a:xfrm>
            <a:custGeom>
              <a:avLst/>
              <a:gdLst/>
              <a:ahLst/>
              <a:cxnLst/>
              <a:rect l="l" t="t" r="r" b="b"/>
              <a:pathLst>
                <a:path w="45685" h="34765" fill="none" extrusionOk="0">
                  <a:moveTo>
                    <a:pt x="37080" y="2385"/>
                  </a:moveTo>
                  <a:lnTo>
                    <a:pt x="37080" y="2385"/>
                  </a:lnTo>
                  <a:lnTo>
                    <a:pt x="36838" y="2282"/>
                  </a:lnTo>
                  <a:lnTo>
                    <a:pt x="36492" y="2213"/>
                  </a:lnTo>
                  <a:lnTo>
                    <a:pt x="35559" y="2040"/>
                  </a:lnTo>
                  <a:lnTo>
                    <a:pt x="34384" y="1901"/>
                  </a:lnTo>
                  <a:lnTo>
                    <a:pt x="33071" y="1832"/>
                  </a:lnTo>
                  <a:lnTo>
                    <a:pt x="32345" y="1832"/>
                  </a:lnTo>
                  <a:lnTo>
                    <a:pt x="31654" y="1867"/>
                  </a:lnTo>
                  <a:lnTo>
                    <a:pt x="30963" y="1901"/>
                  </a:lnTo>
                  <a:lnTo>
                    <a:pt x="30272" y="1971"/>
                  </a:lnTo>
                  <a:lnTo>
                    <a:pt x="29615" y="2109"/>
                  </a:lnTo>
                  <a:lnTo>
                    <a:pt x="28993" y="2247"/>
                  </a:lnTo>
                  <a:lnTo>
                    <a:pt x="28406" y="2454"/>
                  </a:lnTo>
                  <a:lnTo>
                    <a:pt x="27888" y="2696"/>
                  </a:lnTo>
                  <a:lnTo>
                    <a:pt x="27888" y="2696"/>
                  </a:lnTo>
                  <a:lnTo>
                    <a:pt x="26955" y="3180"/>
                  </a:lnTo>
                  <a:lnTo>
                    <a:pt x="26091" y="3595"/>
                  </a:lnTo>
                  <a:lnTo>
                    <a:pt x="25261" y="4009"/>
                  </a:lnTo>
                  <a:lnTo>
                    <a:pt x="24432" y="4424"/>
                  </a:lnTo>
                  <a:lnTo>
                    <a:pt x="23603" y="4908"/>
                  </a:lnTo>
                  <a:lnTo>
                    <a:pt x="22739" y="5461"/>
                  </a:lnTo>
                  <a:lnTo>
                    <a:pt x="22290" y="5772"/>
                  </a:lnTo>
                  <a:lnTo>
                    <a:pt x="21840" y="6152"/>
                  </a:lnTo>
                  <a:lnTo>
                    <a:pt x="21391" y="6567"/>
                  </a:lnTo>
                  <a:lnTo>
                    <a:pt x="20907" y="7016"/>
                  </a:lnTo>
                  <a:lnTo>
                    <a:pt x="20907" y="7016"/>
                  </a:lnTo>
                  <a:lnTo>
                    <a:pt x="18972" y="8951"/>
                  </a:lnTo>
                  <a:lnTo>
                    <a:pt x="17866" y="10022"/>
                  </a:lnTo>
                  <a:lnTo>
                    <a:pt x="16691" y="11059"/>
                  </a:lnTo>
                  <a:lnTo>
                    <a:pt x="16069" y="11577"/>
                  </a:lnTo>
                  <a:lnTo>
                    <a:pt x="15447" y="12061"/>
                  </a:lnTo>
                  <a:lnTo>
                    <a:pt x="14825" y="12510"/>
                  </a:lnTo>
                  <a:lnTo>
                    <a:pt x="14203" y="12925"/>
                  </a:lnTo>
                  <a:lnTo>
                    <a:pt x="13581" y="13305"/>
                  </a:lnTo>
                  <a:lnTo>
                    <a:pt x="12959" y="13616"/>
                  </a:lnTo>
                  <a:lnTo>
                    <a:pt x="12337" y="13893"/>
                  </a:lnTo>
                  <a:lnTo>
                    <a:pt x="11750" y="14065"/>
                  </a:lnTo>
                  <a:lnTo>
                    <a:pt x="11750" y="14065"/>
                  </a:lnTo>
                  <a:lnTo>
                    <a:pt x="11612" y="14065"/>
                  </a:lnTo>
                  <a:lnTo>
                    <a:pt x="11473" y="14065"/>
                  </a:lnTo>
                  <a:lnTo>
                    <a:pt x="11197" y="13996"/>
                  </a:lnTo>
                  <a:lnTo>
                    <a:pt x="10920" y="13858"/>
                  </a:lnTo>
                  <a:lnTo>
                    <a:pt x="10644" y="13651"/>
                  </a:lnTo>
                  <a:lnTo>
                    <a:pt x="10368" y="13374"/>
                  </a:lnTo>
                  <a:lnTo>
                    <a:pt x="10091" y="13029"/>
                  </a:lnTo>
                  <a:lnTo>
                    <a:pt x="9780" y="12614"/>
                  </a:lnTo>
                  <a:lnTo>
                    <a:pt x="9504" y="12165"/>
                  </a:lnTo>
                  <a:lnTo>
                    <a:pt x="9227" y="11646"/>
                  </a:lnTo>
                  <a:lnTo>
                    <a:pt x="8951" y="11093"/>
                  </a:lnTo>
                  <a:lnTo>
                    <a:pt x="8398" y="9919"/>
                  </a:lnTo>
                  <a:lnTo>
                    <a:pt x="7845" y="8605"/>
                  </a:lnTo>
                  <a:lnTo>
                    <a:pt x="7327" y="7292"/>
                  </a:lnTo>
                  <a:lnTo>
                    <a:pt x="6877" y="5945"/>
                  </a:lnTo>
                  <a:lnTo>
                    <a:pt x="6428" y="4631"/>
                  </a:lnTo>
                  <a:lnTo>
                    <a:pt x="5702" y="2282"/>
                  </a:lnTo>
                  <a:lnTo>
                    <a:pt x="5219" y="623"/>
                  </a:lnTo>
                  <a:lnTo>
                    <a:pt x="5046" y="1"/>
                  </a:lnTo>
                  <a:lnTo>
                    <a:pt x="5046" y="1"/>
                  </a:lnTo>
                  <a:lnTo>
                    <a:pt x="4839" y="1"/>
                  </a:lnTo>
                  <a:lnTo>
                    <a:pt x="4597" y="70"/>
                  </a:lnTo>
                  <a:lnTo>
                    <a:pt x="3940" y="277"/>
                  </a:lnTo>
                  <a:lnTo>
                    <a:pt x="3145" y="588"/>
                  </a:lnTo>
                  <a:lnTo>
                    <a:pt x="2316" y="968"/>
                  </a:lnTo>
                  <a:lnTo>
                    <a:pt x="1487" y="1418"/>
                  </a:lnTo>
                  <a:lnTo>
                    <a:pt x="795" y="1832"/>
                  </a:lnTo>
                  <a:lnTo>
                    <a:pt x="277" y="2178"/>
                  </a:lnTo>
                  <a:lnTo>
                    <a:pt x="104" y="2351"/>
                  </a:lnTo>
                  <a:lnTo>
                    <a:pt x="1" y="2454"/>
                  </a:lnTo>
                  <a:lnTo>
                    <a:pt x="1" y="2454"/>
                  </a:lnTo>
                  <a:lnTo>
                    <a:pt x="312" y="3802"/>
                  </a:lnTo>
                  <a:lnTo>
                    <a:pt x="623" y="4908"/>
                  </a:lnTo>
                  <a:lnTo>
                    <a:pt x="968" y="6290"/>
                  </a:lnTo>
                  <a:lnTo>
                    <a:pt x="1417" y="7845"/>
                  </a:lnTo>
                  <a:lnTo>
                    <a:pt x="1970" y="9504"/>
                  </a:lnTo>
                  <a:lnTo>
                    <a:pt x="2592" y="11266"/>
                  </a:lnTo>
                  <a:lnTo>
                    <a:pt x="3284" y="13029"/>
                  </a:lnTo>
                  <a:lnTo>
                    <a:pt x="3664" y="13893"/>
                  </a:lnTo>
                  <a:lnTo>
                    <a:pt x="4044" y="14722"/>
                  </a:lnTo>
                  <a:lnTo>
                    <a:pt x="4458" y="15551"/>
                  </a:lnTo>
                  <a:lnTo>
                    <a:pt x="4908" y="16346"/>
                  </a:lnTo>
                  <a:lnTo>
                    <a:pt x="5357" y="17106"/>
                  </a:lnTo>
                  <a:lnTo>
                    <a:pt x="5841" y="17797"/>
                  </a:lnTo>
                  <a:lnTo>
                    <a:pt x="6324" y="18454"/>
                  </a:lnTo>
                  <a:lnTo>
                    <a:pt x="6843" y="19041"/>
                  </a:lnTo>
                  <a:lnTo>
                    <a:pt x="7361" y="19560"/>
                  </a:lnTo>
                  <a:lnTo>
                    <a:pt x="7914" y="20009"/>
                  </a:lnTo>
                  <a:lnTo>
                    <a:pt x="8467" y="20389"/>
                  </a:lnTo>
                  <a:lnTo>
                    <a:pt x="8778" y="20527"/>
                  </a:lnTo>
                  <a:lnTo>
                    <a:pt x="9054" y="20666"/>
                  </a:lnTo>
                  <a:lnTo>
                    <a:pt x="9365" y="20769"/>
                  </a:lnTo>
                  <a:lnTo>
                    <a:pt x="9676" y="20838"/>
                  </a:lnTo>
                  <a:lnTo>
                    <a:pt x="9987" y="20873"/>
                  </a:lnTo>
                  <a:lnTo>
                    <a:pt x="10298" y="20908"/>
                  </a:lnTo>
                  <a:lnTo>
                    <a:pt x="10609" y="20908"/>
                  </a:lnTo>
                  <a:lnTo>
                    <a:pt x="10920" y="20873"/>
                  </a:lnTo>
                  <a:lnTo>
                    <a:pt x="11231" y="20804"/>
                  </a:lnTo>
                  <a:lnTo>
                    <a:pt x="11577" y="20735"/>
                  </a:lnTo>
                  <a:lnTo>
                    <a:pt x="11577" y="20735"/>
                  </a:lnTo>
                  <a:lnTo>
                    <a:pt x="12026" y="20562"/>
                  </a:lnTo>
                  <a:lnTo>
                    <a:pt x="12510" y="20355"/>
                  </a:lnTo>
                  <a:lnTo>
                    <a:pt x="13512" y="19905"/>
                  </a:lnTo>
                  <a:lnTo>
                    <a:pt x="14583" y="19352"/>
                  </a:lnTo>
                  <a:lnTo>
                    <a:pt x="15655" y="18730"/>
                  </a:lnTo>
                  <a:lnTo>
                    <a:pt x="16726" y="18074"/>
                  </a:lnTo>
                  <a:lnTo>
                    <a:pt x="17797" y="17383"/>
                  </a:lnTo>
                  <a:lnTo>
                    <a:pt x="19905" y="16001"/>
                  </a:lnTo>
                  <a:lnTo>
                    <a:pt x="21806" y="14791"/>
                  </a:lnTo>
                  <a:lnTo>
                    <a:pt x="22635" y="14307"/>
                  </a:lnTo>
                  <a:lnTo>
                    <a:pt x="23361" y="13927"/>
                  </a:lnTo>
                  <a:lnTo>
                    <a:pt x="23672" y="13789"/>
                  </a:lnTo>
                  <a:lnTo>
                    <a:pt x="23948" y="13685"/>
                  </a:lnTo>
                  <a:lnTo>
                    <a:pt x="24225" y="13616"/>
                  </a:lnTo>
                  <a:lnTo>
                    <a:pt x="24432" y="13582"/>
                  </a:lnTo>
                  <a:lnTo>
                    <a:pt x="24639" y="13582"/>
                  </a:lnTo>
                  <a:lnTo>
                    <a:pt x="24778" y="13651"/>
                  </a:lnTo>
                  <a:lnTo>
                    <a:pt x="24881" y="13754"/>
                  </a:lnTo>
                  <a:lnTo>
                    <a:pt x="24950" y="13893"/>
                  </a:lnTo>
                  <a:lnTo>
                    <a:pt x="24950" y="13893"/>
                  </a:lnTo>
                  <a:lnTo>
                    <a:pt x="24950" y="14791"/>
                  </a:lnTo>
                  <a:lnTo>
                    <a:pt x="25019" y="15655"/>
                  </a:lnTo>
                  <a:lnTo>
                    <a:pt x="25123" y="17314"/>
                  </a:lnTo>
                  <a:lnTo>
                    <a:pt x="25296" y="18972"/>
                  </a:lnTo>
                  <a:lnTo>
                    <a:pt x="25330" y="19836"/>
                  </a:lnTo>
                  <a:lnTo>
                    <a:pt x="25365" y="20769"/>
                  </a:lnTo>
                  <a:lnTo>
                    <a:pt x="25365" y="21771"/>
                  </a:lnTo>
                  <a:lnTo>
                    <a:pt x="25365" y="22808"/>
                  </a:lnTo>
                  <a:lnTo>
                    <a:pt x="25296" y="23983"/>
                  </a:lnTo>
                  <a:lnTo>
                    <a:pt x="25158" y="25227"/>
                  </a:lnTo>
                  <a:lnTo>
                    <a:pt x="25019" y="26609"/>
                  </a:lnTo>
                  <a:lnTo>
                    <a:pt x="24778" y="28095"/>
                  </a:lnTo>
                  <a:lnTo>
                    <a:pt x="24467" y="29754"/>
                  </a:lnTo>
                  <a:lnTo>
                    <a:pt x="24086" y="31551"/>
                  </a:lnTo>
                  <a:lnTo>
                    <a:pt x="24086" y="31551"/>
                  </a:lnTo>
                  <a:lnTo>
                    <a:pt x="24674" y="32000"/>
                  </a:lnTo>
                  <a:lnTo>
                    <a:pt x="25261" y="32415"/>
                  </a:lnTo>
                  <a:lnTo>
                    <a:pt x="25953" y="32795"/>
                  </a:lnTo>
                  <a:lnTo>
                    <a:pt x="26644" y="33106"/>
                  </a:lnTo>
                  <a:lnTo>
                    <a:pt x="27404" y="33417"/>
                  </a:lnTo>
                  <a:lnTo>
                    <a:pt x="28164" y="33693"/>
                  </a:lnTo>
                  <a:lnTo>
                    <a:pt x="28993" y="33935"/>
                  </a:lnTo>
                  <a:lnTo>
                    <a:pt x="29823" y="34143"/>
                  </a:lnTo>
                  <a:lnTo>
                    <a:pt x="30687" y="34315"/>
                  </a:lnTo>
                  <a:lnTo>
                    <a:pt x="31551" y="34454"/>
                  </a:lnTo>
                  <a:lnTo>
                    <a:pt x="32449" y="34592"/>
                  </a:lnTo>
                  <a:lnTo>
                    <a:pt x="33313" y="34661"/>
                  </a:lnTo>
                  <a:lnTo>
                    <a:pt x="34211" y="34730"/>
                  </a:lnTo>
                  <a:lnTo>
                    <a:pt x="35110" y="34765"/>
                  </a:lnTo>
                  <a:lnTo>
                    <a:pt x="36008" y="34765"/>
                  </a:lnTo>
                  <a:lnTo>
                    <a:pt x="36872" y="34765"/>
                  </a:lnTo>
                  <a:lnTo>
                    <a:pt x="37736" y="34696"/>
                  </a:lnTo>
                  <a:lnTo>
                    <a:pt x="38566" y="34661"/>
                  </a:lnTo>
                  <a:lnTo>
                    <a:pt x="39360" y="34557"/>
                  </a:lnTo>
                  <a:lnTo>
                    <a:pt x="40155" y="34454"/>
                  </a:lnTo>
                  <a:lnTo>
                    <a:pt x="40915" y="34315"/>
                  </a:lnTo>
                  <a:lnTo>
                    <a:pt x="41607" y="34177"/>
                  </a:lnTo>
                  <a:lnTo>
                    <a:pt x="42298" y="34004"/>
                  </a:lnTo>
                  <a:lnTo>
                    <a:pt x="42920" y="33832"/>
                  </a:lnTo>
                  <a:lnTo>
                    <a:pt x="43473" y="33659"/>
                  </a:lnTo>
                  <a:lnTo>
                    <a:pt x="43991" y="33417"/>
                  </a:lnTo>
                  <a:lnTo>
                    <a:pt x="44440" y="33210"/>
                  </a:lnTo>
                  <a:lnTo>
                    <a:pt x="44820" y="32968"/>
                  </a:lnTo>
                  <a:lnTo>
                    <a:pt x="45166" y="32726"/>
                  </a:lnTo>
                  <a:lnTo>
                    <a:pt x="45408" y="32449"/>
                  </a:lnTo>
                  <a:lnTo>
                    <a:pt x="45546" y="32173"/>
                  </a:lnTo>
                  <a:lnTo>
                    <a:pt x="45615" y="32035"/>
                  </a:lnTo>
                  <a:lnTo>
                    <a:pt x="45650" y="31896"/>
                  </a:lnTo>
                  <a:lnTo>
                    <a:pt x="45650" y="31896"/>
                  </a:lnTo>
                  <a:lnTo>
                    <a:pt x="45684" y="31171"/>
                  </a:lnTo>
                  <a:lnTo>
                    <a:pt x="45684" y="30100"/>
                  </a:lnTo>
                  <a:lnTo>
                    <a:pt x="45650" y="28821"/>
                  </a:lnTo>
                  <a:lnTo>
                    <a:pt x="45546" y="27300"/>
                  </a:lnTo>
                  <a:lnTo>
                    <a:pt x="45270" y="23810"/>
                  </a:lnTo>
                  <a:lnTo>
                    <a:pt x="44889" y="20009"/>
                  </a:lnTo>
                  <a:lnTo>
                    <a:pt x="44440" y="16242"/>
                  </a:lnTo>
                  <a:lnTo>
                    <a:pt x="43991" y="12856"/>
                  </a:lnTo>
                  <a:lnTo>
                    <a:pt x="43784" y="11439"/>
                  </a:lnTo>
                  <a:lnTo>
                    <a:pt x="43576" y="10264"/>
                  </a:lnTo>
                  <a:lnTo>
                    <a:pt x="43403" y="9366"/>
                  </a:lnTo>
                  <a:lnTo>
                    <a:pt x="43231" y="8778"/>
                  </a:lnTo>
                  <a:lnTo>
                    <a:pt x="43231" y="8778"/>
                  </a:lnTo>
                  <a:lnTo>
                    <a:pt x="42989" y="8225"/>
                  </a:lnTo>
                  <a:lnTo>
                    <a:pt x="42712" y="7707"/>
                  </a:lnTo>
                  <a:lnTo>
                    <a:pt x="42367" y="7154"/>
                  </a:lnTo>
                  <a:lnTo>
                    <a:pt x="41987" y="6636"/>
                  </a:lnTo>
                  <a:lnTo>
                    <a:pt x="41537" y="6117"/>
                  </a:lnTo>
                  <a:lnTo>
                    <a:pt x="41088" y="5599"/>
                  </a:lnTo>
                  <a:lnTo>
                    <a:pt x="40639" y="5115"/>
                  </a:lnTo>
                  <a:lnTo>
                    <a:pt x="40155" y="4666"/>
                  </a:lnTo>
                  <a:lnTo>
                    <a:pt x="39222" y="3837"/>
                  </a:lnTo>
                  <a:lnTo>
                    <a:pt x="38324" y="3146"/>
                  </a:lnTo>
                  <a:lnTo>
                    <a:pt x="37598" y="2662"/>
                  </a:lnTo>
                  <a:lnTo>
                    <a:pt x="37287" y="2489"/>
                  </a:lnTo>
                  <a:lnTo>
                    <a:pt x="37080" y="238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67" name="Google Shape;14313;p81">
              <a:extLst>
                <a:ext uri="{FF2B5EF4-FFF2-40B4-BE49-F238E27FC236}">
                  <a16:creationId xmlns:a16="http://schemas.microsoft.com/office/drawing/2014/main" id="{502C685F-D102-F650-83C0-D12164488480}"/>
                </a:ext>
              </a:extLst>
            </p:cNvPr>
            <p:cNvSpPr/>
            <p:nvPr/>
          </p:nvSpPr>
          <p:spPr>
            <a:xfrm>
              <a:off x="4294650" y="3308450"/>
              <a:ext cx="84675" cy="400875"/>
            </a:xfrm>
            <a:custGeom>
              <a:avLst/>
              <a:gdLst/>
              <a:ahLst/>
              <a:cxnLst/>
              <a:rect l="l" t="t" r="r" b="b"/>
              <a:pathLst>
                <a:path w="3387" h="16035" extrusionOk="0">
                  <a:moveTo>
                    <a:pt x="207" y="0"/>
                  </a:moveTo>
                  <a:lnTo>
                    <a:pt x="311" y="70"/>
                  </a:lnTo>
                  <a:lnTo>
                    <a:pt x="380" y="173"/>
                  </a:lnTo>
                  <a:lnTo>
                    <a:pt x="449" y="381"/>
                  </a:lnTo>
                  <a:lnTo>
                    <a:pt x="449" y="1175"/>
                  </a:lnTo>
                  <a:lnTo>
                    <a:pt x="518" y="1970"/>
                  </a:lnTo>
                  <a:lnTo>
                    <a:pt x="622" y="3525"/>
                  </a:lnTo>
                  <a:lnTo>
                    <a:pt x="760" y="5149"/>
                  </a:lnTo>
                  <a:lnTo>
                    <a:pt x="899" y="6912"/>
                  </a:lnTo>
                  <a:lnTo>
                    <a:pt x="899" y="7810"/>
                  </a:lnTo>
                  <a:lnTo>
                    <a:pt x="933" y="8778"/>
                  </a:lnTo>
                  <a:lnTo>
                    <a:pt x="899" y="9814"/>
                  </a:lnTo>
                  <a:lnTo>
                    <a:pt x="829" y="10920"/>
                  </a:lnTo>
                  <a:lnTo>
                    <a:pt x="691" y="12061"/>
                  </a:lnTo>
                  <a:lnTo>
                    <a:pt x="518" y="13305"/>
                  </a:lnTo>
                  <a:lnTo>
                    <a:pt x="311" y="14618"/>
                  </a:lnTo>
                  <a:lnTo>
                    <a:pt x="0" y="16035"/>
                  </a:lnTo>
                  <a:lnTo>
                    <a:pt x="104" y="15966"/>
                  </a:lnTo>
                  <a:lnTo>
                    <a:pt x="207" y="15827"/>
                  </a:lnTo>
                  <a:lnTo>
                    <a:pt x="449" y="15378"/>
                  </a:lnTo>
                  <a:lnTo>
                    <a:pt x="726" y="14825"/>
                  </a:lnTo>
                  <a:lnTo>
                    <a:pt x="968" y="14341"/>
                  </a:lnTo>
                  <a:lnTo>
                    <a:pt x="1210" y="13892"/>
                  </a:lnTo>
                  <a:lnTo>
                    <a:pt x="1452" y="13270"/>
                  </a:lnTo>
                  <a:lnTo>
                    <a:pt x="1693" y="12544"/>
                  </a:lnTo>
                  <a:lnTo>
                    <a:pt x="1935" y="11681"/>
                  </a:lnTo>
                  <a:lnTo>
                    <a:pt x="2177" y="10747"/>
                  </a:lnTo>
                  <a:lnTo>
                    <a:pt x="2385" y="9780"/>
                  </a:lnTo>
                  <a:lnTo>
                    <a:pt x="2799" y="7707"/>
                  </a:lnTo>
                  <a:lnTo>
                    <a:pt x="3110" y="5737"/>
                  </a:lnTo>
                  <a:lnTo>
                    <a:pt x="3318" y="3974"/>
                  </a:lnTo>
                  <a:lnTo>
                    <a:pt x="3387" y="3249"/>
                  </a:lnTo>
                  <a:lnTo>
                    <a:pt x="3387" y="2661"/>
                  </a:lnTo>
                  <a:lnTo>
                    <a:pt x="3387" y="2247"/>
                  </a:lnTo>
                  <a:lnTo>
                    <a:pt x="3352" y="2108"/>
                  </a:lnTo>
                  <a:lnTo>
                    <a:pt x="3318" y="2005"/>
                  </a:lnTo>
                  <a:lnTo>
                    <a:pt x="3179" y="1728"/>
                  </a:lnTo>
                  <a:lnTo>
                    <a:pt x="3007" y="1452"/>
                  </a:lnTo>
                  <a:lnTo>
                    <a:pt x="2765" y="1244"/>
                  </a:lnTo>
                  <a:lnTo>
                    <a:pt x="2454" y="1003"/>
                  </a:lnTo>
                  <a:lnTo>
                    <a:pt x="2074" y="795"/>
                  </a:lnTo>
                  <a:lnTo>
                    <a:pt x="1590" y="553"/>
                  </a:lnTo>
                  <a:lnTo>
                    <a:pt x="968" y="277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AA2B2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  <p:sp>
          <p:nvSpPr>
            <p:cNvPr id="668" name="Google Shape;14314;p81">
              <a:extLst>
                <a:ext uri="{FF2B5EF4-FFF2-40B4-BE49-F238E27FC236}">
                  <a16:creationId xmlns:a16="http://schemas.microsoft.com/office/drawing/2014/main" id="{FE8BA25E-4BE9-76F3-032E-022064C1A49F}"/>
                </a:ext>
              </a:extLst>
            </p:cNvPr>
            <p:cNvSpPr/>
            <p:nvPr/>
          </p:nvSpPr>
          <p:spPr>
            <a:xfrm>
              <a:off x="4294650" y="3308450"/>
              <a:ext cx="84675" cy="400875"/>
            </a:xfrm>
            <a:custGeom>
              <a:avLst/>
              <a:gdLst/>
              <a:ahLst/>
              <a:cxnLst/>
              <a:rect l="l" t="t" r="r" b="b"/>
              <a:pathLst>
                <a:path w="3387" h="16035" fill="none" extrusionOk="0">
                  <a:moveTo>
                    <a:pt x="207" y="0"/>
                  </a:moveTo>
                  <a:lnTo>
                    <a:pt x="207" y="0"/>
                  </a:lnTo>
                  <a:lnTo>
                    <a:pt x="311" y="70"/>
                  </a:lnTo>
                  <a:lnTo>
                    <a:pt x="380" y="173"/>
                  </a:lnTo>
                  <a:lnTo>
                    <a:pt x="449" y="381"/>
                  </a:lnTo>
                  <a:lnTo>
                    <a:pt x="449" y="381"/>
                  </a:lnTo>
                  <a:lnTo>
                    <a:pt x="449" y="1175"/>
                  </a:lnTo>
                  <a:lnTo>
                    <a:pt x="518" y="1970"/>
                  </a:lnTo>
                  <a:lnTo>
                    <a:pt x="622" y="3525"/>
                  </a:lnTo>
                  <a:lnTo>
                    <a:pt x="760" y="5149"/>
                  </a:lnTo>
                  <a:lnTo>
                    <a:pt x="899" y="6912"/>
                  </a:lnTo>
                  <a:lnTo>
                    <a:pt x="899" y="7810"/>
                  </a:lnTo>
                  <a:lnTo>
                    <a:pt x="933" y="8778"/>
                  </a:lnTo>
                  <a:lnTo>
                    <a:pt x="899" y="9814"/>
                  </a:lnTo>
                  <a:lnTo>
                    <a:pt x="829" y="10920"/>
                  </a:lnTo>
                  <a:lnTo>
                    <a:pt x="691" y="12061"/>
                  </a:lnTo>
                  <a:lnTo>
                    <a:pt x="518" y="13305"/>
                  </a:lnTo>
                  <a:lnTo>
                    <a:pt x="311" y="14618"/>
                  </a:lnTo>
                  <a:lnTo>
                    <a:pt x="0" y="16035"/>
                  </a:lnTo>
                  <a:lnTo>
                    <a:pt x="0" y="16035"/>
                  </a:lnTo>
                  <a:lnTo>
                    <a:pt x="104" y="15966"/>
                  </a:lnTo>
                  <a:lnTo>
                    <a:pt x="207" y="15827"/>
                  </a:lnTo>
                  <a:lnTo>
                    <a:pt x="449" y="15378"/>
                  </a:lnTo>
                  <a:lnTo>
                    <a:pt x="726" y="14825"/>
                  </a:lnTo>
                  <a:lnTo>
                    <a:pt x="968" y="14341"/>
                  </a:lnTo>
                  <a:lnTo>
                    <a:pt x="968" y="14341"/>
                  </a:lnTo>
                  <a:lnTo>
                    <a:pt x="1210" y="13892"/>
                  </a:lnTo>
                  <a:lnTo>
                    <a:pt x="1452" y="13270"/>
                  </a:lnTo>
                  <a:lnTo>
                    <a:pt x="1693" y="12544"/>
                  </a:lnTo>
                  <a:lnTo>
                    <a:pt x="1935" y="11681"/>
                  </a:lnTo>
                  <a:lnTo>
                    <a:pt x="2177" y="10747"/>
                  </a:lnTo>
                  <a:lnTo>
                    <a:pt x="2385" y="9780"/>
                  </a:lnTo>
                  <a:lnTo>
                    <a:pt x="2799" y="7707"/>
                  </a:lnTo>
                  <a:lnTo>
                    <a:pt x="3110" y="5737"/>
                  </a:lnTo>
                  <a:lnTo>
                    <a:pt x="3318" y="3974"/>
                  </a:lnTo>
                  <a:lnTo>
                    <a:pt x="3387" y="3249"/>
                  </a:lnTo>
                  <a:lnTo>
                    <a:pt x="3387" y="2661"/>
                  </a:lnTo>
                  <a:lnTo>
                    <a:pt x="3387" y="2247"/>
                  </a:lnTo>
                  <a:lnTo>
                    <a:pt x="3352" y="2108"/>
                  </a:lnTo>
                  <a:lnTo>
                    <a:pt x="3318" y="2005"/>
                  </a:lnTo>
                  <a:lnTo>
                    <a:pt x="3318" y="2005"/>
                  </a:lnTo>
                  <a:lnTo>
                    <a:pt x="3179" y="1728"/>
                  </a:lnTo>
                  <a:lnTo>
                    <a:pt x="3007" y="1452"/>
                  </a:lnTo>
                  <a:lnTo>
                    <a:pt x="2765" y="1244"/>
                  </a:lnTo>
                  <a:lnTo>
                    <a:pt x="2454" y="1003"/>
                  </a:lnTo>
                  <a:lnTo>
                    <a:pt x="2074" y="795"/>
                  </a:lnTo>
                  <a:lnTo>
                    <a:pt x="1590" y="553"/>
                  </a:lnTo>
                  <a:lnTo>
                    <a:pt x="968" y="277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nter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38007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02BA67-784F-009B-C74E-D892C81AC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ACD00-28B2-4D17-A930-2C9F8441C7CA}" type="slidenum">
              <a:rPr lang="nb-NO" smtClean="0"/>
              <a:pPr/>
              <a:t>20</a:t>
            </a:fld>
            <a:endParaRPr lang="nb-NO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DAAB0-99F4-F8AA-32CF-46ABE8889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2308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7" name="think-cell data - do not delete" hidden="1">
            <a:extLst>
              <a:ext uri="{FF2B5EF4-FFF2-40B4-BE49-F238E27FC236}">
                <a16:creationId xmlns:a16="http://schemas.microsoft.com/office/drawing/2014/main" id="{0574C6C2-EF60-DF62-464A-B8C1A7C4C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4C6C2-EF60-DF62-464A-B8C1A7C4C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oogle Shape;2231;p11">
            <a:extLst>
              <a:ext uri="{FF2B5EF4-FFF2-40B4-BE49-F238E27FC236}">
                <a16:creationId xmlns:a16="http://schemas.microsoft.com/office/drawing/2014/main" id="{68ADE534-F951-1995-AA5B-66FA83EF6D55}"/>
              </a:ext>
            </a:extLst>
          </p:cNvPr>
          <p:cNvSpPr/>
          <p:nvPr/>
        </p:nvSpPr>
        <p:spPr>
          <a:xfrm>
            <a:off x="4225021" y="2309468"/>
            <a:ext cx="825000" cy="825000"/>
          </a:xfrm>
          <a:prstGeom prst="rect">
            <a:avLst/>
          </a:prstGeom>
          <a:solidFill>
            <a:srgbClr val="DEDEDE"/>
          </a:solidFill>
          <a:ln w="9525" cap="flat" cmpd="sng">
            <a:solidFill>
              <a:srgbClr val="DEDEDE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" name="Google Shape;2232;p11">
            <a:extLst>
              <a:ext uri="{FF2B5EF4-FFF2-40B4-BE49-F238E27FC236}">
                <a16:creationId xmlns:a16="http://schemas.microsoft.com/office/drawing/2014/main" id="{55B4FB16-96E6-0265-F2D5-474C67E6168F}"/>
              </a:ext>
            </a:extLst>
          </p:cNvPr>
          <p:cNvSpPr txBox="1"/>
          <p:nvPr/>
        </p:nvSpPr>
        <p:spPr>
          <a:xfrm>
            <a:off x="3407375" y="3201581"/>
            <a:ext cx="2514600" cy="2726400"/>
          </a:xfrm>
          <a:prstGeom prst="rect">
            <a:avLst/>
          </a:prstGeom>
          <a:gradFill>
            <a:gsLst>
              <a:gs pos="0">
                <a:srgbClr val="F6F6F6"/>
              </a:gs>
              <a:gs pos="100000">
                <a:srgbClr val="DEDEDE"/>
              </a:gs>
            </a:gsLst>
            <a:lin ang="5400700" scaled="0"/>
          </a:gradFill>
          <a:ln>
            <a:noFill/>
          </a:ln>
        </p:spPr>
        <p:txBody>
          <a:bodyPr spcFirstLastPara="1" wrap="square" lIns="46175" tIns="46175" rIns="46175" bIns="23075" anchor="t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endParaRPr kumimoji="0" lang="nb-NO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" name="Google Shape;2233;p11">
            <a:extLst>
              <a:ext uri="{FF2B5EF4-FFF2-40B4-BE49-F238E27FC236}">
                <a16:creationId xmlns:a16="http://schemas.microsoft.com/office/drawing/2014/main" id="{07F4AED0-27F9-8ACB-B609-D1EDF3F903F0}"/>
              </a:ext>
            </a:extLst>
          </p:cNvPr>
          <p:cNvSpPr txBox="1"/>
          <p:nvPr/>
        </p:nvSpPr>
        <p:spPr>
          <a:xfrm>
            <a:off x="6015575" y="3187618"/>
            <a:ext cx="2514600" cy="2742600"/>
          </a:xfrm>
          <a:prstGeom prst="rect">
            <a:avLst/>
          </a:prstGeom>
          <a:gradFill>
            <a:gsLst>
              <a:gs pos="0">
                <a:srgbClr val="F6F6F6"/>
              </a:gs>
              <a:gs pos="100000">
                <a:srgbClr val="DEDEDE"/>
              </a:gs>
            </a:gsLst>
            <a:lin ang="5400700" scaled="0"/>
          </a:gradFill>
          <a:ln>
            <a:noFill/>
          </a:ln>
        </p:spPr>
        <p:txBody>
          <a:bodyPr spcFirstLastPara="1" wrap="square" lIns="46175" tIns="46175" rIns="46175" bIns="23075" anchor="t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endParaRPr kumimoji="0" lang="nb-NO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" name="Google Shape;2234;p11">
            <a:extLst>
              <a:ext uri="{FF2B5EF4-FFF2-40B4-BE49-F238E27FC236}">
                <a16:creationId xmlns:a16="http://schemas.microsoft.com/office/drawing/2014/main" id="{1AD4955F-1484-C31E-54C6-CC9A51C9A85A}"/>
              </a:ext>
            </a:extLst>
          </p:cNvPr>
          <p:cNvSpPr txBox="1"/>
          <p:nvPr/>
        </p:nvSpPr>
        <p:spPr>
          <a:xfrm>
            <a:off x="8623775" y="3171493"/>
            <a:ext cx="2514600" cy="2758800"/>
          </a:xfrm>
          <a:prstGeom prst="rect">
            <a:avLst/>
          </a:prstGeom>
          <a:gradFill>
            <a:gsLst>
              <a:gs pos="0">
                <a:srgbClr val="F6F6F6"/>
              </a:gs>
              <a:gs pos="100000">
                <a:srgbClr val="DEDEDE"/>
              </a:gs>
            </a:gsLst>
            <a:lin ang="5400700" scaled="0"/>
          </a:gradFill>
          <a:ln>
            <a:noFill/>
          </a:ln>
        </p:spPr>
        <p:txBody>
          <a:bodyPr spcFirstLastPara="1" wrap="square" lIns="46175" tIns="46175" rIns="46175" bIns="23075" anchor="t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endParaRPr kumimoji="0" lang="nb-NO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" name="Google Shape;2235;p11">
            <a:extLst>
              <a:ext uri="{FF2B5EF4-FFF2-40B4-BE49-F238E27FC236}">
                <a16:creationId xmlns:a16="http://schemas.microsoft.com/office/drawing/2014/main" id="{F3EC1101-7722-7BDA-F4DE-5990F54A204E}"/>
              </a:ext>
            </a:extLst>
          </p:cNvPr>
          <p:cNvSpPr txBox="1"/>
          <p:nvPr/>
        </p:nvSpPr>
        <p:spPr>
          <a:xfrm>
            <a:off x="799175" y="3200860"/>
            <a:ext cx="2514600" cy="2726400"/>
          </a:xfrm>
          <a:prstGeom prst="rect">
            <a:avLst/>
          </a:prstGeom>
          <a:gradFill>
            <a:gsLst>
              <a:gs pos="0">
                <a:srgbClr val="F6F6F6"/>
              </a:gs>
              <a:gs pos="100000">
                <a:srgbClr val="DEDEDE"/>
              </a:gs>
            </a:gsLst>
            <a:lin ang="5400700" scaled="0"/>
          </a:gradFill>
          <a:ln>
            <a:noFill/>
          </a:ln>
        </p:spPr>
        <p:txBody>
          <a:bodyPr spcFirstLastPara="1" wrap="square" lIns="46175" tIns="46175" rIns="46175" bIns="23075" anchor="t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endParaRPr kumimoji="0" lang="nb-NO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9" name="Google Shape;2237;p11">
            <a:extLst>
              <a:ext uri="{FF2B5EF4-FFF2-40B4-BE49-F238E27FC236}">
                <a16:creationId xmlns:a16="http://schemas.microsoft.com/office/drawing/2014/main" id="{7CB83945-D6D8-D604-A652-6119A091C057}"/>
              </a:ext>
            </a:extLst>
          </p:cNvPr>
          <p:cNvSpPr/>
          <p:nvPr/>
        </p:nvSpPr>
        <p:spPr>
          <a:xfrm>
            <a:off x="6842958" y="2316906"/>
            <a:ext cx="825000" cy="825000"/>
          </a:xfrm>
          <a:prstGeom prst="rect">
            <a:avLst/>
          </a:prstGeom>
          <a:solidFill>
            <a:srgbClr val="DEDEDE"/>
          </a:solidFill>
          <a:ln w="9525" cap="flat" cmpd="sng">
            <a:solidFill>
              <a:srgbClr val="DEDEDE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" name="Google Shape;2238;p11">
            <a:extLst>
              <a:ext uri="{FF2B5EF4-FFF2-40B4-BE49-F238E27FC236}">
                <a16:creationId xmlns:a16="http://schemas.microsoft.com/office/drawing/2014/main" id="{49E9817A-C719-7D26-8CA2-C83174BB2425}"/>
              </a:ext>
            </a:extLst>
          </p:cNvPr>
          <p:cNvSpPr/>
          <p:nvPr/>
        </p:nvSpPr>
        <p:spPr>
          <a:xfrm>
            <a:off x="9460900" y="2309081"/>
            <a:ext cx="825000" cy="825000"/>
          </a:xfrm>
          <a:prstGeom prst="rect">
            <a:avLst/>
          </a:prstGeom>
          <a:solidFill>
            <a:srgbClr val="DEDEDE"/>
          </a:solidFill>
          <a:ln w="9525" cap="flat" cmpd="sng">
            <a:solidFill>
              <a:srgbClr val="DEDEDE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1" name="Google Shape;2239;p11">
            <a:extLst>
              <a:ext uri="{FF2B5EF4-FFF2-40B4-BE49-F238E27FC236}">
                <a16:creationId xmlns:a16="http://schemas.microsoft.com/office/drawing/2014/main" id="{D4AED98D-94D6-36CB-3654-3C12EA87DFEB}"/>
              </a:ext>
            </a:extLst>
          </p:cNvPr>
          <p:cNvSpPr/>
          <p:nvPr/>
        </p:nvSpPr>
        <p:spPr>
          <a:xfrm>
            <a:off x="1607075" y="2323806"/>
            <a:ext cx="825000" cy="825000"/>
          </a:xfrm>
          <a:prstGeom prst="rect">
            <a:avLst/>
          </a:prstGeom>
          <a:solidFill>
            <a:srgbClr val="DEDEDE"/>
          </a:solidFill>
          <a:ln w="9525" cap="flat" cmpd="sng">
            <a:solidFill>
              <a:srgbClr val="DEDEDE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" name="Google Shape;2240;p11">
            <a:extLst>
              <a:ext uri="{FF2B5EF4-FFF2-40B4-BE49-F238E27FC236}">
                <a16:creationId xmlns:a16="http://schemas.microsoft.com/office/drawing/2014/main" id="{4D33D808-17B1-D75B-2BCB-02E9B4115601}"/>
              </a:ext>
            </a:extLst>
          </p:cNvPr>
          <p:cNvSpPr/>
          <p:nvPr/>
        </p:nvSpPr>
        <p:spPr>
          <a:xfrm>
            <a:off x="923366" y="3385835"/>
            <a:ext cx="2192400" cy="272100"/>
          </a:xfrm>
          <a:prstGeom prst="roundRect">
            <a:avLst>
              <a:gd name="adj" fmla="val 5561"/>
            </a:avLst>
          </a:prstGeom>
          <a:noFill/>
          <a:ln>
            <a:noFill/>
          </a:ln>
        </p:spPr>
        <p:txBody>
          <a:bodyPr spcFirstLastPara="1" wrap="square" lIns="0" tIns="41450" rIns="0" bIns="41450" anchor="t" anchorCtr="0">
            <a:noAutofit/>
          </a:bodyPr>
          <a:lstStyle/>
          <a:p>
            <a:pPr marL="12700" algn="ctr">
              <a:buSzPts val="1100"/>
            </a:pPr>
            <a:r>
              <a:rPr lang="nb-NO" sz="1100">
                <a:latin typeface="+mj-lt"/>
                <a:ea typeface="Georgia"/>
                <a:cs typeface="Georgia"/>
                <a:sym typeface="Georgia"/>
              </a:rPr>
              <a:t>Behovsanalyse </a:t>
            </a:r>
          </a:p>
          <a:p>
            <a:pPr marL="12700" algn="ctr">
              <a:buSzPts val="1100"/>
            </a:pPr>
            <a:r>
              <a:rPr lang="nb-NO" sz="1100">
                <a:latin typeface="+mj-lt"/>
                <a:ea typeface="Georgia"/>
                <a:cs typeface="Georgia"/>
                <a:sym typeface="Georgia"/>
              </a:rPr>
              <a:t>April-Juni 2024</a:t>
            </a:r>
          </a:p>
          <a:p>
            <a:pPr marL="12700" algn="ctr">
              <a:buSzPts val="1100"/>
            </a:pPr>
            <a:endParaRPr lang="nb-NO" sz="1100">
              <a:latin typeface="+mj-lt"/>
              <a:ea typeface="Georgia"/>
              <a:cs typeface="Georgia"/>
              <a:sym typeface="Georgia"/>
            </a:endParaRPr>
          </a:p>
        </p:txBody>
      </p:sp>
      <p:sp>
        <p:nvSpPr>
          <p:cNvPr id="13" name="Google Shape;2241;p11">
            <a:extLst>
              <a:ext uri="{FF2B5EF4-FFF2-40B4-BE49-F238E27FC236}">
                <a16:creationId xmlns:a16="http://schemas.microsoft.com/office/drawing/2014/main" id="{BA578967-4C75-C98A-FFF6-9B22EFD75A72}"/>
              </a:ext>
            </a:extLst>
          </p:cNvPr>
          <p:cNvSpPr/>
          <p:nvPr/>
        </p:nvSpPr>
        <p:spPr>
          <a:xfrm>
            <a:off x="3598692" y="3385835"/>
            <a:ext cx="2180400" cy="407400"/>
          </a:xfrm>
          <a:prstGeom prst="roundRect">
            <a:avLst>
              <a:gd name="adj" fmla="val 5561"/>
            </a:avLst>
          </a:prstGeom>
          <a:noFill/>
          <a:ln>
            <a:noFill/>
          </a:ln>
        </p:spPr>
        <p:txBody>
          <a:bodyPr spcFirstLastPara="1" wrap="square" lIns="0" tIns="41450" rIns="0" bIns="41450" anchor="t" anchorCtr="0">
            <a:noAutofit/>
          </a:bodyPr>
          <a:lstStyle/>
          <a:p>
            <a:pPr marL="12700" algn="ctr">
              <a:buSzPts val="1100"/>
            </a:pPr>
            <a:r>
              <a:rPr lang="nb-NO" sz="1100">
                <a:latin typeface="+mj-lt"/>
                <a:ea typeface="Georgia"/>
                <a:cs typeface="Georgia"/>
                <a:sym typeface="Georgia"/>
              </a:rPr>
              <a:t>Forprosjekt</a:t>
            </a:r>
          </a:p>
          <a:p>
            <a:pPr marL="12700" algn="ctr">
              <a:buSzPts val="1100"/>
            </a:pPr>
            <a:r>
              <a:rPr lang="nb-NO" sz="1100">
                <a:latin typeface="+mj-lt"/>
                <a:ea typeface="Georgia"/>
                <a:cs typeface="Georgia"/>
                <a:sym typeface="Georgia"/>
              </a:rPr>
              <a:t>August- Desember 2024</a:t>
            </a:r>
          </a:p>
          <a:p>
            <a:pPr marL="12700" algn="ctr">
              <a:buSzPts val="1100"/>
            </a:pPr>
            <a:endParaRPr lang="nb-NO" sz="1100">
              <a:latin typeface="+mj-lt"/>
              <a:ea typeface="Georgia"/>
              <a:cs typeface="Georgia"/>
              <a:sym typeface="Georgia"/>
            </a:endParaRPr>
          </a:p>
          <a:p>
            <a:pPr marL="12700" algn="ctr">
              <a:buSzPts val="1100"/>
            </a:pPr>
            <a:endParaRPr lang="nb-NO" sz="1100">
              <a:latin typeface="+mj-lt"/>
              <a:ea typeface="Georgia"/>
              <a:cs typeface="Georgia"/>
              <a:sym typeface="Georgia"/>
            </a:endParaRPr>
          </a:p>
          <a:p>
            <a:pPr marL="12700" algn="ctr">
              <a:buSzPts val="1100"/>
            </a:pPr>
            <a:endParaRPr lang="nb-NO" sz="1100">
              <a:latin typeface="+mj-lt"/>
              <a:ea typeface="Georgia"/>
              <a:cs typeface="Georgia"/>
              <a:sym typeface="Georgia"/>
            </a:endParaRPr>
          </a:p>
        </p:txBody>
      </p:sp>
      <p:sp>
        <p:nvSpPr>
          <p:cNvPr id="14" name="Google Shape;2242;p11">
            <a:extLst>
              <a:ext uri="{FF2B5EF4-FFF2-40B4-BE49-F238E27FC236}">
                <a16:creationId xmlns:a16="http://schemas.microsoft.com/office/drawing/2014/main" id="{E394EEC1-114B-C5E9-1457-4376BCCBDE2B}"/>
              </a:ext>
            </a:extLst>
          </p:cNvPr>
          <p:cNvSpPr/>
          <p:nvPr/>
        </p:nvSpPr>
        <p:spPr>
          <a:xfrm>
            <a:off x="6189719" y="3385835"/>
            <a:ext cx="2166300" cy="272100"/>
          </a:xfrm>
          <a:prstGeom prst="roundRect">
            <a:avLst>
              <a:gd name="adj" fmla="val 5561"/>
            </a:avLst>
          </a:prstGeom>
          <a:noFill/>
          <a:ln>
            <a:noFill/>
          </a:ln>
        </p:spPr>
        <p:txBody>
          <a:bodyPr spcFirstLastPara="1" wrap="square" lIns="0" tIns="41450" rIns="0" bIns="41450" anchor="t" anchorCtr="0">
            <a:noAutofit/>
          </a:bodyPr>
          <a:lstStyle/>
          <a:p>
            <a:pPr marL="12700" algn="ctr">
              <a:buSzPts val="1100"/>
            </a:pPr>
            <a:r>
              <a:rPr lang="nb-NO" sz="1100">
                <a:latin typeface="+mj-lt"/>
                <a:ea typeface="Georgia"/>
                <a:cs typeface="Georgia"/>
                <a:sym typeface="Georgia"/>
              </a:rPr>
              <a:t>Anskaffelse</a:t>
            </a:r>
          </a:p>
          <a:p>
            <a:pPr marL="12700" algn="ctr">
              <a:buSzPts val="1100"/>
            </a:pPr>
            <a:r>
              <a:rPr lang="nb-NO" sz="1100">
                <a:latin typeface="+mj-lt"/>
                <a:ea typeface="Georgia"/>
                <a:cs typeface="Georgia"/>
                <a:sym typeface="Georgia"/>
              </a:rPr>
              <a:t>Januar 2025- Juni 2026</a:t>
            </a:r>
          </a:p>
          <a:p>
            <a:pPr marL="12700" algn="ctr">
              <a:buSzPts val="1100"/>
            </a:pPr>
            <a:endParaRPr lang="nb-NO" sz="1100">
              <a:latin typeface="+mj-lt"/>
              <a:ea typeface="Georgia"/>
              <a:cs typeface="Georgia"/>
              <a:sym typeface="Georgia"/>
            </a:endParaRPr>
          </a:p>
        </p:txBody>
      </p:sp>
      <p:sp>
        <p:nvSpPr>
          <p:cNvPr id="15" name="Google Shape;2243;p11">
            <a:extLst>
              <a:ext uri="{FF2B5EF4-FFF2-40B4-BE49-F238E27FC236}">
                <a16:creationId xmlns:a16="http://schemas.microsoft.com/office/drawing/2014/main" id="{44DA8EFF-987D-4558-FEF0-2E5EE8F673E0}"/>
              </a:ext>
            </a:extLst>
          </p:cNvPr>
          <p:cNvSpPr/>
          <p:nvPr/>
        </p:nvSpPr>
        <p:spPr>
          <a:xfrm>
            <a:off x="8784870" y="3385835"/>
            <a:ext cx="2192400" cy="272100"/>
          </a:xfrm>
          <a:prstGeom prst="roundRect">
            <a:avLst>
              <a:gd name="adj" fmla="val 5561"/>
            </a:avLst>
          </a:prstGeom>
          <a:noFill/>
          <a:ln>
            <a:noFill/>
          </a:ln>
        </p:spPr>
        <p:txBody>
          <a:bodyPr spcFirstLastPara="1" wrap="square" lIns="0" tIns="41450" rIns="0" bIns="41450" anchor="t" anchorCtr="0">
            <a:noAutofit/>
          </a:bodyPr>
          <a:lstStyle/>
          <a:p>
            <a:pPr marL="12700" algn="ctr">
              <a:buSzPts val="1100"/>
            </a:pPr>
            <a:r>
              <a:rPr lang="nb-NO" sz="1100">
                <a:latin typeface="+mj-lt"/>
                <a:ea typeface="Georgia"/>
                <a:cs typeface="Georgia"/>
                <a:sym typeface="Georgia"/>
              </a:rPr>
              <a:t>Utviklingsprosjekt</a:t>
            </a:r>
          </a:p>
          <a:p>
            <a:pPr marL="12700" algn="ctr">
              <a:buSzPts val="1100"/>
            </a:pPr>
            <a:r>
              <a:rPr lang="nb-NO" sz="1100">
                <a:latin typeface="+mj-lt"/>
                <a:ea typeface="Georgia"/>
                <a:cs typeface="Georgia"/>
                <a:sym typeface="Georgia"/>
              </a:rPr>
              <a:t>August 2026</a:t>
            </a:r>
          </a:p>
        </p:txBody>
      </p:sp>
      <p:cxnSp>
        <p:nvCxnSpPr>
          <p:cNvPr id="16" name="Google Shape;2244;p11">
            <a:extLst>
              <a:ext uri="{FF2B5EF4-FFF2-40B4-BE49-F238E27FC236}">
                <a16:creationId xmlns:a16="http://schemas.microsoft.com/office/drawing/2014/main" id="{B8279286-8582-4223-F69C-EDAFC1014366}"/>
              </a:ext>
            </a:extLst>
          </p:cNvPr>
          <p:cNvCxnSpPr>
            <a:cxnSpLocks/>
          </p:cNvCxnSpPr>
          <p:nvPr/>
        </p:nvCxnSpPr>
        <p:spPr>
          <a:xfrm>
            <a:off x="575500" y="3168656"/>
            <a:ext cx="11019300" cy="0"/>
          </a:xfrm>
          <a:prstGeom prst="straightConnector1">
            <a:avLst/>
          </a:prstGeom>
          <a:noFill/>
          <a:ln w="76200" cap="flat" cmpd="sng">
            <a:solidFill>
              <a:srgbClr val="D8D8D8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7" name="Google Shape;2245;p11">
            <a:extLst>
              <a:ext uri="{FF2B5EF4-FFF2-40B4-BE49-F238E27FC236}">
                <a16:creationId xmlns:a16="http://schemas.microsoft.com/office/drawing/2014/main" id="{6F12F29F-81C1-485D-0DE4-1959E924DCEA}"/>
              </a:ext>
            </a:extLst>
          </p:cNvPr>
          <p:cNvSpPr/>
          <p:nvPr/>
        </p:nvSpPr>
        <p:spPr>
          <a:xfrm>
            <a:off x="1815863" y="2950453"/>
            <a:ext cx="407400" cy="407400"/>
          </a:xfrm>
          <a:prstGeom prst="ellipse">
            <a:avLst/>
          </a:prstGeom>
          <a:solidFill>
            <a:srgbClr val="464646"/>
          </a:solidFill>
          <a:ln>
            <a:noFill/>
          </a:ln>
          <a:effectLst>
            <a:outerShdw blurRad="63500" sx="102000" sy="102000" algn="ctr" rotWithShape="0">
              <a:srgbClr val="D8D8D8">
                <a:alpha val="40000"/>
              </a:srgbClr>
            </a:outerShdw>
          </a:effectLst>
        </p:spPr>
        <p:txBody>
          <a:bodyPr spcFirstLastPara="1" wrap="square" lIns="0" tIns="32650" rIns="0" bIns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ts val="900"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1</a:t>
            </a:r>
          </a:p>
        </p:txBody>
      </p:sp>
      <p:sp>
        <p:nvSpPr>
          <p:cNvPr id="18" name="Google Shape;2246;p11">
            <a:extLst>
              <a:ext uri="{FF2B5EF4-FFF2-40B4-BE49-F238E27FC236}">
                <a16:creationId xmlns:a16="http://schemas.microsoft.com/office/drawing/2014/main" id="{91950FE7-6EF9-8E05-9350-A7A21CC2B5E4}"/>
              </a:ext>
            </a:extLst>
          </p:cNvPr>
          <p:cNvSpPr/>
          <p:nvPr/>
        </p:nvSpPr>
        <p:spPr>
          <a:xfrm>
            <a:off x="4460983" y="2933653"/>
            <a:ext cx="407400" cy="407400"/>
          </a:xfrm>
          <a:prstGeom prst="ellipse">
            <a:avLst/>
          </a:prstGeom>
          <a:solidFill>
            <a:srgbClr val="464646"/>
          </a:solidFill>
          <a:ln>
            <a:noFill/>
          </a:ln>
          <a:effectLst>
            <a:outerShdw blurRad="63500" sx="102000" sy="102000" algn="ctr" rotWithShape="0">
              <a:srgbClr val="D8D8D8">
                <a:alpha val="40000"/>
              </a:srgbClr>
            </a:outerShdw>
          </a:effectLst>
        </p:spPr>
        <p:txBody>
          <a:bodyPr spcFirstLastPara="1" wrap="square" lIns="0" tIns="32650" rIns="0" bIns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ts val="900"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2</a:t>
            </a:r>
          </a:p>
        </p:txBody>
      </p:sp>
      <p:sp>
        <p:nvSpPr>
          <p:cNvPr id="19" name="Google Shape;2247;p11">
            <a:extLst>
              <a:ext uri="{FF2B5EF4-FFF2-40B4-BE49-F238E27FC236}">
                <a16:creationId xmlns:a16="http://schemas.microsoft.com/office/drawing/2014/main" id="{9DA09A01-8266-EA38-0458-DF24430A8B17}"/>
              </a:ext>
            </a:extLst>
          </p:cNvPr>
          <p:cNvSpPr/>
          <p:nvPr/>
        </p:nvSpPr>
        <p:spPr>
          <a:xfrm>
            <a:off x="7069178" y="2964966"/>
            <a:ext cx="407400" cy="407400"/>
          </a:xfrm>
          <a:prstGeom prst="ellipse">
            <a:avLst/>
          </a:prstGeom>
          <a:solidFill>
            <a:srgbClr val="464646"/>
          </a:solidFill>
          <a:ln>
            <a:noFill/>
          </a:ln>
          <a:effectLst>
            <a:outerShdw blurRad="63500" sx="102000" sy="102000" algn="ctr" rotWithShape="0">
              <a:srgbClr val="D8D8D8">
                <a:alpha val="40000"/>
              </a:srgbClr>
            </a:outerShdw>
          </a:effectLst>
        </p:spPr>
        <p:txBody>
          <a:bodyPr spcFirstLastPara="1" wrap="square" lIns="0" tIns="32650" rIns="0" bIns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ts val="900"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3</a:t>
            </a:r>
          </a:p>
        </p:txBody>
      </p:sp>
      <p:sp>
        <p:nvSpPr>
          <p:cNvPr id="20" name="Google Shape;2248;p11">
            <a:extLst>
              <a:ext uri="{FF2B5EF4-FFF2-40B4-BE49-F238E27FC236}">
                <a16:creationId xmlns:a16="http://schemas.microsoft.com/office/drawing/2014/main" id="{F8444829-F31F-0FAD-2F28-29033C886CED}"/>
              </a:ext>
            </a:extLst>
          </p:cNvPr>
          <p:cNvSpPr/>
          <p:nvPr/>
        </p:nvSpPr>
        <p:spPr>
          <a:xfrm>
            <a:off x="9677373" y="2964978"/>
            <a:ext cx="407400" cy="407400"/>
          </a:xfrm>
          <a:prstGeom prst="ellipse">
            <a:avLst/>
          </a:prstGeom>
          <a:solidFill>
            <a:srgbClr val="464646"/>
          </a:solidFill>
          <a:ln>
            <a:noFill/>
          </a:ln>
          <a:effectLst>
            <a:outerShdw blurRad="63500" sx="102000" sy="102000" algn="ctr" rotWithShape="0">
              <a:srgbClr val="D8D8D8">
                <a:alpha val="40000"/>
              </a:srgbClr>
            </a:outerShdw>
          </a:effectLst>
        </p:spPr>
        <p:txBody>
          <a:bodyPr spcFirstLastPara="1" wrap="square" lIns="0" tIns="32650" rIns="0" bIns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ts val="900"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4</a:t>
            </a:r>
          </a:p>
        </p:txBody>
      </p:sp>
      <p:sp>
        <p:nvSpPr>
          <p:cNvPr id="21" name="Google Shape;2249;p11">
            <a:extLst>
              <a:ext uri="{FF2B5EF4-FFF2-40B4-BE49-F238E27FC236}">
                <a16:creationId xmlns:a16="http://schemas.microsoft.com/office/drawing/2014/main" id="{B80DCE28-5DFE-53DD-CFF6-9F179C0B022F}"/>
              </a:ext>
            </a:extLst>
          </p:cNvPr>
          <p:cNvSpPr txBox="1"/>
          <p:nvPr/>
        </p:nvSpPr>
        <p:spPr>
          <a:xfrm>
            <a:off x="982600" y="3798906"/>
            <a:ext cx="2214000" cy="40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1450" rIns="0" bIns="4145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lang="nb-NO" sz="1000" kern="0">
                <a:solidFill>
                  <a:srgbClr val="464646"/>
                </a:solidFill>
                <a:latin typeface="+mj-lt"/>
              </a:rPr>
              <a:t>Det ble utført en behovsanalyse av eksisterende system fra et teknisk ståsted</a:t>
            </a: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2" name="Google Shape;2250;p11">
            <a:extLst>
              <a:ext uri="{FF2B5EF4-FFF2-40B4-BE49-F238E27FC236}">
                <a16:creationId xmlns:a16="http://schemas.microsoft.com/office/drawing/2014/main" id="{356469C7-2199-680F-78A0-16776D2C59ED}"/>
              </a:ext>
            </a:extLst>
          </p:cNvPr>
          <p:cNvSpPr txBox="1"/>
          <p:nvPr/>
        </p:nvSpPr>
        <p:spPr>
          <a:xfrm>
            <a:off x="3557664" y="3806006"/>
            <a:ext cx="2214000" cy="568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1450" rIns="0" bIns="4145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+mj-lt"/>
              </a:rPr>
              <a:t>Forprosjektet var en videreføring av behovsanalysen og fokuserte på utredning av de funksjonelle behovene</a:t>
            </a:r>
          </a:p>
        </p:txBody>
      </p:sp>
      <p:sp>
        <p:nvSpPr>
          <p:cNvPr id="23" name="Google Shape;2251;p11">
            <a:extLst>
              <a:ext uri="{FF2B5EF4-FFF2-40B4-BE49-F238E27FC236}">
                <a16:creationId xmlns:a16="http://schemas.microsoft.com/office/drawing/2014/main" id="{0AF52F65-216F-D142-1D0A-D9E190084E31}"/>
              </a:ext>
            </a:extLst>
          </p:cNvPr>
          <p:cNvSpPr txBox="1"/>
          <p:nvPr/>
        </p:nvSpPr>
        <p:spPr>
          <a:xfrm>
            <a:off x="6165878" y="3806006"/>
            <a:ext cx="2214000" cy="568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1450" rIns="0" bIns="4145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lang="nb-NO" sz="1000" kern="0">
                <a:solidFill>
                  <a:srgbClr val="464646"/>
                </a:solidFill>
                <a:latin typeface="+mj-lt"/>
              </a:rPr>
              <a:t>Utarbeide konkurransegrunnlag, gjennomføring av markedsdialog og anskaffelse </a:t>
            </a: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4" name="Google Shape;2252;p11">
            <a:extLst>
              <a:ext uri="{FF2B5EF4-FFF2-40B4-BE49-F238E27FC236}">
                <a16:creationId xmlns:a16="http://schemas.microsoft.com/office/drawing/2014/main" id="{9DDF530B-0390-23F1-A438-5D944C4D26EC}"/>
              </a:ext>
            </a:extLst>
          </p:cNvPr>
          <p:cNvSpPr txBox="1"/>
          <p:nvPr/>
        </p:nvSpPr>
        <p:spPr>
          <a:xfrm>
            <a:off x="8911493" y="3798906"/>
            <a:ext cx="2214000" cy="40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1450" rIns="0" bIns="4145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lang="nb-NO" sz="1000" kern="0">
                <a:solidFill>
                  <a:srgbClr val="464646"/>
                </a:solidFill>
                <a:latin typeface="+mj-lt"/>
              </a:rPr>
              <a:t>Utviklingsprosjektet for moderniseringen av VIGO-systemet </a:t>
            </a: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6" name="Google Shape;2254;p11">
            <a:extLst>
              <a:ext uri="{FF2B5EF4-FFF2-40B4-BE49-F238E27FC236}">
                <a16:creationId xmlns:a16="http://schemas.microsoft.com/office/drawing/2014/main" id="{F38D3A4E-9C8D-5D14-8B9E-6F9D1AD4354F}"/>
              </a:ext>
            </a:extLst>
          </p:cNvPr>
          <p:cNvSpPr/>
          <p:nvPr/>
        </p:nvSpPr>
        <p:spPr>
          <a:xfrm>
            <a:off x="380965" y="893478"/>
            <a:ext cx="11019299" cy="1469100"/>
          </a:xfrm>
          <a:prstGeom prst="roundRect">
            <a:avLst>
              <a:gd name="adj" fmla="val 2360"/>
            </a:avLst>
          </a:prstGeom>
          <a:noFill/>
          <a:ln>
            <a:noFill/>
          </a:ln>
        </p:spPr>
        <p:txBody>
          <a:bodyPr spcFirstLastPara="1" wrap="square" lIns="0" tIns="0" rIns="32650" bIns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Calibri"/>
                <a:cs typeface="Arial" panose="020B0604020202020204" pitchFamily="34" charset="0"/>
                <a:sym typeface="Calibri"/>
              </a:rPr>
              <a:t>Moderniseringen av VIGO-systemet er fordelt i ulike faser. Det er gjennomført en behovsanalyse av eksisterende system og et forberedende forprosjekt fo</a:t>
            </a:r>
            <a:r>
              <a:rPr lang="nb-NO" sz="1400" kern="0">
                <a:solidFill>
                  <a:sysClr val="windowText" lastClr="000000"/>
                </a:solidFill>
                <a:latin typeface="+mj-lt"/>
                <a:ea typeface="Calibri"/>
                <a:cs typeface="Arial" panose="020B0604020202020204" pitchFamily="34" charset="0"/>
                <a:sym typeface="Calibri"/>
              </a:rPr>
              <a:t>r videre kartlegging av de funksjonelle behovene. Prosjektet er nå i anskaffelsesfasen og gjennomfører en rekke aktiviteter for å ferdigstille konkurransegrunnlaget og gå til anskaffelse. Etter anskaffelsen kommer utviklingsprosjektet som blir et lengre moderniseringsløp for VIGO-systemet.</a:t>
            </a:r>
            <a:endParaRPr kumimoji="0" lang="nb-NO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Calibri"/>
              <a:cs typeface="Arial" panose="020B0604020202020204" pitchFamily="34" charset="0"/>
              <a:sym typeface="Calibri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9" name="Google Shape;2257;p11">
            <a:extLst>
              <a:ext uri="{FF2B5EF4-FFF2-40B4-BE49-F238E27FC236}">
                <a16:creationId xmlns:a16="http://schemas.microsoft.com/office/drawing/2014/main" id="{36E44E36-21F9-46DD-99EF-2B2BAE0E98E2}"/>
              </a:ext>
            </a:extLst>
          </p:cNvPr>
          <p:cNvSpPr/>
          <p:nvPr/>
        </p:nvSpPr>
        <p:spPr>
          <a:xfrm>
            <a:off x="8737175" y="4511581"/>
            <a:ext cx="2287800" cy="3069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+mj-lt"/>
              </a:rPr>
              <a:t>Detaljering av behov og planlegging av prosjektet </a:t>
            </a:r>
          </a:p>
        </p:txBody>
      </p:sp>
      <p:sp>
        <p:nvSpPr>
          <p:cNvPr id="30" name="Google Shape;2258;p11">
            <a:extLst>
              <a:ext uri="{FF2B5EF4-FFF2-40B4-BE49-F238E27FC236}">
                <a16:creationId xmlns:a16="http://schemas.microsoft.com/office/drawing/2014/main" id="{D305B84F-53E5-D875-F05D-79061A02F4E5}"/>
              </a:ext>
            </a:extLst>
          </p:cNvPr>
          <p:cNvSpPr/>
          <p:nvPr/>
        </p:nvSpPr>
        <p:spPr>
          <a:xfrm>
            <a:off x="8737175" y="4862512"/>
            <a:ext cx="2287800" cy="3069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lang="nb-NO" sz="800" kern="0">
                <a:solidFill>
                  <a:srgbClr val="464646"/>
                </a:solidFill>
                <a:latin typeface="+mj-lt"/>
              </a:rPr>
              <a:t>Utvikling av en og en modul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1" name="Google Shape;2259;p11">
            <a:extLst>
              <a:ext uri="{FF2B5EF4-FFF2-40B4-BE49-F238E27FC236}">
                <a16:creationId xmlns:a16="http://schemas.microsoft.com/office/drawing/2014/main" id="{77AEFE3F-0BE8-8390-FC2C-DD73DBE70840}"/>
              </a:ext>
            </a:extLst>
          </p:cNvPr>
          <p:cNvSpPr/>
          <p:nvPr/>
        </p:nvSpPr>
        <p:spPr>
          <a:xfrm>
            <a:off x="6128975" y="4511581"/>
            <a:ext cx="2287800" cy="306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lang="nb-NO" sz="800" kern="0">
                <a:solidFill>
                  <a:srgbClr val="464646"/>
                </a:solidFill>
                <a:latin typeface="+mj-lt"/>
              </a:rPr>
              <a:t>Utarbeide konkurransegrunnlag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2" name="Google Shape;2260;p11">
            <a:extLst>
              <a:ext uri="{FF2B5EF4-FFF2-40B4-BE49-F238E27FC236}">
                <a16:creationId xmlns:a16="http://schemas.microsoft.com/office/drawing/2014/main" id="{83EA3B43-59DF-E2D8-A843-854012DCD2EC}"/>
              </a:ext>
            </a:extLst>
          </p:cNvPr>
          <p:cNvSpPr/>
          <p:nvPr/>
        </p:nvSpPr>
        <p:spPr>
          <a:xfrm>
            <a:off x="6128975" y="4862512"/>
            <a:ext cx="2287800" cy="306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lang="nb-NO" sz="800" kern="0">
                <a:solidFill>
                  <a:srgbClr val="464646"/>
                </a:solidFill>
                <a:latin typeface="+mj-lt"/>
              </a:rPr>
              <a:t>Gjennomføre markedsdialog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3" name="Google Shape;2261;p11">
            <a:extLst>
              <a:ext uri="{FF2B5EF4-FFF2-40B4-BE49-F238E27FC236}">
                <a16:creationId xmlns:a16="http://schemas.microsoft.com/office/drawing/2014/main" id="{6E404FE0-3D4F-B4C7-3F77-37CD6AE06E6A}"/>
              </a:ext>
            </a:extLst>
          </p:cNvPr>
          <p:cNvSpPr/>
          <p:nvPr/>
        </p:nvSpPr>
        <p:spPr>
          <a:xfrm>
            <a:off x="3520775" y="4511581"/>
            <a:ext cx="2287800" cy="306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lang="nb-NO" sz="800" kern="0">
                <a:solidFill>
                  <a:srgbClr val="464646"/>
                </a:solidFill>
                <a:latin typeface="+mj-lt"/>
              </a:rPr>
              <a:t>Kartlegging av behov i samråd med faggruppene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4" name="Google Shape;2262;p11">
            <a:extLst>
              <a:ext uri="{FF2B5EF4-FFF2-40B4-BE49-F238E27FC236}">
                <a16:creationId xmlns:a16="http://schemas.microsoft.com/office/drawing/2014/main" id="{EEA0F2CA-BDE5-7942-3422-DD2DB63ED7A5}"/>
              </a:ext>
            </a:extLst>
          </p:cNvPr>
          <p:cNvSpPr/>
          <p:nvPr/>
        </p:nvSpPr>
        <p:spPr>
          <a:xfrm>
            <a:off x="933325" y="4511581"/>
            <a:ext cx="2287800" cy="306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+mj-lt"/>
              </a:rPr>
              <a:t>Oversikt over </a:t>
            </a:r>
            <a:r>
              <a:rPr lang="nb-NO" sz="800" kern="0">
                <a:solidFill>
                  <a:srgbClr val="464646"/>
                </a:solidFill>
                <a:latin typeface="+mj-lt"/>
              </a:rPr>
              <a:t>nåsituasjonen for systemet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5" name="Google Shape;2263;p11">
            <a:extLst>
              <a:ext uri="{FF2B5EF4-FFF2-40B4-BE49-F238E27FC236}">
                <a16:creationId xmlns:a16="http://schemas.microsoft.com/office/drawing/2014/main" id="{9EF1B0FA-44EF-7BC5-2EB6-7064499186C7}"/>
              </a:ext>
            </a:extLst>
          </p:cNvPr>
          <p:cNvSpPr/>
          <p:nvPr/>
        </p:nvSpPr>
        <p:spPr>
          <a:xfrm>
            <a:off x="933325" y="4862512"/>
            <a:ext cx="2287800" cy="306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lang="nb-NO" sz="800" kern="0">
                <a:solidFill>
                  <a:srgbClr val="464646"/>
                </a:solidFill>
                <a:latin typeface="+mj-lt"/>
              </a:rPr>
              <a:t>Utarbeidelse av overordnede prinsipper og målbilde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6" name="Google Shape;2265;p11">
            <a:extLst>
              <a:ext uri="{FF2B5EF4-FFF2-40B4-BE49-F238E27FC236}">
                <a16:creationId xmlns:a16="http://schemas.microsoft.com/office/drawing/2014/main" id="{FA1D098F-0F33-404D-5F00-B97EB6CBF425}"/>
              </a:ext>
            </a:extLst>
          </p:cNvPr>
          <p:cNvSpPr txBox="1"/>
          <p:nvPr/>
        </p:nvSpPr>
        <p:spPr>
          <a:xfrm>
            <a:off x="442925" y="306077"/>
            <a:ext cx="10915200" cy="54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85000"/>
              </a:lnSpc>
              <a:buSzPts val="2200"/>
            </a:pPr>
            <a:r>
              <a:rPr lang="nb-NO" sz="2200">
                <a:solidFill>
                  <a:schemeClr val="accent1"/>
                </a:solidFill>
                <a:latin typeface="+mj-lt"/>
                <a:ea typeface="Georgia"/>
                <a:cs typeface="Georgia"/>
                <a:sym typeface="Georgia"/>
              </a:rPr>
              <a:t>Faseinndeling av VIGO-moderniseringen </a:t>
            </a:r>
          </a:p>
          <a:p>
            <a:pPr>
              <a:buSzPts val="2200"/>
            </a:pPr>
            <a:endParaRPr lang="nb-NO" sz="2200">
              <a:latin typeface="+mj-lt"/>
              <a:ea typeface="Georgia"/>
              <a:cs typeface="Georgia"/>
              <a:sym typeface="Georgia"/>
            </a:endParaRPr>
          </a:p>
        </p:txBody>
      </p:sp>
      <p:grpSp>
        <p:nvGrpSpPr>
          <p:cNvPr id="37" name="Google Shape;2266;p11">
            <a:extLst>
              <a:ext uri="{FF2B5EF4-FFF2-40B4-BE49-F238E27FC236}">
                <a16:creationId xmlns:a16="http://schemas.microsoft.com/office/drawing/2014/main" id="{E4A0EF8D-9966-5F5B-A7FB-4B6B709173FC}"/>
              </a:ext>
            </a:extLst>
          </p:cNvPr>
          <p:cNvGrpSpPr/>
          <p:nvPr/>
        </p:nvGrpSpPr>
        <p:grpSpPr>
          <a:xfrm>
            <a:off x="9491561" y="2467917"/>
            <a:ext cx="779028" cy="585026"/>
            <a:chOff x="8270950" y="981982"/>
            <a:chExt cx="1747876" cy="1312307"/>
          </a:xfrm>
        </p:grpSpPr>
        <p:sp>
          <p:nvSpPr>
            <p:cNvPr id="38" name="Google Shape;2267;p11">
              <a:extLst>
                <a:ext uri="{FF2B5EF4-FFF2-40B4-BE49-F238E27FC236}">
                  <a16:creationId xmlns:a16="http://schemas.microsoft.com/office/drawing/2014/main" id="{0FB66B4F-F3F7-67E1-42CB-245839AB122A}"/>
                </a:ext>
              </a:extLst>
            </p:cNvPr>
            <p:cNvSpPr/>
            <p:nvPr/>
          </p:nvSpPr>
          <p:spPr>
            <a:xfrm>
              <a:off x="9843589" y="1067077"/>
              <a:ext cx="175237" cy="111980"/>
            </a:xfrm>
            <a:custGeom>
              <a:avLst/>
              <a:gdLst/>
              <a:ahLst/>
              <a:cxnLst/>
              <a:rect l="l" t="t" r="r" b="b"/>
              <a:pathLst>
                <a:path w="27982" h="17881" extrusionOk="0">
                  <a:moveTo>
                    <a:pt x="939" y="1"/>
                  </a:moveTo>
                  <a:lnTo>
                    <a:pt x="939" y="45"/>
                  </a:lnTo>
                  <a:lnTo>
                    <a:pt x="537" y="7957"/>
                  </a:lnTo>
                  <a:lnTo>
                    <a:pt x="224" y="13544"/>
                  </a:lnTo>
                  <a:lnTo>
                    <a:pt x="0" y="17031"/>
                  </a:lnTo>
                  <a:lnTo>
                    <a:pt x="0" y="17344"/>
                  </a:lnTo>
                  <a:lnTo>
                    <a:pt x="90" y="17612"/>
                  </a:lnTo>
                  <a:lnTo>
                    <a:pt x="179" y="17746"/>
                  </a:lnTo>
                  <a:lnTo>
                    <a:pt x="358" y="17836"/>
                  </a:lnTo>
                  <a:lnTo>
                    <a:pt x="626" y="17880"/>
                  </a:lnTo>
                  <a:lnTo>
                    <a:pt x="894" y="17836"/>
                  </a:lnTo>
                  <a:lnTo>
                    <a:pt x="1162" y="17791"/>
                  </a:lnTo>
                  <a:lnTo>
                    <a:pt x="1520" y="17657"/>
                  </a:lnTo>
                  <a:lnTo>
                    <a:pt x="2503" y="17254"/>
                  </a:lnTo>
                  <a:lnTo>
                    <a:pt x="3576" y="16763"/>
                  </a:lnTo>
                  <a:lnTo>
                    <a:pt x="4560" y="16360"/>
                  </a:lnTo>
                  <a:lnTo>
                    <a:pt x="5007" y="16226"/>
                  </a:lnTo>
                  <a:lnTo>
                    <a:pt x="5409" y="16182"/>
                  </a:lnTo>
                  <a:lnTo>
                    <a:pt x="6303" y="16092"/>
                  </a:lnTo>
                  <a:lnTo>
                    <a:pt x="7107" y="15958"/>
                  </a:lnTo>
                  <a:lnTo>
                    <a:pt x="7823" y="15824"/>
                  </a:lnTo>
                  <a:lnTo>
                    <a:pt x="8538" y="15601"/>
                  </a:lnTo>
                  <a:lnTo>
                    <a:pt x="9208" y="15377"/>
                  </a:lnTo>
                  <a:lnTo>
                    <a:pt x="9834" y="15109"/>
                  </a:lnTo>
                  <a:lnTo>
                    <a:pt x="11130" y="14528"/>
                  </a:lnTo>
                  <a:lnTo>
                    <a:pt x="12516" y="13947"/>
                  </a:lnTo>
                  <a:lnTo>
                    <a:pt x="13365" y="13634"/>
                  </a:lnTo>
                  <a:lnTo>
                    <a:pt x="14215" y="13321"/>
                  </a:lnTo>
                  <a:lnTo>
                    <a:pt x="15243" y="13008"/>
                  </a:lnTo>
                  <a:lnTo>
                    <a:pt x="16360" y="12740"/>
                  </a:lnTo>
                  <a:lnTo>
                    <a:pt x="17612" y="12472"/>
                  </a:lnTo>
                  <a:lnTo>
                    <a:pt x="18997" y="12203"/>
                  </a:lnTo>
                  <a:lnTo>
                    <a:pt x="19757" y="12069"/>
                  </a:lnTo>
                  <a:lnTo>
                    <a:pt x="20473" y="11891"/>
                  </a:lnTo>
                  <a:lnTo>
                    <a:pt x="21143" y="11667"/>
                  </a:lnTo>
                  <a:lnTo>
                    <a:pt x="21769" y="11444"/>
                  </a:lnTo>
                  <a:lnTo>
                    <a:pt x="22395" y="11131"/>
                  </a:lnTo>
                  <a:lnTo>
                    <a:pt x="22931" y="10818"/>
                  </a:lnTo>
                  <a:lnTo>
                    <a:pt x="23512" y="10505"/>
                  </a:lnTo>
                  <a:lnTo>
                    <a:pt x="24004" y="10147"/>
                  </a:lnTo>
                  <a:lnTo>
                    <a:pt x="24451" y="9745"/>
                  </a:lnTo>
                  <a:lnTo>
                    <a:pt x="24898" y="9343"/>
                  </a:lnTo>
                  <a:lnTo>
                    <a:pt x="25300" y="8940"/>
                  </a:lnTo>
                  <a:lnTo>
                    <a:pt x="25702" y="8538"/>
                  </a:lnTo>
                  <a:lnTo>
                    <a:pt x="26373" y="7689"/>
                  </a:lnTo>
                  <a:lnTo>
                    <a:pt x="26909" y="6840"/>
                  </a:lnTo>
                  <a:lnTo>
                    <a:pt x="27312" y="5990"/>
                  </a:lnTo>
                  <a:lnTo>
                    <a:pt x="27624" y="5230"/>
                  </a:lnTo>
                  <a:lnTo>
                    <a:pt x="27848" y="4515"/>
                  </a:lnTo>
                  <a:lnTo>
                    <a:pt x="27982" y="3889"/>
                  </a:lnTo>
                  <a:lnTo>
                    <a:pt x="27982" y="3398"/>
                  </a:lnTo>
                  <a:lnTo>
                    <a:pt x="27937" y="3219"/>
                  </a:lnTo>
                  <a:lnTo>
                    <a:pt x="27893" y="3085"/>
                  </a:lnTo>
                  <a:lnTo>
                    <a:pt x="27803" y="2995"/>
                  </a:lnTo>
                  <a:lnTo>
                    <a:pt x="27714" y="2906"/>
                  </a:lnTo>
                  <a:lnTo>
                    <a:pt x="27580" y="2906"/>
                  </a:lnTo>
                  <a:lnTo>
                    <a:pt x="27446" y="2951"/>
                  </a:lnTo>
                  <a:lnTo>
                    <a:pt x="26507" y="3398"/>
                  </a:lnTo>
                  <a:lnTo>
                    <a:pt x="25658" y="3755"/>
                  </a:lnTo>
                  <a:lnTo>
                    <a:pt x="24853" y="3979"/>
                  </a:lnTo>
                  <a:lnTo>
                    <a:pt x="24183" y="4158"/>
                  </a:lnTo>
                  <a:lnTo>
                    <a:pt x="23512" y="4292"/>
                  </a:lnTo>
                  <a:lnTo>
                    <a:pt x="22931" y="4336"/>
                  </a:lnTo>
                  <a:lnTo>
                    <a:pt x="22439" y="4292"/>
                  </a:lnTo>
                  <a:lnTo>
                    <a:pt x="21903" y="4247"/>
                  </a:lnTo>
                  <a:lnTo>
                    <a:pt x="21456" y="4202"/>
                  </a:lnTo>
                  <a:lnTo>
                    <a:pt x="21009" y="4068"/>
                  </a:lnTo>
                  <a:lnTo>
                    <a:pt x="20115" y="3845"/>
                  </a:lnTo>
                  <a:lnTo>
                    <a:pt x="19132" y="3666"/>
                  </a:lnTo>
                  <a:lnTo>
                    <a:pt x="18595" y="3577"/>
                  </a:lnTo>
                  <a:lnTo>
                    <a:pt x="18059" y="3532"/>
                  </a:lnTo>
                  <a:lnTo>
                    <a:pt x="17165" y="3532"/>
                  </a:lnTo>
                  <a:lnTo>
                    <a:pt x="16450" y="3577"/>
                  </a:lnTo>
                  <a:lnTo>
                    <a:pt x="15779" y="3666"/>
                  </a:lnTo>
                  <a:lnTo>
                    <a:pt x="15153" y="3800"/>
                  </a:lnTo>
                  <a:lnTo>
                    <a:pt x="13812" y="4023"/>
                  </a:lnTo>
                  <a:lnTo>
                    <a:pt x="13097" y="4113"/>
                  </a:lnTo>
                  <a:lnTo>
                    <a:pt x="12203" y="4158"/>
                  </a:lnTo>
                  <a:lnTo>
                    <a:pt x="11577" y="4202"/>
                  </a:lnTo>
                  <a:lnTo>
                    <a:pt x="10996" y="4158"/>
                  </a:lnTo>
                  <a:lnTo>
                    <a:pt x="10460" y="4068"/>
                  </a:lnTo>
                  <a:lnTo>
                    <a:pt x="9968" y="3979"/>
                  </a:lnTo>
                  <a:lnTo>
                    <a:pt x="9477" y="3889"/>
                  </a:lnTo>
                  <a:lnTo>
                    <a:pt x="8985" y="3711"/>
                  </a:lnTo>
                  <a:lnTo>
                    <a:pt x="7957" y="3308"/>
                  </a:lnTo>
                  <a:lnTo>
                    <a:pt x="6884" y="2772"/>
                  </a:lnTo>
                  <a:lnTo>
                    <a:pt x="5543" y="2101"/>
                  </a:lnTo>
                  <a:lnTo>
                    <a:pt x="3979" y="1342"/>
                  </a:lnTo>
                  <a:lnTo>
                    <a:pt x="2012" y="492"/>
                  </a:lnTo>
                  <a:lnTo>
                    <a:pt x="939" y="1"/>
                  </a:lnTo>
                  <a:close/>
                </a:path>
              </a:pathLst>
            </a:custGeom>
            <a:solidFill>
              <a:srgbClr val="419F8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" name="Google Shape;2268;p11">
              <a:extLst>
                <a:ext uri="{FF2B5EF4-FFF2-40B4-BE49-F238E27FC236}">
                  <a16:creationId xmlns:a16="http://schemas.microsoft.com/office/drawing/2014/main" id="{9B3CD3CB-103C-ECCE-FDA4-A930A314F35E}"/>
                </a:ext>
              </a:extLst>
            </p:cNvPr>
            <p:cNvSpPr/>
            <p:nvPr/>
          </p:nvSpPr>
          <p:spPr>
            <a:xfrm>
              <a:off x="9843589" y="1067077"/>
              <a:ext cx="12600" cy="111980"/>
            </a:xfrm>
            <a:custGeom>
              <a:avLst/>
              <a:gdLst/>
              <a:ahLst/>
              <a:cxnLst/>
              <a:rect l="l" t="t" r="r" b="b"/>
              <a:pathLst>
                <a:path w="2012" h="17881" extrusionOk="0">
                  <a:moveTo>
                    <a:pt x="939" y="1"/>
                  </a:moveTo>
                  <a:lnTo>
                    <a:pt x="939" y="45"/>
                  </a:lnTo>
                  <a:lnTo>
                    <a:pt x="537" y="7957"/>
                  </a:lnTo>
                  <a:lnTo>
                    <a:pt x="224" y="13544"/>
                  </a:lnTo>
                  <a:lnTo>
                    <a:pt x="0" y="17031"/>
                  </a:lnTo>
                  <a:lnTo>
                    <a:pt x="0" y="17210"/>
                  </a:lnTo>
                  <a:lnTo>
                    <a:pt x="45" y="17523"/>
                  </a:lnTo>
                  <a:lnTo>
                    <a:pt x="90" y="17612"/>
                  </a:lnTo>
                  <a:lnTo>
                    <a:pt x="179" y="17701"/>
                  </a:lnTo>
                  <a:lnTo>
                    <a:pt x="268" y="17791"/>
                  </a:lnTo>
                  <a:lnTo>
                    <a:pt x="358" y="17836"/>
                  </a:lnTo>
                  <a:lnTo>
                    <a:pt x="626" y="17880"/>
                  </a:lnTo>
                  <a:lnTo>
                    <a:pt x="1028" y="17836"/>
                  </a:lnTo>
                  <a:lnTo>
                    <a:pt x="1520" y="17657"/>
                  </a:lnTo>
                  <a:lnTo>
                    <a:pt x="2012" y="492"/>
                  </a:lnTo>
                  <a:lnTo>
                    <a:pt x="939" y="1"/>
                  </a:lnTo>
                  <a:close/>
                </a:path>
              </a:pathLst>
            </a:custGeom>
            <a:solidFill>
              <a:srgbClr val="3C8D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" name="Google Shape;2269;p11">
              <a:extLst>
                <a:ext uri="{FF2B5EF4-FFF2-40B4-BE49-F238E27FC236}">
                  <a16:creationId xmlns:a16="http://schemas.microsoft.com/office/drawing/2014/main" id="{9CEA091E-DCDB-7F6C-750B-B1EF66742981}"/>
                </a:ext>
              </a:extLst>
            </p:cNvPr>
            <p:cNvSpPr/>
            <p:nvPr/>
          </p:nvSpPr>
          <p:spPr>
            <a:xfrm>
              <a:off x="9833513" y="1052523"/>
              <a:ext cx="23516" cy="386866"/>
            </a:xfrm>
            <a:custGeom>
              <a:avLst/>
              <a:gdLst/>
              <a:ahLst/>
              <a:cxnLst/>
              <a:rect l="l" t="t" r="r" b="b"/>
              <a:pathLst>
                <a:path w="3755" h="61775" extrusionOk="0">
                  <a:moveTo>
                    <a:pt x="1296" y="0"/>
                  </a:moveTo>
                  <a:lnTo>
                    <a:pt x="1073" y="45"/>
                  </a:lnTo>
                  <a:lnTo>
                    <a:pt x="894" y="134"/>
                  </a:lnTo>
                  <a:lnTo>
                    <a:pt x="715" y="224"/>
                  </a:lnTo>
                  <a:lnTo>
                    <a:pt x="581" y="313"/>
                  </a:lnTo>
                  <a:lnTo>
                    <a:pt x="492" y="447"/>
                  </a:lnTo>
                  <a:lnTo>
                    <a:pt x="402" y="537"/>
                  </a:lnTo>
                  <a:lnTo>
                    <a:pt x="358" y="671"/>
                  </a:lnTo>
                  <a:lnTo>
                    <a:pt x="313" y="1565"/>
                  </a:lnTo>
                  <a:lnTo>
                    <a:pt x="179" y="3889"/>
                  </a:lnTo>
                  <a:lnTo>
                    <a:pt x="45" y="7957"/>
                  </a:lnTo>
                  <a:lnTo>
                    <a:pt x="0" y="10683"/>
                  </a:lnTo>
                  <a:lnTo>
                    <a:pt x="0" y="13902"/>
                  </a:lnTo>
                  <a:lnTo>
                    <a:pt x="0" y="17656"/>
                  </a:lnTo>
                  <a:lnTo>
                    <a:pt x="45" y="21992"/>
                  </a:lnTo>
                  <a:lnTo>
                    <a:pt x="134" y="26909"/>
                  </a:lnTo>
                  <a:lnTo>
                    <a:pt x="268" y="32407"/>
                  </a:lnTo>
                  <a:lnTo>
                    <a:pt x="492" y="38576"/>
                  </a:lnTo>
                  <a:lnTo>
                    <a:pt x="760" y="45415"/>
                  </a:lnTo>
                  <a:lnTo>
                    <a:pt x="1118" y="52924"/>
                  </a:lnTo>
                  <a:lnTo>
                    <a:pt x="1565" y="61193"/>
                  </a:lnTo>
                  <a:lnTo>
                    <a:pt x="1609" y="61328"/>
                  </a:lnTo>
                  <a:lnTo>
                    <a:pt x="1654" y="61417"/>
                  </a:lnTo>
                  <a:lnTo>
                    <a:pt x="1743" y="61551"/>
                  </a:lnTo>
                  <a:lnTo>
                    <a:pt x="1877" y="61640"/>
                  </a:lnTo>
                  <a:lnTo>
                    <a:pt x="2056" y="61685"/>
                  </a:lnTo>
                  <a:lnTo>
                    <a:pt x="2235" y="61730"/>
                  </a:lnTo>
                  <a:lnTo>
                    <a:pt x="2459" y="61775"/>
                  </a:lnTo>
                  <a:lnTo>
                    <a:pt x="2727" y="61775"/>
                  </a:lnTo>
                  <a:lnTo>
                    <a:pt x="3129" y="61685"/>
                  </a:lnTo>
                  <a:lnTo>
                    <a:pt x="3308" y="61596"/>
                  </a:lnTo>
                  <a:lnTo>
                    <a:pt x="3487" y="61506"/>
                  </a:lnTo>
                  <a:lnTo>
                    <a:pt x="3576" y="61372"/>
                  </a:lnTo>
                  <a:lnTo>
                    <a:pt x="3665" y="61283"/>
                  </a:lnTo>
                  <a:lnTo>
                    <a:pt x="3755" y="61149"/>
                  </a:lnTo>
                  <a:lnTo>
                    <a:pt x="3755" y="61015"/>
                  </a:lnTo>
                  <a:lnTo>
                    <a:pt x="3308" y="52790"/>
                  </a:lnTo>
                  <a:lnTo>
                    <a:pt x="2950" y="45236"/>
                  </a:lnTo>
                  <a:lnTo>
                    <a:pt x="2682" y="38442"/>
                  </a:lnTo>
                  <a:lnTo>
                    <a:pt x="2459" y="32273"/>
                  </a:lnTo>
                  <a:lnTo>
                    <a:pt x="2324" y="26775"/>
                  </a:lnTo>
                  <a:lnTo>
                    <a:pt x="2235" y="21858"/>
                  </a:lnTo>
                  <a:lnTo>
                    <a:pt x="2190" y="17567"/>
                  </a:lnTo>
                  <a:lnTo>
                    <a:pt x="2146" y="13812"/>
                  </a:lnTo>
                  <a:lnTo>
                    <a:pt x="2190" y="10549"/>
                  </a:lnTo>
                  <a:lnTo>
                    <a:pt x="2235" y="7867"/>
                  </a:lnTo>
                  <a:lnTo>
                    <a:pt x="2369" y="3800"/>
                  </a:lnTo>
                  <a:lnTo>
                    <a:pt x="2503" y="1475"/>
                  </a:lnTo>
                  <a:lnTo>
                    <a:pt x="2548" y="626"/>
                  </a:lnTo>
                  <a:lnTo>
                    <a:pt x="2548" y="492"/>
                  </a:lnTo>
                  <a:lnTo>
                    <a:pt x="2503" y="358"/>
                  </a:lnTo>
                  <a:lnTo>
                    <a:pt x="2414" y="268"/>
                  </a:lnTo>
                  <a:lnTo>
                    <a:pt x="2280" y="134"/>
                  </a:lnTo>
                  <a:lnTo>
                    <a:pt x="2101" y="90"/>
                  </a:lnTo>
                  <a:lnTo>
                    <a:pt x="1922" y="45"/>
                  </a:lnTo>
                  <a:lnTo>
                    <a:pt x="1743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" name="Google Shape;2270;p11">
              <a:extLst>
                <a:ext uri="{FF2B5EF4-FFF2-40B4-BE49-F238E27FC236}">
                  <a16:creationId xmlns:a16="http://schemas.microsoft.com/office/drawing/2014/main" id="{A45606C9-8955-A8DD-9F63-A94741437614}"/>
                </a:ext>
              </a:extLst>
            </p:cNvPr>
            <p:cNvSpPr/>
            <p:nvPr/>
          </p:nvSpPr>
          <p:spPr>
            <a:xfrm>
              <a:off x="8362765" y="1300261"/>
              <a:ext cx="1539892" cy="801162"/>
            </a:xfrm>
            <a:custGeom>
              <a:avLst/>
              <a:gdLst/>
              <a:ahLst/>
              <a:cxnLst/>
              <a:rect l="l" t="t" r="r" b="b"/>
              <a:pathLst>
                <a:path w="245891" h="127930" extrusionOk="0">
                  <a:moveTo>
                    <a:pt x="237130" y="0"/>
                  </a:moveTo>
                  <a:lnTo>
                    <a:pt x="233956" y="89"/>
                  </a:lnTo>
                  <a:lnTo>
                    <a:pt x="230514" y="134"/>
                  </a:lnTo>
                  <a:lnTo>
                    <a:pt x="223452" y="224"/>
                  </a:lnTo>
                  <a:lnTo>
                    <a:pt x="220099" y="268"/>
                  </a:lnTo>
                  <a:lnTo>
                    <a:pt x="217105" y="358"/>
                  </a:lnTo>
                  <a:lnTo>
                    <a:pt x="214601" y="447"/>
                  </a:lnTo>
                  <a:lnTo>
                    <a:pt x="212679" y="581"/>
                  </a:lnTo>
                  <a:lnTo>
                    <a:pt x="211875" y="715"/>
                  </a:lnTo>
                  <a:lnTo>
                    <a:pt x="210981" y="939"/>
                  </a:lnTo>
                  <a:lnTo>
                    <a:pt x="210087" y="1207"/>
                  </a:lnTo>
                  <a:lnTo>
                    <a:pt x="209193" y="1565"/>
                  </a:lnTo>
                  <a:lnTo>
                    <a:pt x="208254" y="1922"/>
                  </a:lnTo>
                  <a:lnTo>
                    <a:pt x="207315" y="2369"/>
                  </a:lnTo>
                  <a:lnTo>
                    <a:pt x="206377" y="2861"/>
                  </a:lnTo>
                  <a:lnTo>
                    <a:pt x="205393" y="3442"/>
                  </a:lnTo>
                  <a:lnTo>
                    <a:pt x="204365" y="4023"/>
                  </a:lnTo>
                  <a:lnTo>
                    <a:pt x="203292" y="4693"/>
                  </a:lnTo>
                  <a:lnTo>
                    <a:pt x="201147" y="6124"/>
                  </a:lnTo>
                  <a:lnTo>
                    <a:pt x="199180" y="7554"/>
                  </a:lnTo>
                  <a:lnTo>
                    <a:pt x="197124" y="9074"/>
                  </a:lnTo>
                  <a:lnTo>
                    <a:pt x="194978" y="10728"/>
                  </a:lnTo>
                  <a:lnTo>
                    <a:pt x="192833" y="12516"/>
                  </a:lnTo>
                  <a:lnTo>
                    <a:pt x="190598" y="14393"/>
                  </a:lnTo>
                  <a:lnTo>
                    <a:pt x="188318" y="16315"/>
                  </a:lnTo>
                  <a:lnTo>
                    <a:pt x="185994" y="18371"/>
                  </a:lnTo>
                  <a:lnTo>
                    <a:pt x="183625" y="20428"/>
                  </a:lnTo>
                  <a:lnTo>
                    <a:pt x="180049" y="23691"/>
                  </a:lnTo>
                  <a:lnTo>
                    <a:pt x="176428" y="27043"/>
                  </a:lnTo>
                  <a:lnTo>
                    <a:pt x="169142" y="33882"/>
                  </a:lnTo>
                  <a:lnTo>
                    <a:pt x="161901" y="40721"/>
                  </a:lnTo>
                  <a:lnTo>
                    <a:pt x="154883" y="47292"/>
                  </a:lnTo>
                  <a:lnTo>
                    <a:pt x="151531" y="50376"/>
                  </a:lnTo>
                  <a:lnTo>
                    <a:pt x="148312" y="53282"/>
                  </a:lnTo>
                  <a:lnTo>
                    <a:pt x="145228" y="56008"/>
                  </a:lnTo>
                  <a:lnTo>
                    <a:pt x="142323" y="58467"/>
                  </a:lnTo>
                  <a:lnTo>
                    <a:pt x="139596" y="60702"/>
                  </a:lnTo>
                  <a:lnTo>
                    <a:pt x="138300" y="61685"/>
                  </a:lnTo>
                  <a:lnTo>
                    <a:pt x="137048" y="62579"/>
                  </a:lnTo>
                  <a:lnTo>
                    <a:pt x="135886" y="63384"/>
                  </a:lnTo>
                  <a:lnTo>
                    <a:pt x="134769" y="64143"/>
                  </a:lnTo>
                  <a:lnTo>
                    <a:pt x="133740" y="64769"/>
                  </a:lnTo>
                  <a:lnTo>
                    <a:pt x="132757" y="65306"/>
                  </a:lnTo>
                  <a:lnTo>
                    <a:pt x="126499" y="68613"/>
                  </a:lnTo>
                  <a:lnTo>
                    <a:pt x="120420" y="71921"/>
                  </a:lnTo>
                  <a:lnTo>
                    <a:pt x="114475" y="75229"/>
                  </a:lnTo>
                  <a:lnTo>
                    <a:pt x="108754" y="78447"/>
                  </a:lnTo>
                  <a:lnTo>
                    <a:pt x="103211" y="81531"/>
                  </a:lnTo>
                  <a:lnTo>
                    <a:pt x="97847" y="84482"/>
                  </a:lnTo>
                  <a:lnTo>
                    <a:pt x="92662" y="87208"/>
                  </a:lnTo>
                  <a:lnTo>
                    <a:pt x="90159" y="88505"/>
                  </a:lnTo>
                  <a:lnTo>
                    <a:pt x="87700" y="89711"/>
                  </a:lnTo>
                  <a:lnTo>
                    <a:pt x="81398" y="92796"/>
                  </a:lnTo>
                  <a:lnTo>
                    <a:pt x="71698" y="97489"/>
                  </a:lnTo>
                  <a:lnTo>
                    <a:pt x="59719" y="103166"/>
                  </a:lnTo>
                  <a:lnTo>
                    <a:pt x="46756" y="109290"/>
                  </a:lnTo>
                  <a:lnTo>
                    <a:pt x="33972" y="115279"/>
                  </a:lnTo>
                  <a:lnTo>
                    <a:pt x="28027" y="118051"/>
                  </a:lnTo>
                  <a:lnTo>
                    <a:pt x="22618" y="120509"/>
                  </a:lnTo>
                  <a:lnTo>
                    <a:pt x="17835" y="122655"/>
                  </a:lnTo>
                  <a:lnTo>
                    <a:pt x="13857" y="124398"/>
                  </a:lnTo>
                  <a:lnTo>
                    <a:pt x="10818" y="125694"/>
                  </a:lnTo>
                  <a:lnTo>
                    <a:pt x="9745" y="126097"/>
                  </a:lnTo>
                  <a:lnTo>
                    <a:pt x="8940" y="126365"/>
                  </a:lnTo>
                  <a:lnTo>
                    <a:pt x="8314" y="126499"/>
                  </a:lnTo>
                  <a:lnTo>
                    <a:pt x="7689" y="126544"/>
                  </a:lnTo>
                  <a:lnTo>
                    <a:pt x="7331" y="126544"/>
                  </a:lnTo>
                  <a:lnTo>
                    <a:pt x="6973" y="126499"/>
                  </a:lnTo>
                  <a:lnTo>
                    <a:pt x="6616" y="126409"/>
                  </a:lnTo>
                  <a:lnTo>
                    <a:pt x="6303" y="126275"/>
                  </a:lnTo>
                  <a:lnTo>
                    <a:pt x="5811" y="126097"/>
                  </a:lnTo>
                  <a:lnTo>
                    <a:pt x="5320" y="125828"/>
                  </a:lnTo>
                  <a:lnTo>
                    <a:pt x="4336" y="125292"/>
                  </a:lnTo>
                  <a:lnTo>
                    <a:pt x="3844" y="125024"/>
                  </a:lnTo>
                  <a:lnTo>
                    <a:pt x="3308" y="124800"/>
                  </a:lnTo>
                  <a:lnTo>
                    <a:pt x="2772" y="124621"/>
                  </a:lnTo>
                  <a:lnTo>
                    <a:pt x="2459" y="124577"/>
                  </a:lnTo>
                  <a:lnTo>
                    <a:pt x="2146" y="124577"/>
                  </a:lnTo>
                  <a:lnTo>
                    <a:pt x="1699" y="124621"/>
                  </a:lnTo>
                  <a:lnTo>
                    <a:pt x="1207" y="124711"/>
                  </a:lnTo>
                  <a:lnTo>
                    <a:pt x="760" y="124934"/>
                  </a:lnTo>
                  <a:lnTo>
                    <a:pt x="269" y="125203"/>
                  </a:lnTo>
                  <a:lnTo>
                    <a:pt x="179" y="125292"/>
                  </a:lnTo>
                  <a:lnTo>
                    <a:pt x="90" y="125381"/>
                  </a:lnTo>
                  <a:lnTo>
                    <a:pt x="0" y="125650"/>
                  </a:lnTo>
                  <a:lnTo>
                    <a:pt x="0" y="125918"/>
                  </a:lnTo>
                  <a:lnTo>
                    <a:pt x="45" y="126007"/>
                  </a:lnTo>
                  <a:lnTo>
                    <a:pt x="90" y="126141"/>
                  </a:lnTo>
                  <a:lnTo>
                    <a:pt x="179" y="126275"/>
                  </a:lnTo>
                  <a:lnTo>
                    <a:pt x="313" y="126365"/>
                  </a:lnTo>
                  <a:lnTo>
                    <a:pt x="537" y="126454"/>
                  </a:lnTo>
                  <a:lnTo>
                    <a:pt x="805" y="126454"/>
                  </a:lnTo>
                  <a:lnTo>
                    <a:pt x="939" y="126409"/>
                  </a:lnTo>
                  <a:lnTo>
                    <a:pt x="1073" y="126320"/>
                  </a:lnTo>
                  <a:lnTo>
                    <a:pt x="1386" y="126141"/>
                  </a:lnTo>
                  <a:lnTo>
                    <a:pt x="1654" y="126052"/>
                  </a:lnTo>
                  <a:lnTo>
                    <a:pt x="1922" y="125962"/>
                  </a:lnTo>
                  <a:lnTo>
                    <a:pt x="2369" y="125962"/>
                  </a:lnTo>
                  <a:lnTo>
                    <a:pt x="2593" y="126007"/>
                  </a:lnTo>
                  <a:lnTo>
                    <a:pt x="3129" y="126186"/>
                  </a:lnTo>
                  <a:lnTo>
                    <a:pt x="3532" y="126409"/>
                  </a:lnTo>
                  <a:lnTo>
                    <a:pt x="3979" y="126678"/>
                  </a:lnTo>
                  <a:lnTo>
                    <a:pt x="4738" y="127080"/>
                  </a:lnTo>
                  <a:lnTo>
                    <a:pt x="5185" y="127303"/>
                  </a:lnTo>
                  <a:lnTo>
                    <a:pt x="5588" y="127527"/>
                  </a:lnTo>
                  <a:lnTo>
                    <a:pt x="6079" y="127661"/>
                  </a:lnTo>
                  <a:lnTo>
                    <a:pt x="6571" y="127840"/>
                  </a:lnTo>
                  <a:lnTo>
                    <a:pt x="7152" y="127929"/>
                  </a:lnTo>
                  <a:lnTo>
                    <a:pt x="8091" y="127929"/>
                  </a:lnTo>
                  <a:lnTo>
                    <a:pt x="8493" y="127885"/>
                  </a:lnTo>
                  <a:lnTo>
                    <a:pt x="8940" y="127795"/>
                  </a:lnTo>
                  <a:lnTo>
                    <a:pt x="9342" y="127706"/>
                  </a:lnTo>
                  <a:lnTo>
                    <a:pt x="10236" y="127393"/>
                  </a:lnTo>
                  <a:lnTo>
                    <a:pt x="11354" y="126946"/>
                  </a:lnTo>
                  <a:lnTo>
                    <a:pt x="14170" y="125784"/>
                  </a:lnTo>
                  <a:lnTo>
                    <a:pt x="17835" y="124175"/>
                  </a:lnTo>
                  <a:lnTo>
                    <a:pt x="22216" y="122208"/>
                  </a:lnTo>
                  <a:lnTo>
                    <a:pt x="27222" y="119928"/>
                  </a:lnTo>
                  <a:lnTo>
                    <a:pt x="35536" y="116084"/>
                  </a:lnTo>
                  <a:lnTo>
                    <a:pt x="44476" y="111882"/>
                  </a:lnTo>
                  <a:lnTo>
                    <a:pt x="53684" y="107591"/>
                  </a:lnTo>
                  <a:lnTo>
                    <a:pt x="62669" y="103300"/>
                  </a:lnTo>
                  <a:lnTo>
                    <a:pt x="78403" y="95790"/>
                  </a:lnTo>
                  <a:lnTo>
                    <a:pt x="88326" y="90963"/>
                  </a:lnTo>
                  <a:lnTo>
                    <a:pt x="90784" y="89711"/>
                  </a:lnTo>
                  <a:lnTo>
                    <a:pt x="93288" y="88415"/>
                  </a:lnTo>
                  <a:lnTo>
                    <a:pt x="98473" y="85688"/>
                  </a:lnTo>
                  <a:lnTo>
                    <a:pt x="103881" y="82738"/>
                  </a:lnTo>
                  <a:lnTo>
                    <a:pt x="109424" y="79654"/>
                  </a:lnTo>
                  <a:lnTo>
                    <a:pt x="115146" y="76436"/>
                  </a:lnTo>
                  <a:lnTo>
                    <a:pt x="121091" y="73128"/>
                  </a:lnTo>
                  <a:lnTo>
                    <a:pt x="127170" y="69820"/>
                  </a:lnTo>
                  <a:lnTo>
                    <a:pt x="133383" y="66557"/>
                  </a:lnTo>
                  <a:lnTo>
                    <a:pt x="134232" y="66065"/>
                  </a:lnTo>
                  <a:lnTo>
                    <a:pt x="135081" y="65574"/>
                  </a:lnTo>
                  <a:lnTo>
                    <a:pt x="136020" y="64993"/>
                  </a:lnTo>
                  <a:lnTo>
                    <a:pt x="136959" y="64322"/>
                  </a:lnTo>
                  <a:lnTo>
                    <a:pt x="138970" y="62892"/>
                  </a:lnTo>
                  <a:lnTo>
                    <a:pt x="141116" y="61238"/>
                  </a:lnTo>
                  <a:lnTo>
                    <a:pt x="143083" y="59629"/>
                  </a:lnTo>
                  <a:lnTo>
                    <a:pt x="145139" y="57886"/>
                  </a:lnTo>
                  <a:lnTo>
                    <a:pt x="147329" y="56008"/>
                  </a:lnTo>
                  <a:lnTo>
                    <a:pt x="149564" y="54041"/>
                  </a:lnTo>
                  <a:lnTo>
                    <a:pt x="154213" y="49795"/>
                  </a:lnTo>
                  <a:lnTo>
                    <a:pt x="159085" y="45280"/>
                  </a:lnTo>
                  <a:lnTo>
                    <a:pt x="166728" y="38084"/>
                  </a:lnTo>
                  <a:lnTo>
                    <a:pt x="174461" y="30753"/>
                  </a:lnTo>
                  <a:lnTo>
                    <a:pt x="178350" y="27132"/>
                  </a:lnTo>
                  <a:lnTo>
                    <a:pt x="182194" y="23601"/>
                  </a:lnTo>
                  <a:lnTo>
                    <a:pt x="185994" y="20204"/>
                  </a:lnTo>
                  <a:lnTo>
                    <a:pt x="189704" y="16941"/>
                  </a:lnTo>
                  <a:lnTo>
                    <a:pt x="193280" y="13901"/>
                  </a:lnTo>
                  <a:lnTo>
                    <a:pt x="195023" y="12516"/>
                  </a:lnTo>
                  <a:lnTo>
                    <a:pt x="196722" y="11130"/>
                  </a:lnTo>
                  <a:lnTo>
                    <a:pt x="198376" y="9834"/>
                  </a:lnTo>
                  <a:lnTo>
                    <a:pt x="199985" y="8627"/>
                  </a:lnTo>
                  <a:lnTo>
                    <a:pt x="201549" y="7510"/>
                  </a:lnTo>
                  <a:lnTo>
                    <a:pt x="203069" y="6481"/>
                  </a:lnTo>
                  <a:lnTo>
                    <a:pt x="204544" y="5543"/>
                  </a:lnTo>
                  <a:lnTo>
                    <a:pt x="205930" y="4693"/>
                  </a:lnTo>
                  <a:lnTo>
                    <a:pt x="207271" y="3934"/>
                  </a:lnTo>
                  <a:lnTo>
                    <a:pt x="208567" y="3308"/>
                  </a:lnTo>
                  <a:lnTo>
                    <a:pt x="209729" y="2816"/>
                  </a:lnTo>
                  <a:lnTo>
                    <a:pt x="210847" y="2414"/>
                  </a:lnTo>
                  <a:lnTo>
                    <a:pt x="211875" y="2146"/>
                  </a:lnTo>
                  <a:lnTo>
                    <a:pt x="212366" y="2011"/>
                  </a:lnTo>
                  <a:lnTo>
                    <a:pt x="212813" y="1967"/>
                  </a:lnTo>
                  <a:lnTo>
                    <a:pt x="214646" y="1833"/>
                  </a:lnTo>
                  <a:lnTo>
                    <a:pt x="217149" y="1743"/>
                  </a:lnTo>
                  <a:lnTo>
                    <a:pt x="221753" y="1654"/>
                  </a:lnTo>
                  <a:lnTo>
                    <a:pt x="226983" y="1565"/>
                  </a:lnTo>
                  <a:lnTo>
                    <a:pt x="232302" y="1475"/>
                  </a:lnTo>
                  <a:lnTo>
                    <a:pt x="237174" y="1386"/>
                  </a:lnTo>
                  <a:lnTo>
                    <a:pt x="237309" y="1386"/>
                  </a:lnTo>
                  <a:lnTo>
                    <a:pt x="237800" y="1430"/>
                  </a:lnTo>
                  <a:lnTo>
                    <a:pt x="238158" y="1520"/>
                  </a:lnTo>
                  <a:lnTo>
                    <a:pt x="238426" y="1654"/>
                  </a:lnTo>
                  <a:lnTo>
                    <a:pt x="238694" y="1788"/>
                  </a:lnTo>
                  <a:lnTo>
                    <a:pt x="239052" y="2146"/>
                  </a:lnTo>
                  <a:lnTo>
                    <a:pt x="239454" y="2593"/>
                  </a:lnTo>
                  <a:lnTo>
                    <a:pt x="240125" y="3397"/>
                  </a:lnTo>
                  <a:lnTo>
                    <a:pt x="240393" y="3710"/>
                  </a:lnTo>
                  <a:lnTo>
                    <a:pt x="240750" y="4068"/>
                  </a:lnTo>
                  <a:lnTo>
                    <a:pt x="241153" y="4336"/>
                  </a:lnTo>
                  <a:lnTo>
                    <a:pt x="241600" y="4604"/>
                  </a:lnTo>
                  <a:lnTo>
                    <a:pt x="242091" y="4828"/>
                  </a:lnTo>
                  <a:lnTo>
                    <a:pt x="242717" y="5006"/>
                  </a:lnTo>
                  <a:lnTo>
                    <a:pt x="243343" y="5096"/>
                  </a:lnTo>
                  <a:lnTo>
                    <a:pt x="244103" y="5140"/>
                  </a:lnTo>
                  <a:lnTo>
                    <a:pt x="244639" y="5096"/>
                  </a:lnTo>
                  <a:lnTo>
                    <a:pt x="245265" y="5051"/>
                  </a:lnTo>
                  <a:lnTo>
                    <a:pt x="245399" y="5006"/>
                  </a:lnTo>
                  <a:lnTo>
                    <a:pt x="245533" y="4962"/>
                  </a:lnTo>
                  <a:lnTo>
                    <a:pt x="245712" y="4783"/>
                  </a:lnTo>
                  <a:lnTo>
                    <a:pt x="245846" y="4559"/>
                  </a:lnTo>
                  <a:lnTo>
                    <a:pt x="245891" y="4425"/>
                  </a:lnTo>
                  <a:lnTo>
                    <a:pt x="245846" y="4291"/>
                  </a:lnTo>
                  <a:lnTo>
                    <a:pt x="245846" y="4157"/>
                  </a:lnTo>
                  <a:lnTo>
                    <a:pt x="245801" y="4023"/>
                  </a:lnTo>
                  <a:lnTo>
                    <a:pt x="245623" y="3844"/>
                  </a:lnTo>
                  <a:lnTo>
                    <a:pt x="245354" y="3710"/>
                  </a:lnTo>
                  <a:lnTo>
                    <a:pt x="245220" y="3665"/>
                  </a:lnTo>
                  <a:lnTo>
                    <a:pt x="245086" y="3665"/>
                  </a:lnTo>
                  <a:lnTo>
                    <a:pt x="244550" y="3755"/>
                  </a:lnTo>
                  <a:lnTo>
                    <a:pt x="244103" y="3755"/>
                  </a:lnTo>
                  <a:lnTo>
                    <a:pt x="243388" y="3710"/>
                  </a:lnTo>
                  <a:lnTo>
                    <a:pt x="242851" y="3621"/>
                  </a:lnTo>
                  <a:lnTo>
                    <a:pt x="242449" y="3487"/>
                  </a:lnTo>
                  <a:lnTo>
                    <a:pt x="242091" y="3308"/>
                  </a:lnTo>
                  <a:lnTo>
                    <a:pt x="241823" y="3129"/>
                  </a:lnTo>
                  <a:lnTo>
                    <a:pt x="241600" y="2950"/>
                  </a:lnTo>
                  <a:lnTo>
                    <a:pt x="241197" y="2548"/>
                  </a:lnTo>
                  <a:lnTo>
                    <a:pt x="240572" y="1743"/>
                  </a:lnTo>
                  <a:lnTo>
                    <a:pt x="240303" y="1430"/>
                  </a:lnTo>
                  <a:lnTo>
                    <a:pt x="240035" y="1118"/>
                  </a:lnTo>
                  <a:lnTo>
                    <a:pt x="239812" y="894"/>
                  </a:lnTo>
                  <a:lnTo>
                    <a:pt x="239544" y="715"/>
                  </a:lnTo>
                  <a:lnTo>
                    <a:pt x="239231" y="492"/>
                  </a:lnTo>
                  <a:lnTo>
                    <a:pt x="238918" y="313"/>
                  </a:lnTo>
                  <a:lnTo>
                    <a:pt x="238560" y="179"/>
                  </a:lnTo>
                  <a:lnTo>
                    <a:pt x="238158" y="89"/>
                  </a:lnTo>
                  <a:lnTo>
                    <a:pt x="237756" y="45"/>
                  </a:lnTo>
                  <a:lnTo>
                    <a:pt x="237309" y="0"/>
                  </a:lnTo>
                  <a:close/>
                </a:path>
              </a:pathLst>
            </a:custGeom>
            <a:solidFill>
              <a:srgbClr val="3333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" name="Google Shape;2271;p11">
              <a:extLst>
                <a:ext uri="{FF2B5EF4-FFF2-40B4-BE49-F238E27FC236}">
                  <a16:creationId xmlns:a16="http://schemas.microsoft.com/office/drawing/2014/main" id="{6915D8D2-1CB5-5FD9-9F9C-E3E92FF05F55}"/>
                </a:ext>
              </a:extLst>
            </p:cNvPr>
            <p:cNvSpPr/>
            <p:nvPr/>
          </p:nvSpPr>
          <p:spPr>
            <a:xfrm>
              <a:off x="8362765" y="1300261"/>
              <a:ext cx="1539892" cy="801162"/>
            </a:xfrm>
            <a:custGeom>
              <a:avLst/>
              <a:gdLst/>
              <a:ahLst/>
              <a:cxnLst/>
              <a:rect l="l" t="t" r="r" b="b"/>
              <a:pathLst>
                <a:path w="245891" h="127930" fill="none" extrusionOk="0">
                  <a:moveTo>
                    <a:pt x="1073" y="126320"/>
                  </a:moveTo>
                  <a:lnTo>
                    <a:pt x="1073" y="126320"/>
                  </a:lnTo>
                  <a:lnTo>
                    <a:pt x="1386" y="126141"/>
                  </a:lnTo>
                  <a:lnTo>
                    <a:pt x="1654" y="126052"/>
                  </a:lnTo>
                  <a:lnTo>
                    <a:pt x="1654" y="126052"/>
                  </a:lnTo>
                  <a:lnTo>
                    <a:pt x="1922" y="125962"/>
                  </a:lnTo>
                  <a:lnTo>
                    <a:pt x="2146" y="125962"/>
                  </a:lnTo>
                  <a:lnTo>
                    <a:pt x="2146" y="125962"/>
                  </a:lnTo>
                  <a:lnTo>
                    <a:pt x="2369" y="125962"/>
                  </a:lnTo>
                  <a:lnTo>
                    <a:pt x="2593" y="126007"/>
                  </a:lnTo>
                  <a:lnTo>
                    <a:pt x="3129" y="126186"/>
                  </a:lnTo>
                  <a:lnTo>
                    <a:pt x="3129" y="126186"/>
                  </a:lnTo>
                  <a:lnTo>
                    <a:pt x="3532" y="126409"/>
                  </a:lnTo>
                  <a:lnTo>
                    <a:pt x="3979" y="126678"/>
                  </a:lnTo>
                  <a:lnTo>
                    <a:pt x="3979" y="126678"/>
                  </a:lnTo>
                  <a:lnTo>
                    <a:pt x="4738" y="127080"/>
                  </a:lnTo>
                  <a:lnTo>
                    <a:pt x="5185" y="127303"/>
                  </a:lnTo>
                  <a:lnTo>
                    <a:pt x="5588" y="127527"/>
                  </a:lnTo>
                  <a:lnTo>
                    <a:pt x="5588" y="127527"/>
                  </a:lnTo>
                  <a:lnTo>
                    <a:pt x="6079" y="127661"/>
                  </a:lnTo>
                  <a:lnTo>
                    <a:pt x="6571" y="127840"/>
                  </a:lnTo>
                  <a:lnTo>
                    <a:pt x="7152" y="127929"/>
                  </a:lnTo>
                  <a:lnTo>
                    <a:pt x="7689" y="127929"/>
                  </a:lnTo>
                  <a:lnTo>
                    <a:pt x="7689" y="127929"/>
                  </a:lnTo>
                  <a:lnTo>
                    <a:pt x="8091" y="127929"/>
                  </a:lnTo>
                  <a:lnTo>
                    <a:pt x="8493" y="127885"/>
                  </a:lnTo>
                  <a:lnTo>
                    <a:pt x="8940" y="127795"/>
                  </a:lnTo>
                  <a:lnTo>
                    <a:pt x="9342" y="127706"/>
                  </a:lnTo>
                  <a:lnTo>
                    <a:pt x="9342" y="127706"/>
                  </a:lnTo>
                  <a:lnTo>
                    <a:pt x="10236" y="127393"/>
                  </a:lnTo>
                  <a:lnTo>
                    <a:pt x="11354" y="126946"/>
                  </a:lnTo>
                  <a:lnTo>
                    <a:pt x="11354" y="126946"/>
                  </a:lnTo>
                  <a:lnTo>
                    <a:pt x="14170" y="125784"/>
                  </a:lnTo>
                  <a:lnTo>
                    <a:pt x="17835" y="124175"/>
                  </a:lnTo>
                  <a:lnTo>
                    <a:pt x="22216" y="122208"/>
                  </a:lnTo>
                  <a:lnTo>
                    <a:pt x="27222" y="119928"/>
                  </a:lnTo>
                  <a:lnTo>
                    <a:pt x="27222" y="119928"/>
                  </a:lnTo>
                  <a:lnTo>
                    <a:pt x="35536" y="116084"/>
                  </a:lnTo>
                  <a:lnTo>
                    <a:pt x="44476" y="111882"/>
                  </a:lnTo>
                  <a:lnTo>
                    <a:pt x="53684" y="107591"/>
                  </a:lnTo>
                  <a:lnTo>
                    <a:pt x="62669" y="103300"/>
                  </a:lnTo>
                  <a:lnTo>
                    <a:pt x="78403" y="95790"/>
                  </a:lnTo>
                  <a:lnTo>
                    <a:pt x="88326" y="90963"/>
                  </a:lnTo>
                  <a:lnTo>
                    <a:pt x="88326" y="90963"/>
                  </a:lnTo>
                  <a:lnTo>
                    <a:pt x="90784" y="89711"/>
                  </a:lnTo>
                  <a:lnTo>
                    <a:pt x="93288" y="88415"/>
                  </a:lnTo>
                  <a:lnTo>
                    <a:pt x="98473" y="85688"/>
                  </a:lnTo>
                  <a:lnTo>
                    <a:pt x="103881" y="82738"/>
                  </a:lnTo>
                  <a:lnTo>
                    <a:pt x="109424" y="79654"/>
                  </a:lnTo>
                  <a:lnTo>
                    <a:pt x="115146" y="76436"/>
                  </a:lnTo>
                  <a:lnTo>
                    <a:pt x="121091" y="73128"/>
                  </a:lnTo>
                  <a:lnTo>
                    <a:pt x="127170" y="69820"/>
                  </a:lnTo>
                  <a:lnTo>
                    <a:pt x="133383" y="66557"/>
                  </a:lnTo>
                  <a:lnTo>
                    <a:pt x="133383" y="66557"/>
                  </a:lnTo>
                  <a:lnTo>
                    <a:pt x="134232" y="66065"/>
                  </a:lnTo>
                  <a:lnTo>
                    <a:pt x="135081" y="65574"/>
                  </a:lnTo>
                  <a:lnTo>
                    <a:pt x="136020" y="64993"/>
                  </a:lnTo>
                  <a:lnTo>
                    <a:pt x="136959" y="64322"/>
                  </a:lnTo>
                  <a:lnTo>
                    <a:pt x="138970" y="62892"/>
                  </a:lnTo>
                  <a:lnTo>
                    <a:pt x="141116" y="61238"/>
                  </a:lnTo>
                  <a:lnTo>
                    <a:pt x="141116" y="61238"/>
                  </a:lnTo>
                  <a:lnTo>
                    <a:pt x="143083" y="59629"/>
                  </a:lnTo>
                  <a:lnTo>
                    <a:pt x="145139" y="57886"/>
                  </a:lnTo>
                  <a:lnTo>
                    <a:pt x="147329" y="56008"/>
                  </a:lnTo>
                  <a:lnTo>
                    <a:pt x="149564" y="54041"/>
                  </a:lnTo>
                  <a:lnTo>
                    <a:pt x="154213" y="49795"/>
                  </a:lnTo>
                  <a:lnTo>
                    <a:pt x="159085" y="45280"/>
                  </a:lnTo>
                  <a:lnTo>
                    <a:pt x="159085" y="45280"/>
                  </a:lnTo>
                  <a:lnTo>
                    <a:pt x="166728" y="38084"/>
                  </a:lnTo>
                  <a:lnTo>
                    <a:pt x="174461" y="30753"/>
                  </a:lnTo>
                  <a:lnTo>
                    <a:pt x="178350" y="27132"/>
                  </a:lnTo>
                  <a:lnTo>
                    <a:pt x="182194" y="23601"/>
                  </a:lnTo>
                  <a:lnTo>
                    <a:pt x="185994" y="20204"/>
                  </a:lnTo>
                  <a:lnTo>
                    <a:pt x="189704" y="16941"/>
                  </a:lnTo>
                  <a:lnTo>
                    <a:pt x="189704" y="16941"/>
                  </a:lnTo>
                  <a:lnTo>
                    <a:pt x="193280" y="13901"/>
                  </a:lnTo>
                  <a:lnTo>
                    <a:pt x="195023" y="12516"/>
                  </a:lnTo>
                  <a:lnTo>
                    <a:pt x="196722" y="11130"/>
                  </a:lnTo>
                  <a:lnTo>
                    <a:pt x="198376" y="9834"/>
                  </a:lnTo>
                  <a:lnTo>
                    <a:pt x="199985" y="8627"/>
                  </a:lnTo>
                  <a:lnTo>
                    <a:pt x="201549" y="7510"/>
                  </a:lnTo>
                  <a:lnTo>
                    <a:pt x="203069" y="6481"/>
                  </a:lnTo>
                  <a:lnTo>
                    <a:pt x="203069" y="6481"/>
                  </a:lnTo>
                  <a:lnTo>
                    <a:pt x="204544" y="5543"/>
                  </a:lnTo>
                  <a:lnTo>
                    <a:pt x="205930" y="4693"/>
                  </a:lnTo>
                  <a:lnTo>
                    <a:pt x="207271" y="3934"/>
                  </a:lnTo>
                  <a:lnTo>
                    <a:pt x="208567" y="3308"/>
                  </a:lnTo>
                  <a:lnTo>
                    <a:pt x="208567" y="3308"/>
                  </a:lnTo>
                  <a:lnTo>
                    <a:pt x="209729" y="2816"/>
                  </a:lnTo>
                  <a:lnTo>
                    <a:pt x="210847" y="2414"/>
                  </a:lnTo>
                  <a:lnTo>
                    <a:pt x="211875" y="2146"/>
                  </a:lnTo>
                  <a:lnTo>
                    <a:pt x="212366" y="2011"/>
                  </a:lnTo>
                  <a:lnTo>
                    <a:pt x="212813" y="1967"/>
                  </a:lnTo>
                  <a:lnTo>
                    <a:pt x="212813" y="1967"/>
                  </a:lnTo>
                  <a:lnTo>
                    <a:pt x="214646" y="1833"/>
                  </a:lnTo>
                  <a:lnTo>
                    <a:pt x="217149" y="1743"/>
                  </a:lnTo>
                  <a:lnTo>
                    <a:pt x="217149" y="1743"/>
                  </a:lnTo>
                  <a:lnTo>
                    <a:pt x="221753" y="1654"/>
                  </a:lnTo>
                  <a:lnTo>
                    <a:pt x="226983" y="1565"/>
                  </a:lnTo>
                  <a:lnTo>
                    <a:pt x="232302" y="1475"/>
                  </a:lnTo>
                  <a:lnTo>
                    <a:pt x="237174" y="1386"/>
                  </a:lnTo>
                  <a:lnTo>
                    <a:pt x="237174" y="1386"/>
                  </a:lnTo>
                  <a:lnTo>
                    <a:pt x="237309" y="1386"/>
                  </a:lnTo>
                  <a:lnTo>
                    <a:pt x="237309" y="1386"/>
                  </a:lnTo>
                  <a:lnTo>
                    <a:pt x="237800" y="1430"/>
                  </a:lnTo>
                  <a:lnTo>
                    <a:pt x="238158" y="1520"/>
                  </a:lnTo>
                  <a:lnTo>
                    <a:pt x="238158" y="1520"/>
                  </a:lnTo>
                  <a:lnTo>
                    <a:pt x="238426" y="1654"/>
                  </a:lnTo>
                  <a:lnTo>
                    <a:pt x="238694" y="1788"/>
                  </a:lnTo>
                  <a:lnTo>
                    <a:pt x="238694" y="1788"/>
                  </a:lnTo>
                  <a:lnTo>
                    <a:pt x="239052" y="2146"/>
                  </a:lnTo>
                  <a:lnTo>
                    <a:pt x="239454" y="2593"/>
                  </a:lnTo>
                  <a:lnTo>
                    <a:pt x="239454" y="2593"/>
                  </a:lnTo>
                  <a:lnTo>
                    <a:pt x="240125" y="3397"/>
                  </a:lnTo>
                  <a:lnTo>
                    <a:pt x="240125" y="3397"/>
                  </a:lnTo>
                  <a:lnTo>
                    <a:pt x="240393" y="3710"/>
                  </a:lnTo>
                  <a:lnTo>
                    <a:pt x="240750" y="4068"/>
                  </a:lnTo>
                  <a:lnTo>
                    <a:pt x="241153" y="4336"/>
                  </a:lnTo>
                  <a:lnTo>
                    <a:pt x="241600" y="4604"/>
                  </a:lnTo>
                  <a:lnTo>
                    <a:pt x="241600" y="4604"/>
                  </a:lnTo>
                  <a:lnTo>
                    <a:pt x="242091" y="4828"/>
                  </a:lnTo>
                  <a:lnTo>
                    <a:pt x="242717" y="5006"/>
                  </a:lnTo>
                  <a:lnTo>
                    <a:pt x="243343" y="5096"/>
                  </a:lnTo>
                  <a:lnTo>
                    <a:pt x="244103" y="5140"/>
                  </a:lnTo>
                  <a:lnTo>
                    <a:pt x="244103" y="5140"/>
                  </a:lnTo>
                  <a:lnTo>
                    <a:pt x="244639" y="5096"/>
                  </a:lnTo>
                  <a:lnTo>
                    <a:pt x="245265" y="5051"/>
                  </a:lnTo>
                  <a:lnTo>
                    <a:pt x="245265" y="5051"/>
                  </a:lnTo>
                  <a:lnTo>
                    <a:pt x="245399" y="5006"/>
                  </a:lnTo>
                  <a:lnTo>
                    <a:pt x="245533" y="4962"/>
                  </a:lnTo>
                  <a:lnTo>
                    <a:pt x="245712" y="4783"/>
                  </a:lnTo>
                  <a:lnTo>
                    <a:pt x="245846" y="4559"/>
                  </a:lnTo>
                  <a:lnTo>
                    <a:pt x="245891" y="4425"/>
                  </a:lnTo>
                  <a:lnTo>
                    <a:pt x="245846" y="4291"/>
                  </a:lnTo>
                  <a:lnTo>
                    <a:pt x="245846" y="4291"/>
                  </a:lnTo>
                  <a:lnTo>
                    <a:pt x="245846" y="4157"/>
                  </a:lnTo>
                  <a:lnTo>
                    <a:pt x="245801" y="4023"/>
                  </a:lnTo>
                  <a:lnTo>
                    <a:pt x="245623" y="3844"/>
                  </a:lnTo>
                  <a:lnTo>
                    <a:pt x="245354" y="3710"/>
                  </a:lnTo>
                  <a:lnTo>
                    <a:pt x="245220" y="3665"/>
                  </a:lnTo>
                  <a:lnTo>
                    <a:pt x="245086" y="3665"/>
                  </a:lnTo>
                  <a:lnTo>
                    <a:pt x="245086" y="3665"/>
                  </a:lnTo>
                  <a:lnTo>
                    <a:pt x="244550" y="3755"/>
                  </a:lnTo>
                  <a:lnTo>
                    <a:pt x="244103" y="3755"/>
                  </a:lnTo>
                  <a:lnTo>
                    <a:pt x="244103" y="3755"/>
                  </a:lnTo>
                  <a:lnTo>
                    <a:pt x="243388" y="3710"/>
                  </a:lnTo>
                  <a:lnTo>
                    <a:pt x="242851" y="3621"/>
                  </a:lnTo>
                  <a:lnTo>
                    <a:pt x="242851" y="3621"/>
                  </a:lnTo>
                  <a:lnTo>
                    <a:pt x="242449" y="3487"/>
                  </a:lnTo>
                  <a:lnTo>
                    <a:pt x="242091" y="3308"/>
                  </a:lnTo>
                  <a:lnTo>
                    <a:pt x="242091" y="3308"/>
                  </a:lnTo>
                  <a:lnTo>
                    <a:pt x="241823" y="3129"/>
                  </a:lnTo>
                  <a:lnTo>
                    <a:pt x="241600" y="2950"/>
                  </a:lnTo>
                  <a:lnTo>
                    <a:pt x="241197" y="2548"/>
                  </a:lnTo>
                  <a:lnTo>
                    <a:pt x="241197" y="2548"/>
                  </a:lnTo>
                  <a:lnTo>
                    <a:pt x="240572" y="1743"/>
                  </a:lnTo>
                  <a:lnTo>
                    <a:pt x="240572" y="1743"/>
                  </a:lnTo>
                  <a:lnTo>
                    <a:pt x="240303" y="1430"/>
                  </a:lnTo>
                  <a:lnTo>
                    <a:pt x="240035" y="1118"/>
                  </a:lnTo>
                  <a:lnTo>
                    <a:pt x="240035" y="1118"/>
                  </a:lnTo>
                  <a:lnTo>
                    <a:pt x="239812" y="894"/>
                  </a:lnTo>
                  <a:lnTo>
                    <a:pt x="239544" y="715"/>
                  </a:lnTo>
                  <a:lnTo>
                    <a:pt x="239231" y="492"/>
                  </a:lnTo>
                  <a:lnTo>
                    <a:pt x="238918" y="313"/>
                  </a:lnTo>
                  <a:lnTo>
                    <a:pt x="238918" y="313"/>
                  </a:lnTo>
                  <a:lnTo>
                    <a:pt x="238560" y="179"/>
                  </a:lnTo>
                  <a:lnTo>
                    <a:pt x="238158" y="89"/>
                  </a:lnTo>
                  <a:lnTo>
                    <a:pt x="237756" y="45"/>
                  </a:lnTo>
                  <a:lnTo>
                    <a:pt x="237309" y="0"/>
                  </a:lnTo>
                  <a:lnTo>
                    <a:pt x="237309" y="0"/>
                  </a:lnTo>
                  <a:lnTo>
                    <a:pt x="237130" y="0"/>
                  </a:lnTo>
                  <a:lnTo>
                    <a:pt x="237130" y="0"/>
                  </a:lnTo>
                  <a:lnTo>
                    <a:pt x="233956" y="89"/>
                  </a:lnTo>
                  <a:lnTo>
                    <a:pt x="230514" y="134"/>
                  </a:lnTo>
                  <a:lnTo>
                    <a:pt x="223452" y="224"/>
                  </a:lnTo>
                  <a:lnTo>
                    <a:pt x="223452" y="224"/>
                  </a:lnTo>
                  <a:lnTo>
                    <a:pt x="220099" y="268"/>
                  </a:lnTo>
                  <a:lnTo>
                    <a:pt x="217105" y="358"/>
                  </a:lnTo>
                  <a:lnTo>
                    <a:pt x="217105" y="358"/>
                  </a:lnTo>
                  <a:lnTo>
                    <a:pt x="214601" y="447"/>
                  </a:lnTo>
                  <a:lnTo>
                    <a:pt x="212679" y="581"/>
                  </a:lnTo>
                  <a:lnTo>
                    <a:pt x="212679" y="581"/>
                  </a:lnTo>
                  <a:lnTo>
                    <a:pt x="211875" y="715"/>
                  </a:lnTo>
                  <a:lnTo>
                    <a:pt x="210981" y="939"/>
                  </a:lnTo>
                  <a:lnTo>
                    <a:pt x="210087" y="1207"/>
                  </a:lnTo>
                  <a:lnTo>
                    <a:pt x="209193" y="1565"/>
                  </a:lnTo>
                  <a:lnTo>
                    <a:pt x="209193" y="1565"/>
                  </a:lnTo>
                  <a:lnTo>
                    <a:pt x="208254" y="1922"/>
                  </a:lnTo>
                  <a:lnTo>
                    <a:pt x="207315" y="2369"/>
                  </a:lnTo>
                  <a:lnTo>
                    <a:pt x="206377" y="2861"/>
                  </a:lnTo>
                  <a:lnTo>
                    <a:pt x="205393" y="3442"/>
                  </a:lnTo>
                  <a:lnTo>
                    <a:pt x="204365" y="4023"/>
                  </a:lnTo>
                  <a:lnTo>
                    <a:pt x="203292" y="4693"/>
                  </a:lnTo>
                  <a:lnTo>
                    <a:pt x="201147" y="6124"/>
                  </a:lnTo>
                  <a:lnTo>
                    <a:pt x="201147" y="6124"/>
                  </a:lnTo>
                  <a:lnTo>
                    <a:pt x="199180" y="7554"/>
                  </a:lnTo>
                  <a:lnTo>
                    <a:pt x="197124" y="9074"/>
                  </a:lnTo>
                  <a:lnTo>
                    <a:pt x="194978" y="10728"/>
                  </a:lnTo>
                  <a:lnTo>
                    <a:pt x="192833" y="12516"/>
                  </a:lnTo>
                  <a:lnTo>
                    <a:pt x="190598" y="14393"/>
                  </a:lnTo>
                  <a:lnTo>
                    <a:pt x="188318" y="16315"/>
                  </a:lnTo>
                  <a:lnTo>
                    <a:pt x="185994" y="18371"/>
                  </a:lnTo>
                  <a:lnTo>
                    <a:pt x="183625" y="20428"/>
                  </a:lnTo>
                  <a:lnTo>
                    <a:pt x="183625" y="20428"/>
                  </a:lnTo>
                  <a:lnTo>
                    <a:pt x="180049" y="23691"/>
                  </a:lnTo>
                  <a:lnTo>
                    <a:pt x="176428" y="27043"/>
                  </a:lnTo>
                  <a:lnTo>
                    <a:pt x="169142" y="33882"/>
                  </a:lnTo>
                  <a:lnTo>
                    <a:pt x="161901" y="40721"/>
                  </a:lnTo>
                  <a:lnTo>
                    <a:pt x="154883" y="47292"/>
                  </a:lnTo>
                  <a:lnTo>
                    <a:pt x="154883" y="47292"/>
                  </a:lnTo>
                  <a:lnTo>
                    <a:pt x="151531" y="50376"/>
                  </a:lnTo>
                  <a:lnTo>
                    <a:pt x="148312" y="53282"/>
                  </a:lnTo>
                  <a:lnTo>
                    <a:pt x="145228" y="56008"/>
                  </a:lnTo>
                  <a:lnTo>
                    <a:pt x="142323" y="58467"/>
                  </a:lnTo>
                  <a:lnTo>
                    <a:pt x="142323" y="58467"/>
                  </a:lnTo>
                  <a:lnTo>
                    <a:pt x="139596" y="60702"/>
                  </a:lnTo>
                  <a:lnTo>
                    <a:pt x="138300" y="61685"/>
                  </a:lnTo>
                  <a:lnTo>
                    <a:pt x="137048" y="62579"/>
                  </a:lnTo>
                  <a:lnTo>
                    <a:pt x="135886" y="63384"/>
                  </a:lnTo>
                  <a:lnTo>
                    <a:pt x="134769" y="64143"/>
                  </a:lnTo>
                  <a:lnTo>
                    <a:pt x="133740" y="64769"/>
                  </a:lnTo>
                  <a:lnTo>
                    <a:pt x="132757" y="65306"/>
                  </a:lnTo>
                  <a:lnTo>
                    <a:pt x="132757" y="65306"/>
                  </a:lnTo>
                  <a:lnTo>
                    <a:pt x="126499" y="68613"/>
                  </a:lnTo>
                  <a:lnTo>
                    <a:pt x="120420" y="71921"/>
                  </a:lnTo>
                  <a:lnTo>
                    <a:pt x="114475" y="75229"/>
                  </a:lnTo>
                  <a:lnTo>
                    <a:pt x="108754" y="78447"/>
                  </a:lnTo>
                  <a:lnTo>
                    <a:pt x="103211" y="81531"/>
                  </a:lnTo>
                  <a:lnTo>
                    <a:pt x="97847" y="84482"/>
                  </a:lnTo>
                  <a:lnTo>
                    <a:pt x="92662" y="87208"/>
                  </a:lnTo>
                  <a:lnTo>
                    <a:pt x="90159" y="88505"/>
                  </a:lnTo>
                  <a:lnTo>
                    <a:pt x="87700" y="89711"/>
                  </a:lnTo>
                  <a:lnTo>
                    <a:pt x="87700" y="89711"/>
                  </a:lnTo>
                  <a:lnTo>
                    <a:pt x="81398" y="92796"/>
                  </a:lnTo>
                  <a:lnTo>
                    <a:pt x="71698" y="97489"/>
                  </a:lnTo>
                  <a:lnTo>
                    <a:pt x="59719" y="103166"/>
                  </a:lnTo>
                  <a:lnTo>
                    <a:pt x="46756" y="109290"/>
                  </a:lnTo>
                  <a:lnTo>
                    <a:pt x="46756" y="109290"/>
                  </a:lnTo>
                  <a:lnTo>
                    <a:pt x="33972" y="115279"/>
                  </a:lnTo>
                  <a:lnTo>
                    <a:pt x="28027" y="118051"/>
                  </a:lnTo>
                  <a:lnTo>
                    <a:pt x="22618" y="120509"/>
                  </a:lnTo>
                  <a:lnTo>
                    <a:pt x="22618" y="120509"/>
                  </a:lnTo>
                  <a:lnTo>
                    <a:pt x="17835" y="122655"/>
                  </a:lnTo>
                  <a:lnTo>
                    <a:pt x="13857" y="124398"/>
                  </a:lnTo>
                  <a:lnTo>
                    <a:pt x="13857" y="124398"/>
                  </a:lnTo>
                  <a:lnTo>
                    <a:pt x="10818" y="125694"/>
                  </a:lnTo>
                  <a:lnTo>
                    <a:pt x="10818" y="125694"/>
                  </a:lnTo>
                  <a:lnTo>
                    <a:pt x="9745" y="126097"/>
                  </a:lnTo>
                  <a:lnTo>
                    <a:pt x="8940" y="126365"/>
                  </a:lnTo>
                  <a:lnTo>
                    <a:pt x="8940" y="126365"/>
                  </a:lnTo>
                  <a:lnTo>
                    <a:pt x="8314" y="126499"/>
                  </a:lnTo>
                  <a:lnTo>
                    <a:pt x="7689" y="126544"/>
                  </a:lnTo>
                  <a:lnTo>
                    <a:pt x="7689" y="126544"/>
                  </a:lnTo>
                  <a:lnTo>
                    <a:pt x="7331" y="126544"/>
                  </a:lnTo>
                  <a:lnTo>
                    <a:pt x="6973" y="126499"/>
                  </a:lnTo>
                  <a:lnTo>
                    <a:pt x="6616" y="126409"/>
                  </a:lnTo>
                  <a:lnTo>
                    <a:pt x="6303" y="126275"/>
                  </a:lnTo>
                  <a:lnTo>
                    <a:pt x="6303" y="126275"/>
                  </a:lnTo>
                  <a:lnTo>
                    <a:pt x="5811" y="126097"/>
                  </a:lnTo>
                  <a:lnTo>
                    <a:pt x="5320" y="125828"/>
                  </a:lnTo>
                  <a:lnTo>
                    <a:pt x="4336" y="125292"/>
                  </a:lnTo>
                  <a:lnTo>
                    <a:pt x="4336" y="125292"/>
                  </a:lnTo>
                  <a:lnTo>
                    <a:pt x="3844" y="125024"/>
                  </a:lnTo>
                  <a:lnTo>
                    <a:pt x="3308" y="124800"/>
                  </a:lnTo>
                  <a:lnTo>
                    <a:pt x="3308" y="124800"/>
                  </a:lnTo>
                  <a:lnTo>
                    <a:pt x="2772" y="124621"/>
                  </a:lnTo>
                  <a:lnTo>
                    <a:pt x="2459" y="124577"/>
                  </a:lnTo>
                  <a:lnTo>
                    <a:pt x="2146" y="124577"/>
                  </a:lnTo>
                  <a:lnTo>
                    <a:pt x="2146" y="124577"/>
                  </a:lnTo>
                  <a:lnTo>
                    <a:pt x="1699" y="124621"/>
                  </a:lnTo>
                  <a:lnTo>
                    <a:pt x="1207" y="124711"/>
                  </a:lnTo>
                  <a:lnTo>
                    <a:pt x="1207" y="124711"/>
                  </a:lnTo>
                  <a:lnTo>
                    <a:pt x="760" y="124934"/>
                  </a:lnTo>
                  <a:lnTo>
                    <a:pt x="269" y="125203"/>
                  </a:lnTo>
                  <a:lnTo>
                    <a:pt x="269" y="125203"/>
                  </a:lnTo>
                  <a:lnTo>
                    <a:pt x="179" y="125292"/>
                  </a:lnTo>
                  <a:lnTo>
                    <a:pt x="90" y="125381"/>
                  </a:lnTo>
                  <a:lnTo>
                    <a:pt x="0" y="125650"/>
                  </a:lnTo>
                  <a:lnTo>
                    <a:pt x="0" y="125918"/>
                  </a:lnTo>
                  <a:lnTo>
                    <a:pt x="45" y="126007"/>
                  </a:lnTo>
                  <a:lnTo>
                    <a:pt x="90" y="126141"/>
                  </a:lnTo>
                  <a:lnTo>
                    <a:pt x="90" y="126141"/>
                  </a:lnTo>
                  <a:lnTo>
                    <a:pt x="179" y="126275"/>
                  </a:lnTo>
                  <a:lnTo>
                    <a:pt x="313" y="126365"/>
                  </a:lnTo>
                  <a:lnTo>
                    <a:pt x="537" y="126454"/>
                  </a:lnTo>
                  <a:lnTo>
                    <a:pt x="805" y="126454"/>
                  </a:lnTo>
                  <a:lnTo>
                    <a:pt x="939" y="126409"/>
                  </a:lnTo>
                  <a:lnTo>
                    <a:pt x="1073" y="126320"/>
                  </a:lnTo>
                  <a:lnTo>
                    <a:pt x="1073" y="12632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" name="Google Shape;2272;p11">
              <a:extLst>
                <a:ext uri="{FF2B5EF4-FFF2-40B4-BE49-F238E27FC236}">
                  <a16:creationId xmlns:a16="http://schemas.microsoft.com/office/drawing/2014/main" id="{6FEC772E-248C-5DBC-D682-0849E20F7215}"/>
                </a:ext>
              </a:extLst>
            </p:cNvPr>
            <p:cNvSpPr/>
            <p:nvPr/>
          </p:nvSpPr>
          <p:spPr>
            <a:xfrm>
              <a:off x="9153004" y="1097870"/>
              <a:ext cx="76146" cy="47877"/>
            </a:xfrm>
            <a:custGeom>
              <a:avLst/>
              <a:gdLst/>
              <a:ahLst/>
              <a:cxnLst/>
              <a:rect l="l" t="t" r="r" b="b"/>
              <a:pathLst>
                <a:path w="12159" h="7645" extrusionOk="0">
                  <a:moveTo>
                    <a:pt x="9477" y="0"/>
                  </a:moveTo>
                  <a:lnTo>
                    <a:pt x="9253" y="45"/>
                  </a:lnTo>
                  <a:lnTo>
                    <a:pt x="9030" y="135"/>
                  </a:lnTo>
                  <a:lnTo>
                    <a:pt x="8448" y="358"/>
                  </a:lnTo>
                  <a:lnTo>
                    <a:pt x="7823" y="582"/>
                  </a:lnTo>
                  <a:lnTo>
                    <a:pt x="7107" y="805"/>
                  </a:lnTo>
                  <a:lnTo>
                    <a:pt x="6303" y="1073"/>
                  </a:lnTo>
                  <a:lnTo>
                    <a:pt x="5498" y="1386"/>
                  </a:lnTo>
                  <a:lnTo>
                    <a:pt x="4694" y="1788"/>
                  </a:lnTo>
                  <a:lnTo>
                    <a:pt x="3844" y="2325"/>
                  </a:lnTo>
                  <a:lnTo>
                    <a:pt x="3442" y="2593"/>
                  </a:lnTo>
                  <a:lnTo>
                    <a:pt x="3040" y="2951"/>
                  </a:lnTo>
                  <a:lnTo>
                    <a:pt x="2414" y="3442"/>
                  </a:lnTo>
                  <a:lnTo>
                    <a:pt x="1878" y="3845"/>
                  </a:lnTo>
                  <a:lnTo>
                    <a:pt x="1341" y="4158"/>
                  </a:lnTo>
                  <a:lnTo>
                    <a:pt x="894" y="4381"/>
                  </a:lnTo>
                  <a:lnTo>
                    <a:pt x="268" y="4605"/>
                  </a:lnTo>
                  <a:lnTo>
                    <a:pt x="0" y="4694"/>
                  </a:lnTo>
                  <a:lnTo>
                    <a:pt x="1699" y="7644"/>
                  </a:lnTo>
                  <a:lnTo>
                    <a:pt x="2593" y="6929"/>
                  </a:lnTo>
                  <a:lnTo>
                    <a:pt x="3442" y="6392"/>
                  </a:lnTo>
                  <a:lnTo>
                    <a:pt x="4202" y="5945"/>
                  </a:lnTo>
                  <a:lnTo>
                    <a:pt x="4917" y="5677"/>
                  </a:lnTo>
                  <a:lnTo>
                    <a:pt x="5543" y="5498"/>
                  </a:lnTo>
                  <a:lnTo>
                    <a:pt x="6124" y="5409"/>
                  </a:lnTo>
                  <a:lnTo>
                    <a:pt x="6660" y="5409"/>
                  </a:lnTo>
                  <a:lnTo>
                    <a:pt x="7107" y="5454"/>
                  </a:lnTo>
                  <a:lnTo>
                    <a:pt x="7554" y="5543"/>
                  </a:lnTo>
                  <a:lnTo>
                    <a:pt x="7957" y="5633"/>
                  </a:lnTo>
                  <a:lnTo>
                    <a:pt x="8583" y="5901"/>
                  </a:lnTo>
                  <a:lnTo>
                    <a:pt x="8806" y="5945"/>
                  </a:lnTo>
                  <a:lnTo>
                    <a:pt x="9030" y="5990"/>
                  </a:lnTo>
                  <a:lnTo>
                    <a:pt x="9253" y="5945"/>
                  </a:lnTo>
                  <a:lnTo>
                    <a:pt x="9387" y="5856"/>
                  </a:lnTo>
                  <a:lnTo>
                    <a:pt x="9477" y="5677"/>
                  </a:lnTo>
                  <a:lnTo>
                    <a:pt x="9521" y="5543"/>
                  </a:lnTo>
                  <a:lnTo>
                    <a:pt x="9477" y="5364"/>
                  </a:lnTo>
                  <a:lnTo>
                    <a:pt x="9387" y="5186"/>
                  </a:lnTo>
                  <a:lnTo>
                    <a:pt x="9074" y="4828"/>
                  </a:lnTo>
                  <a:lnTo>
                    <a:pt x="8806" y="4470"/>
                  </a:lnTo>
                  <a:lnTo>
                    <a:pt x="8717" y="4292"/>
                  </a:lnTo>
                  <a:lnTo>
                    <a:pt x="8672" y="4158"/>
                  </a:lnTo>
                  <a:lnTo>
                    <a:pt x="8672" y="4023"/>
                  </a:lnTo>
                  <a:lnTo>
                    <a:pt x="8761" y="3889"/>
                  </a:lnTo>
                  <a:lnTo>
                    <a:pt x="8940" y="3800"/>
                  </a:lnTo>
                  <a:lnTo>
                    <a:pt x="9253" y="3711"/>
                  </a:lnTo>
                  <a:lnTo>
                    <a:pt x="9655" y="3666"/>
                  </a:lnTo>
                  <a:lnTo>
                    <a:pt x="10236" y="3621"/>
                  </a:lnTo>
                  <a:lnTo>
                    <a:pt x="10549" y="3621"/>
                  </a:lnTo>
                  <a:lnTo>
                    <a:pt x="10862" y="3576"/>
                  </a:lnTo>
                  <a:lnTo>
                    <a:pt x="11175" y="3487"/>
                  </a:lnTo>
                  <a:lnTo>
                    <a:pt x="11399" y="3398"/>
                  </a:lnTo>
                  <a:lnTo>
                    <a:pt x="11577" y="3308"/>
                  </a:lnTo>
                  <a:lnTo>
                    <a:pt x="11756" y="3174"/>
                  </a:lnTo>
                  <a:lnTo>
                    <a:pt x="11890" y="3040"/>
                  </a:lnTo>
                  <a:lnTo>
                    <a:pt x="12024" y="2906"/>
                  </a:lnTo>
                  <a:lnTo>
                    <a:pt x="12069" y="2772"/>
                  </a:lnTo>
                  <a:lnTo>
                    <a:pt x="12114" y="2593"/>
                  </a:lnTo>
                  <a:lnTo>
                    <a:pt x="12158" y="2235"/>
                  </a:lnTo>
                  <a:lnTo>
                    <a:pt x="12069" y="1878"/>
                  </a:lnTo>
                  <a:lnTo>
                    <a:pt x="11935" y="1476"/>
                  </a:lnTo>
                  <a:lnTo>
                    <a:pt x="11711" y="1118"/>
                  </a:lnTo>
                  <a:lnTo>
                    <a:pt x="11399" y="805"/>
                  </a:lnTo>
                  <a:lnTo>
                    <a:pt x="11086" y="492"/>
                  </a:lnTo>
                  <a:lnTo>
                    <a:pt x="10683" y="269"/>
                  </a:lnTo>
                  <a:lnTo>
                    <a:pt x="10281" y="90"/>
                  </a:lnTo>
                  <a:lnTo>
                    <a:pt x="9879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" name="Google Shape;2273;p11">
              <a:extLst>
                <a:ext uri="{FF2B5EF4-FFF2-40B4-BE49-F238E27FC236}">
                  <a16:creationId xmlns:a16="http://schemas.microsoft.com/office/drawing/2014/main" id="{C474EF55-AB2F-732D-4137-BC4D04E7BC25}"/>
                </a:ext>
              </a:extLst>
            </p:cNvPr>
            <p:cNvSpPr/>
            <p:nvPr/>
          </p:nvSpPr>
          <p:spPr>
            <a:xfrm>
              <a:off x="8858798" y="1312573"/>
              <a:ext cx="141927" cy="518717"/>
            </a:xfrm>
            <a:custGeom>
              <a:avLst/>
              <a:gdLst/>
              <a:ahLst/>
              <a:cxnLst/>
              <a:rect l="l" t="t" r="r" b="b"/>
              <a:pathLst>
                <a:path w="22663" h="82829" extrusionOk="0">
                  <a:moveTo>
                    <a:pt x="12382" y="1"/>
                  </a:moveTo>
                  <a:lnTo>
                    <a:pt x="11935" y="45"/>
                  </a:lnTo>
                  <a:lnTo>
                    <a:pt x="11533" y="135"/>
                  </a:lnTo>
                  <a:lnTo>
                    <a:pt x="11175" y="314"/>
                  </a:lnTo>
                  <a:lnTo>
                    <a:pt x="10818" y="537"/>
                  </a:lnTo>
                  <a:lnTo>
                    <a:pt x="10460" y="850"/>
                  </a:lnTo>
                  <a:lnTo>
                    <a:pt x="10147" y="1163"/>
                  </a:lnTo>
                  <a:lnTo>
                    <a:pt x="9879" y="1521"/>
                  </a:lnTo>
                  <a:lnTo>
                    <a:pt x="9566" y="1923"/>
                  </a:lnTo>
                  <a:lnTo>
                    <a:pt x="9298" y="2325"/>
                  </a:lnTo>
                  <a:lnTo>
                    <a:pt x="9074" y="2817"/>
                  </a:lnTo>
                  <a:lnTo>
                    <a:pt x="8851" y="3309"/>
                  </a:lnTo>
                  <a:lnTo>
                    <a:pt x="8449" y="4337"/>
                  </a:lnTo>
                  <a:lnTo>
                    <a:pt x="8091" y="5409"/>
                  </a:lnTo>
                  <a:lnTo>
                    <a:pt x="7867" y="6482"/>
                  </a:lnTo>
                  <a:lnTo>
                    <a:pt x="7644" y="7555"/>
                  </a:lnTo>
                  <a:lnTo>
                    <a:pt x="7510" y="8583"/>
                  </a:lnTo>
                  <a:lnTo>
                    <a:pt x="7465" y="9522"/>
                  </a:lnTo>
                  <a:lnTo>
                    <a:pt x="7465" y="10326"/>
                  </a:lnTo>
                  <a:lnTo>
                    <a:pt x="7510" y="10997"/>
                  </a:lnTo>
                  <a:lnTo>
                    <a:pt x="7644" y="11488"/>
                  </a:lnTo>
                  <a:lnTo>
                    <a:pt x="7733" y="12070"/>
                  </a:lnTo>
                  <a:lnTo>
                    <a:pt x="7867" y="13053"/>
                  </a:lnTo>
                  <a:lnTo>
                    <a:pt x="8091" y="15824"/>
                  </a:lnTo>
                  <a:lnTo>
                    <a:pt x="8225" y="18551"/>
                  </a:lnTo>
                  <a:lnTo>
                    <a:pt x="8225" y="19579"/>
                  </a:lnTo>
                  <a:lnTo>
                    <a:pt x="8225" y="20160"/>
                  </a:lnTo>
                  <a:lnTo>
                    <a:pt x="8180" y="23200"/>
                  </a:lnTo>
                  <a:lnTo>
                    <a:pt x="8046" y="30173"/>
                  </a:lnTo>
                  <a:lnTo>
                    <a:pt x="7957" y="33883"/>
                  </a:lnTo>
                  <a:lnTo>
                    <a:pt x="7867" y="36922"/>
                  </a:lnTo>
                  <a:lnTo>
                    <a:pt x="7733" y="39604"/>
                  </a:lnTo>
                  <a:lnTo>
                    <a:pt x="7555" y="41705"/>
                  </a:lnTo>
                  <a:lnTo>
                    <a:pt x="7420" y="42510"/>
                  </a:lnTo>
                  <a:lnTo>
                    <a:pt x="7331" y="43091"/>
                  </a:lnTo>
                  <a:lnTo>
                    <a:pt x="6795" y="45505"/>
                  </a:lnTo>
                  <a:lnTo>
                    <a:pt x="5856" y="49975"/>
                  </a:lnTo>
                  <a:lnTo>
                    <a:pt x="3398" y="61999"/>
                  </a:lnTo>
                  <a:lnTo>
                    <a:pt x="0" y="78493"/>
                  </a:lnTo>
                  <a:lnTo>
                    <a:pt x="2995" y="82828"/>
                  </a:lnTo>
                  <a:lnTo>
                    <a:pt x="8225" y="82292"/>
                  </a:lnTo>
                  <a:lnTo>
                    <a:pt x="6437" y="78850"/>
                  </a:lnTo>
                  <a:lnTo>
                    <a:pt x="5990" y="78135"/>
                  </a:lnTo>
                  <a:lnTo>
                    <a:pt x="5767" y="77733"/>
                  </a:lnTo>
                  <a:lnTo>
                    <a:pt x="5588" y="77286"/>
                  </a:lnTo>
                  <a:lnTo>
                    <a:pt x="5454" y="76749"/>
                  </a:lnTo>
                  <a:lnTo>
                    <a:pt x="5320" y="76079"/>
                  </a:lnTo>
                  <a:lnTo>
                    <a:pt x="5320" y="75230"/>
                  </a:lnTo>
                  <a:lnTo>
                    <a:pt x="5320" y="74202"/>
                  </a:lnTo>
                  <a:lnTo>
                    <a:pt x="5409" y="73799"/>
                  </a:lnTo>
                  <a:lnTo>
                    <a:pt x="5677" y="73173"/>
                  </a:lnTo>
                  <a:lnTo>
                    <a:pt x="6526" y="71117"/>
                  </a:lnTo>
                  <a:lnTo>
                    <a:pt x="7733" y="68257"/>
                  </a:lnTo>
                  <a:lnTo>
                    <a:pt x="9253" y="64591"/>
                  </a:lnTo>
                  <a:lnTo>
                    <a:pt x="10058" y="62535"/>
                  </a:lnTo>
                  <a:lnTo>
                    <a:pt x="10862" y="60345"/>
                  </a:lnTo>
                  <a:lnTo>
                    <a:pt x="11712" y="57976"/>
                  </a:lnTo>
                  <a:lnTo>
                    <a:pt x="12516" y="55562"/>
                  </a:lnTo>
                  <a:lnTo>
                    <a:pt x="13321" y="52969"/>
                  </a:lnTo>
                  <a:lnTo>
                    <a:pt x="14081" y="50332"/>
                  </a:lnTo>
                  <a:lnTo>
                    <a:pt x="14751" y="47650"/>
                  </a:lnTo>
                  <a:lnTo>
                    <a:pt x="15377" y="44879"/>
                  </a:lnTo>
                  <a:lnTo>
                    <a:pt x="17746" y="33525"/>
                  </a:lnTo>
                  <a:lnTo>
                    <a:pt x="18104" y="31648"/>
                  </a:lnTo>
                  <a:lnTo>
                    <a:pt x="21322" y="16629"/>
                  </a:lnTo>
                  <a:lnTo>
                    <a:pt x="22663" y="10371"/>
                  </a:lnTo>
                  <a:lnTo>
                    <a:pt x="22618" y="10058"/>
                  </a:lnTo>
                  <a:lnTo>
                    <a:pt x="22484" y="9254"/>
                  </a:lnTo>
                  <a:lnTo>
                    <a:pt x="22305" y="8717"/>
                  </a:lnTo>
                  <a:lnTo>
                    <a:pt x="22082" y="8091"/>
                  </a:lnTo>
                  <a:lnTo>
                    <a:pt x="21769" y="7376"/>
                  </a:lnTo>
                  <a:lnTo>
                    <a:pt x="21411" y="6616"/>
                  </a:lnTo>
                  <a:lnTo>
                    <a:pt x="20920" y="5812"/>
                  </a:lnTo>
                  <a:lnTo>
                    <a:pt x="20294" y="4962"/>
                  </a:lnTo>
                  <a:lnTo>
                    <a:pt x="19579" y="4113"/>
                  </a:lnTo>
                  <a:lnTo>
                    <a:pt x="19176" y="3711"/>
                  </a:lnTo>
                  <a:lnTo>
                    <a:pt x="18729" y="3264"/>
                  </a:lnTo>
                  <a:lnTo>
                    <a:pt x="18238" y="2862"/>
                  </a:lnTo>
                  <a:lnTo>
                    <a:pt x="17701" y="2459"/>
                  </a:lnTo>
                  <a:lnTo>
                    <a:pt x="17165" y="2057"/>
                  </a:lnTo>
                  <a:lnTo>
                    <a:pt x="16539" y="1655"/>
                  </a:lnTo>
                  <a:lnTo>
                    <a:pt x="15913" y="1297"/>
                  </a:lnTo>
                  <a:lnTo>
                    <a:pt x="15243" y="939"/>
                  </a:lnTo>
                  <a:lnTo>
                    <a:pt x="14483" y="582"/>
                  </a:lnTo>
                  <a:lnTo>
                    <a:pt x="13723" y="224"/>
                  </a:lnTo>
                  <a:lnTo>
                    <a:pt x="13231" y="90"/>
                  </a:lnTo>
                  <a:lnTo>
                    <a:pt x="12784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" name="Google Shape;2274;p11">
              <a:extLst>
                <a:ext uri="{FF2B5EF4-FFF2-40B4-BE49-F238E27FC236}">
                  <a16:creationId xmlns:a16="http://schemas.microsoft.com/office/drawing/2014/main" id="{5633287D-DE73-2327-1922-126074AC4229}"/>
                </a:ext>
              </a:extLst>
            </p:cNvPr>
            <p:cNvSpPr/>
            <p:nvPr/>
          </p:nvSpPr>
          <p:spPr>
            <a:xfrm>
              <a:off x="8858798" y="1312573"/>
              <a:ext cx="141927" cy="518717"/>
            </a:xfrm>
            <a:custGeom>
              <a:avLst/>
              <a:gdLst/>
              <a:ahLst/>
              <a:cxnLst/>
              <a:rect l="l" t="t" r="r" b="b"/>
              <a:pathLst>
                <a:path w="22663" h="82829" fill="none" extrusionOk="0">
                  <a:moveTo>
                    <a:pt x="17746" y="33525"/>
                  </a:moveTo>
                  <a:lnTo>
                    <a:pt x="17746" y="33525"/>
                  </a:lnTo>
                  <a:lnTo>
                    <a:pt x="15377" y="44879"/>
                  </a:lnTo>
                  <a:lnTo>
                    <a:pt x="15377" y="44879"/>
                  </a:lnTo>
                  <a:lnTo>
                    <a:pt x="14751" y="47650"/>
                  </a:lnTo>
                  <a:lnTo>
                    <a:pt x="14081" y="50332"/>
                  </a:lnTo>
                  <a:lnTo>
                    <a:pt x="13321" y="52969"/>
                  </a:lnTo>
                  <a:lnTo>
                    <a:pt x="12516" y="55562"/>
                  </a:lnTo>
                  <a:lnTo>
                    <a:pt x="11712" y="57976"/>
                  </a:lnTo>
                  <a:lnTo>
                    <a:pt x="10862" y="60345"/>
                  </a:lnTo>
                  <a:lnTo>
                    <a:pt x="10058" y="62535"/>
                  </a:lnTo>
                  <a:lnTo>
                    <a:pt x="9253" y="64591"/>
                  </a:lnTo>
                  <a:lnTo>
                    <a:pt x="7733" y="68257"/>
                  </a:lnTo>
                  <a:lnTo>
                    <a:pt x="6526" y="71117"/>
                  </a:lnTo>
                  <a:lnTo>
                    <a:pt x="5677" y="73173"/>
                  </a:lnTo>
                  <a:lnTo>
                    <a:pt x="5409" y="73799"/>
                  </a:lnTo>
                  <a:lnTo>
                    <a:pt x="5320" y="74202"/>
                  </a:lnTo>
                  <a:lnTo>
                    <a:pt x="5320" y="74202"/>
                  </a:lnTo>
                  <a:lnTo>
                    <a:pt x="5320" y="75230"/>
                  </a:lnTo>
                  <a:lnTo>
                    <a:pt x="5320" y="76079"/>
                  </a:lnTo>
                  <a:lnTo>
                    <a:pt x="5454" y="76749"/>
                  </a:lnTo>
                  <a:lnTo>
                    <a:pt x="5588" y="77286"/>
                  </a:lnTo>
                  <a:lnTo>
                    <a:pt x="5767" y="77733"/>
                  </a:lnTo>
                  <a:lnTo>
                    <a:pt x="5990" y="78135"/>
                  </a:lnTo>
                  <a:lnTo>
                    <a:pt x="6437" y="78850"/>
                  </a:lnTo>
                  <a:lnTo>
                    <a:pt x="8225" y="82292"/>
                  </a:lnTo>
                  <a:lnTo>
                    <a:pt x="2995" y="82828"/>
                  </a:lnTo>
                  <a:lnTo>
                    <a:pt x="0" y="78493"/>
                  </a:lnTo>
                  <a:lnTo>
                    <a:pt x="0" y="78493"/>
                  </a:lnTo>
                  <a:lnTo>
                    <a:pt x="3398" y="61999"/>
                  </a:lnTo>
                  <a:lnTo>
                    <a:pt x="5856" y="49975"/>
                  </a:lnTo>
                  <a:lnTo>
                    <a:pt x="6795" y="45505"/>
                  </a:lnTo>
                  <a:lnTo>
                    <a:pt x="7331" y="43091"/>
                  </a:lnTo>
                  <a:lnTo>
                    <a:pt x="7331" y="43091"/>
                  </a:lnTo>
                  <a:lnTo>
                    <a:pt x="7420" y="42510"/>
                  </a:lnTo>
                  <a:lnTo>
                    <a:pt x="7555" y="41705"/>
                  </a:lnTo>
                  <a:lnTo>
                    <a:pt x="7733" y="39604"/>
                  </a:lnTo>
                  <a:lnTo>
                    <a:pt x="7867" y="36922"/>
                  </a:lnTo>
                  <a:lnTo>
                    <a:pt x="7957" y="33883"/>
                  </a:lnTo>
                  <a:lnTo>
                    <a:pt x="7957" y="33883"/>
                  </a:lnTo>
                  <a:lnTo>
                    <a:pt x="8046" y="30173"/>
                  </a:lnTo>
                  <a:lnTo>
                    <a:pt x="8046" y="30173"/>
                  </a:lnTo>
                  <a:lnTo>
                    <a:pt x="8180" y="23200"/>
                  </a:lnTo>
                  <a:lnTo>
                    <a:pt x="8225" y="20160"/>
                  </a:lnTo>
                  <a:lnTo>
                    <a:pt x="8225" y="20160"/>
                  </a:lnTo>
                  <a:lnTo>
                    <a:pt x="8225" y="19579"/>
                  </a:lnTo>
                  <a:lnTo>
                    <a:pt x="8225" y="18551"/>
                  </a:lnTo>
                  <a:lnTo>
                    <a:pt x="8091" y="15824"/>
                  </a:lnTo>
                  <a:lnTo>
                    <a:pt x="7867" y="13053"/>
                  </a:lnTo>
                  <a:lnTo>
                    <a:pt x="7733" y="12070"/>
                  </a:lnTo>
                  <a:lnTo>
                    <a:pt x="7644" y="11488"/>
                  </a:lnTo>
                  <a:lnTo>
                    <a:pt x="7644" y="11488"/>
                  </a:lnTo>
                  <a:lnTo>
                    <a:pt x="7510" y="10997"/>
                  </a:lnTo>
                  <a:lnTo>
                    <a:pt x="7465" y="10326"/>
                  </a:lnTo>
                  <a:lnTo>
                    <a:pt x="7465" y="9522"/>
                  </a:lnTo>
                  <a:lnTo>
                    <a:pt x="7510" y="8583"/>
                  </a:lnTo>
                  <a:lnTo>
                    <a:pt x="7644" y="7555"/>
                  </a:lnTo>
                  <a:lnTo>
                    <a:pt x="7867" y="6482"/>
                  </a:lnTo>
                  <a:lnTo>
                    <a:pt x="8091" y="5409"/>
                  </a:lnTo>
                  <a:lnTo>
                    <a:pt x="8449" y="4337"/>
                  </a:lnTo>
                  <a:lnTo>
                    <a:pt x="8851" y="3309"/>
                  </a:lnTo>
                  <a:lnTo>
                    <a:pt x="9074" y="2817"/>
                  </a:lnTo>
                  <a:lnTo>
                    <a:pt x="9298" y="2325"/>
                  </a:lnTo>
                  <a:lnTo>
                    <a:pt x="9566" y="1923"/>
                  </a:lnTo>
                  <a:lnTo>
                    <a:pt x="9879" y="1521"/>
                  </a:lnTo>
                  <a:lnTo>
                    <a:pt x="10147" y="1163"/>
                  </a:lnTo>
                  <a:lnTo>
                    <a:pt x="10460" y="850"/>
                  </a:lnTo>
                  <a:lnTo>
                    <a:pt x="10818" y="537"/>
                  </a:lnTo>
                  <a:lnTo>
                    <a:pt x="11175" y="314"/>
                  </a:lnTo>
                  <a:lnTo>
                    <a:pt x="11533" y="135"/>
                  </a:lnTo>
                  <a:lnTo>
                    <a:pt x="11935" y="45"/>
                  </a:lnTo>
                  <a:lnTo>
                    <a:pt x="12382" y="1"/>
                  </a:lnTo>
                  <a:lnTo>
                    <a:pt x="12784" y="1"/>
                  </a:lnTo>
                  <a:lnTo>
                    <a:pt x="13231" y="90"/>
                  </a:lnTo>
                  <a:lnTo>
                    <a:pt x="13723" y="224"/>
                  </a:lnTo>
                  <a:lnTo>
                    <a:pt x="13723" y="224"/>
                  </a:lnTo>
                  <a:lnTo>
                    <a:pt x="14483" y="582"/>
                  </a:lnTo>
                  <a:lnTo>
                    <a:pt x="15243" y="939"/>
                  </a:lnTo>
                  <a:lnTo>
                    <a:pt x="15913" y="1297"/>
                  </a:lnTo>
                  <a:lnTo>
                    <a:pt x="16539" y="1655"/>
                  </a:lnTo>
                  <a:lnTo>
                    <a:pt x="17165" y="2057"/>
                  </a:lnTo>
                  <a:lnTo>
                    <a:pt x="17701" y="2459"/>
                  </a:lnTo>
                  <a:lnTo>
                    <a:pt x="18238" y="2862"/>
                  </a:lnTo>
                  <a:lnTo>
                    <a:pt x="18729" y="3264"/>
                  </a:lnTo>
                  <a:lnTo>
                    <a:pt x="19176" y="3711"/>
                  </a:lnTo>
                  <a:lnTo>
                    <a:pt x="19579" y="4113"/>
                  </a:lnTo>
                  <a:lnTo>
                    <a:pt x="20294" y="4962"/>
                  </a:lnTo>
                  <a:lnTo>
                    <a:pt x="20920" y="5812"/>
                  </a:lnTo>
                  <a:lnTo>
                    <a:pt x="21411" y="6616"/>
                  </a:lnTo>
                  <a:lnTo>
                    <a:pt x="21769" y="7376"/>
                  </a:lnTo>
                  <a:lnTo>
                    <a:pt x="22082" y="8091"/>
                  </a:lnTo>
                  <a:lnTo>
                    <a:pt x="22305" y="8717"/>
                  </a:lnTo>
                  <a:lnTo>
                    <a:pt x="22484" y="9254"/>
                  </a:lnTo>
                  <a:lnTo>
                    <a:pt x="22618" y="10058"/>
                  </a:lnTo>
                  <a:lnTo>
                    <a:pt x="22663" y="10371"/>
                  </a:lnTo>
                  <a:lnTo>
                    <a:pt x="22663" y="10371"/>
                  </a:lnTo>
                  <a:lnTo>
                    <a:pt x="21322" y="16629"/>
                  </a:lnTo>
                  <a:lnTo>
                    <a:pt x="18104" y="31648"/>
                  </a:lnTo>
                  <a:lnTo>
                    <a:pt x="17746" y="3352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" name="Google Shape;2275;p11">
              <a:extLst>
                <a:ext uri="{FF2B5EF4-FFF2-40B4-BE49-F238E27FC236}">
                  <a16:creationId xmlns:a16="http://schemas.microsoft.com/office/drawing/2014/main" id="{40301A02-52D0-E8FE-6853-C9FB8F49BB2E}"/>
                </a:ext>
              </a:extLst>
            </p:cNvPr>
            <p:cNvSpPr/>
            <p:nvPr/>
          </p:nvSpPr>
          <p:spPr>
            <a:xfrm>
              <a:off x="8844244" y="1777814"/>
              <a:ext cx="100501" cy="81751"/>
            </a:xfrm>
            <a:custGeom>
              <a:avLst/>
              <a:gdLst/>
              <a:ahLst/>
              <a:cxnLst/>
              <a:rect l="l" t="t" r="r" b="b"/>
              <a:pathLst>
                <a:path w="16048" h="13054" extrusionOk="0">
                  <a:moveTo>
                    <a:pt x="2905" y="1"/>
                  </a:moveTo>
                  <a:lnTo>
                    <a:pt x="2727" y="46"/>
                  </a:lnTo>
                  <a:lnTo>
                    <a:pt x="2369" y="314"/>
                  </a:lnTo>
                  <a:lnTo>
                    <a:pt x="1922" y="671"/>
                  </a:lnTo>
                  <a:lnTo>
                    <a:pt x="1430" y="1118"/>
                  </a:lnTo>
                  <a:lnTo>
                    <a:pt x="983" y="1699"/>
                  </a:lnTo>
                  <a:lnTo>
                    <a:pt x="805" y="2012"/>
                  </a:lnTo>
                  <a:lnTo>
                    <a:pt x="626" y="2370"/>
                  </a:lnTo>
                  <a:lnTo>
                    <a:pt x="447" y="2728"/>
                  </a:lnTo>
                  <a:lnTo>
                    <a:pt x="313" y="3130"/>
                  </a:lnTo>
                  <a:lnTo>
                    <a:pt x="224" y="3577"/>
                  </a:lnTo>
                  <a:lnTo>
                    <a:pt x="179" y="4024"/>
                  </a:lnTo>
                  <a:lnTo>
                    <a:pt x="179" y="4516"/>
                  </a:lnTo>
                  <a:lnTo>
                    <a:pt x="268" y="5007"/>
                  </a:lnTo>
                  <a:lnTo>
                    <a:pt x="358" y="5544"/>
                  </a:lnTo>
                  <a:lnTo>
                    <a:pt x="402" y="6035"/>
                  </a:lnTo>
                  <a:lnTo>
                    <a:pt x="447" y="7063"/>
                  </a:lnTo>
                  <a:lnTo>
                    <a:pt x="447" y="8002"/>
                  </a:lnTo>
                  <a:lnTo>
                    <a:pt x="358" y="8851"/>
                  </a:lnTo>
                  <a:lnTo>
                    <a:pt x="224" y="9611"/>
                  </a:lnTo>
                  <a:lnTo>
                    <a:pt x="134" y="10148"/>
                  </a:lnTo>
                  <a:lnTo>
                    <a:pt x="0" y="10639"/>
                  </a:lnTo>
                  <a:lnTo>
                    <a:pt x="849" y="10863"/>
                  </a:lnTo>
                  <a:lnTo>
                    <a:pt x="983" y="10192"/>
                  </a:lnTo>
                  <a:lnTo>
                    <a:pt x="1162" y="9522"/>
                  </a:lnTo>
                  <a:lnTo>
                    <a:pt x="1386" y="8762"/>
                  </a:lnTo>
                  <a:lnTo>
                    <a:pt x="1609" y="7957"/>
                  </a:lnTo>
                  <a:lnTo>
                    <a:pt x="1922" y="7242"/>
                  </a:lnTo>
                  <a:lnTo>
                    <a:pt x="2056" y="6885"/>
                  </a:lnTo>
                  <a:lnTo>
                    <a:pt x="2235" y="6616"/>
                  </a:lnTo>
                  <a:lnTo>
                    <a:pt x="2414" y="6438"/>
                  </a:lnTo>
                  <a:lnTo>
                    <a:pt x="2593" y="6259"/>
                  </a:lnTo>
                  <a:lnTo>
                    <a:pt x="3174" y="6840"/>
                  </a:lnTo>
                  <a:lnTo>
                    <a:pt x="3934" y="7734"/>
                  </a:lnTo>
                  <a:lnTo>
                    <a:pt x="5856" y="9969"/>
                  </a:lnTo>
                  <a:lnTo>
                    <a:pt x="6839" y="11086"/>
                  </a:lnTo>
                  <a:lnTo>
                    <a:pt x="7778" y="12025"/>
                  </a:lnTo>
                  <a:lnTo>
                    <a:pt x="8180" y="12427"/>
                  </a:lnTo>
                  <a:lnTo>
                    <a:pt x="8582" y="12696"/>
                  </a:lnTo>
                  <a:lnTo>
                    <a:pt x="8895" y="12919"/>
                  </a:lnTo>
                  <a:lnTo>
                    <a:pt x="9163" y="13008"/>
                  </a:lnTo>
                  <a:lnTo>
                    <a:pt x="9923" y="13053"/>
                  </a:lnTo>
                  <a:lnTo>
                    <a:pt x="10728" y="13053"/>
                  </a:lnTo>
                  <a:lnTo>
                    <a:pt x="11532" y="13008"/>
                  </a:lnTo>
                  <a:lnTo>
                    <a:pt x="12292" y="12874"/>
                  </a:lnTo>
                  <a:lnTo>
                    <a:pt x="13052" y="12785"/>
                  </a:lnTo>
                  <a:lnTo>
                    <a:pt x="13678" y="12651"/>
                  </a:lnTo>
                  <a:lnTo>
                    <a:pt x="14170" y="12472"/>
                  </a:lnTo>
                  <a:lnTo>
                    <a:pt x="14483" y="12338"/>
                  </a:lnTo>
                  <a:lnTo>
                    <a:pt x="14840" y="12114"/>
                  </a:lnTo>
                  <a:lnTo>
                    <a:pt x="15198" y="11846"/>
                  </a:lnTo>
                  <a:lnTo>
                    <a:pt x="15555" y="11533"/>
                  </a:lnTo>
                  <a:lnTo>
                    <a:pt x="15824" y="11220"/>
                  </a:lnTo>
                  <a:lnTo>
                    <a:pt x="15958" y="11086"/>
                  </a:lnTo>
                  <a:lnTo>
                    <a:pt x="16002" y="10908"/>
                  </a:lnTo>
                  <a:lnTo>
                    <a:pt x="16047" y="10773"/>
                  </a:lnTo>
                  <a:lnTo>
                    <a:pt x="16047" y="10639"/>
                  </a:lnTo>
                  <a:lnTo>
                    <a:pt x="16002" y="10505"/>
                  </a:lnTo>
                  <a:lnTo>
                    <a:pt x="15913" y="10371"/>
                  </a:lnTo>
                  <a:lnTo>
                    <a:pt x="15734" y="10282"/>
                  </a:lnTo>
                  <a:lnTo>
                    <a:pt x="15511" y="10192"/>
                  </a:lnTo>
                  <a:lnTo>
                    <a:pt x="14974" y="10014"/>
                  </a:lnTo>
                  <a:lnTo>
                    <a:pt x="14483" y="9790"/>
                  </a:lnTo>
                  <a:lnTo>
                    <a:pt x="13499" y="9343"/>
                  </a:lnTo>
                  <a:lnTo>
                    <a:pt x="12605" y="8851"/>
                  </a:lnTo>
                  <a:lnTo>
                    <a:pt x="11801" y="8404"/>
                  </a:lnTo>
                  <a:lnTo>
                    <a:pt x="11175" y="7957"/>
                  </a:lnTo>
                  <a:lnTo>
                    <a:pt x="10683" y="7600"/>
                  </a:lnTo>
                  <a:lnTo>
                    <a:pt x="10236" y="7242"/>
                  </a:lnTo>
                  <a:lnTo>
                    <a:pt x="10057" y="7242"/>
                  </a:lnTo>
                  <a:lnTo>
                    <a:pt x="10013" y="7332"/>
                  </a:lnTo>
                  <a:lnTo>
                    <a:pt x="9968" y="7510"/>
                  </a:lnTo>
                  <a:lnTo>
                    <a:pt x="9879" y="7644"/>
                  </a:lnTo>
                  <a:lnTo>
                    <a:pt x="9789" y="7823"/>
                  </a:lnTo>
                  <a:lnTo>
                    <a:pt x="9610" y="7913"/>
                  </a:lnTo>
                  <a:lnTo>
                    <a:pt x="9387" y="7957"/>
                  </a:lnTo>
                  <a:lnTo>
                    <a:pt x="9074" y="7957"/>
                  </a:lnTo>
                  <a:lnTo>
                    <a:pt x="8627" y="7868"/>
                  </a:lnTo>
                  <a:lnTo>
                    <a:pt x="8135" y="7689"/>
                  </a:lnTo>
                  <a:lnTo>
                    <a:pt x="7733" y="7466"/>
                  </a:lnTo>
                  <a:lnTo>
                    <a:pt x="7331" y="7198"/>
                  </a:lnTo>
                  <a:lnTo>
                    <a:pt x="6973" y="6840"/>
                  </a:lnTo>
                  <a:lnTo>
                    <a:pt x="6571" y="6438"/>
                  </a:lnTo>
                  <a:lnTo>
                    <a:pt x="6213" y="5991"/>
                  </a:lnTo>
                  <a:lnTo>
                    <a:pt x="5856" y="5499"/>
                  </a:lnTo>
                  <a:lnTo>
                    <a:pt x="5140" y="4426"/>
                  </a:lnTo>
                  <a:lnTo>
                    <a:pt x="4559" y="3264"/>
                  </a:lnTo>
                  <a:lnTo>
                    <a:pt x="4023" y="2191"/>
                  </a:lnTo>
                  <a:lnTo>
                    <a:pt x="3576" y="1163"/>
                  </a:lnTo>
                  <a:lnTo>
                    <a:pt x="3308" y="269"/>
                  </a:lnTo>
                  <a:lnTo>
                    <a:pt x="3218" y="90"/>
                  </a:lnTo>
                  <a:lnTo>
                    <a:pt x="3084" y="1"/>
                  </a:lnTo>
                  <a:close/>
                </a:path>
              </a:pathLst>
            </a:custGeom>
            <a:solidFill>
              <a:srgbClr val="603A3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" name="Google Shape;2276;p11">
              <a:extLst>
                <a:ext uri="{FF2B5EF4-FFF2-40B4-BE49-F238E27FC236}">
                  <a16:creationId xmlns:a16="http://schemas.microsoft.com/office/drawing/2014/main" id="{6509ECD6-8C74-083C-1D26-1D8B455FE4E7}"/>
                </a:ext>
              </a:extLst>
            </p:cNvPr>
            <p:cNvSpPr/>
            <p:nvPr/>
          </p:nvSpPr>
          <p:spPr>
            <a:xfrm>
              <a:off x="8869157" y="1312298"/>
              <a:ext cx="319406" cy="393861"/>
            </a:xfrm>
            <a:custGeom>
              <a:avLst/>
              <a:gdLst/>
              <a:ahLst/>
              <a:cxnLst/>
              <a:rect l="l" t="t" r="r" b="b"/>
              <a:pathLst>
                <a:path w="51003" h="62892" extrusionOk="0">
                  <a:moveTo>
                    <a:pt x="6571" y="0"/>
                  </a:moveTo>
                  <a:lnTo>
                    <a:pt x="6392" y="45"/>
                  </a:lnTo>
                  <a:lnTo>
                    <a:pt x="6169" y="134"/>
                  </a:lnTo>
                  <a:lnTo>
                    <a:pt x="5990" y="224"/>
                  </a:lnTo>
                  <a:lnTo>
                    <a:pt x="671" y="4604"/>
                  </a:lnTo>
                  <a:lnTo>
                    <a:pt x="581" y="4738"/>
                  </a:lnTo>
                  <a:lnTo>
                    <a:pt x="447" y="4872"/>
                  </a:lnTo>
                  <a:lnTo>
                    <a:pt x="403" y="5006"/>
                  </a:lnTo>
                  <a:lnTo>
                    <a:pt x="313" y="5185"/>
                  </a:lnTo>
                  <a:lnTo>
                    <a:pt x="224" y="5722"/>
                  </a:lnTo>
                  <a:lnTo>
                    <a:pt x="90" y="6481"/>
                  </a:lnTo>
                  <a:lnTo>
                    <a:pt x="0" y="7331"/>
                  </a:lnTo>
                  <a:lnTo>
                    <a:pt x="0" y="8269"/>
                  </a:lnTo>
                  <a:lnTo>
                    <a:pt x="0" y="8716"/>
                  </a:lnTo>
                  <a:lnTo>
                    <a:pt x="45" y="9163"/>
                  </a:lnTo>
                  <a:lnTo>
                    <a:pt x="90" y="9610"/>
                  </a:lnTo>
                  <a:lnTo>
                    <a:pt x="179" y="10057"/>
                  </a:lnTo>
                  <a:lnTo>
                    <a:pt x="313" y="10415"/>
                  </a:lnTo>
                  <a:lnTo>
                    <a:pt x="492" y="10773"/>
                  </a:lnTo>
                  <a:lnTo>
                    <a:pt x="715" y="11130"/>
                  </a:lnTo>
                  <a:lnTo>
                    <a:pt x="984" y="11354"/>
                  </a:lnTo>
                  <a:lnTo>
                    <a:pt x="1967" y="12069"/>
                  </a:lnTo>
                  <a:lnTo>
                    <a:pt x="2861" y="12695"/>
                  </a:lnTo>
                  <a:lnTo>
                    <a:pt x="3710" y="13231"/>
                  </a:lnTo>
                  <a:lnTo>
                    <a:pt x="4515" y="13633"/>
                  </a:lnTo>
                  <a:lnTo>
                    <a:pt x="5230" y="13991"/>
                  </a:lnTo>
                  <a:lnTo>
                    <a:pt x="5901" y="14259"/>
                  </a:lnTo>
                  <a:lnTo>
                    <a:pt x="6526" y="14438"/>
                  </a:lnTo>
                  <a:lnTo>
                    <a:pt x="7107" y="14572"/>
                  </a:lnTo>
                  <a:lnTo>
                    <a:pt x="7644" y="14661"/>
                  </a:lnTo>
                  <a:lnTo>
                    <a:pt x="8091" y="14706"/>
                  </a:lnTo>
                  <a:lnTo>
                    <a:pt x="8538" y="14706"/>
                  </a:lnTo>
                  <a:lnTo>
                    <a:pt x="8940" y="14661"/>
                  </a:lnTo>
                  <a:lnTo>
                    <a:pt x="9253" y="14572"/>
                  </a:lnTo>
                  <a:lnTo>
                    <a:pt x="9521" y="14483"/>
                  </a:lnTo>
                  <a:lnTo>
                    <a:pt x="9968" y="14304"/>
                  </a:lnTo>
                  <a:lnTo>
                    <a:pt x="10192" y="14080"/>
                  </a:lnTo>
                  <a:lnTo>
                    <a:pt x="10594" y="13499"/>
                  </a:lnTo>
                  <a:lnTo>
                    <a:pt x="11667" y="11890"/>
                  </a:lnTo>
                  <a:lnTo>
                    <a:pt x="12740" y="10281"/>
                  </a:lnTo>
                  <a:lnTo>
                    <a:pt x="13142" y="9789"/>
                  </a:lnTo>
                  <a:lnTo>
                    <a:pt x="13276" y="9655"/>
                  </a:lnTo>
                  <a:lnTo>
                    <a:pt x="13365" y="9610"/>
                  </a:lnTo>
                  <a:lnTo>
                    <a:pt x="15958" y="11488"/>
                  </a:lnTo>
                  <a:lnTo>
                    <a:pt x="21813" y="15779"/>
                  </a:lnTo>
                  <a:lnTo>
                    <a:pt x="25032" y="18193"/>
                  </a:lnTo>
                  <a:lnTo>
                    <a:pt x="27982" y="20428"/>
                  </a:lnTo>
                  <a:lnTo>
                    <a:pt x="29234" y="21456"/>
                  </a:lnTo>
                  <a:lnTo>
                    <a:pt x="30262" y="22305"/>
                  </a:lnTo>
                  <a:lnTo>
                    <a:pt x="31066" y="22976"/>
                  </a:lnTo>
                  <a:lnTo>
                    <a:pt x="31558" y="23467"/>
                  </a:lnTo>
                  <a:lnTo>
                    <a:pt x="31737" y="23780"/>
                  </a:lnTo>
                  <a:lnTo>
                    <a:pt x="31960" y="24227"/>
                  </a:lnTo>
                  <a:lnTo>
                    <a:pt x="32184" y="24898"/>
                  </a:lnTo>
                  <a:lnTo>
                    <a:pt x="32452" y="25702"/>
                  </a:lnTo>
                  <a:lnTo>
                    <a:pt x="33122" y="27714"/>
                  </a:lnTo>
                  <a:lnTo>
                    <a:pt x="33838" y="30261"/>
                  </a:lnTo>
                  <a:lnTo>
                    <a:pt x="34597" y="33167"/>
                  </a:lnTo>
                  <a:lnTo>
                    <a:pt x="35447" y="36341"/>
                  </a:lnTo>
                  <a:lnTo>
                    <a:pt x="37145" y="43135"/>
                  </a:lnTo>
                  <a:lnTo>
                    <a:pt x="38754" y="49840"/>
                  </a:lnTo>
                  <a:lnTo>
                    <a:pt x="40095" y="55651"/>
                  </a:lnTo>
                  <a:lnTo>
                    <a:pt x="41392" y="61283"/>
                  </a:lnTo>
                  <a:lnTo>
                    <a:pt x="41526" y="61506"/>
                  </a:lnTo>
                  <a:lnTo>
                    <a:pt x="41660" y="61730"/>
                  </a:lnTo>
                  <a:lnTo>
                    <a:pt x="41883" y="61909"/>
                  </a:lnTo>
                  <a:lnTo>
                    <a:pt x="42107" y="61998"/>
                  </a:lnTo>
                  <a:lnTo>
                    <a:pt x="44878" y="62847"/>
                  </a:lnTo>
                  <a:lnTo>
                    <a:pt x="45057" y="62892"/>
                  </a:lnTo>
                  <a:lnTo>
                    <a:pt x="45191" y="62892"/>
                  </a:lnTo>
                  <a:lnTo>
                    <a:pt x="50019" y="62758"/>
                  </a:lnTo>
                  <a:lnTo>
                    <a:pt x="50198" y="62758"/>
                  </a:lnTo>
                  <a:lnTo>
                    <a:pt x="50376" y="62713"/>
                  </a:lnTo>
                  <a:lnTo>
                    <a:pt x="50555" y="62624"/>
                  </a:lnTo>
                  <a:lnTo>
                    <a:pt x="50689" y="62490"/>
                  </a:lnTo>
                  <a:lnTo>
                    <a:pt x="50779" y="62356"/>
                  </a:lnTo>
                  <a:lnTo>
                    <a:pt x="50868" y="62221"/>
                  </a:lnTo>
                  <a:lnTo>
                    <a:pt x="51002" y="61909"/>
                  </a:lnTo>
                  <a:lnTo>
                    <a:pt x="51002" y="61551"/>
                  </a:lnTo>
                  <a:lnTo>
                    <a:pt x="50957" y="61372"/>
                  </a:lnTo>
                  <a:lnTo>
                    <a:pt x="50868" y="61238"/>
                  </a:lnTo>
                  <a:lnTo>
                    <a:pt x="50779" y="61104"/>
                  </a:lnTo>
                  <a:lnTo>
                    <a:pt x="50644" y="60970"/>
                  </a:lnTo>
                  <a:lnTo>
                    <a:pt x="50510" y="60836"/>
                  </a:lnTo>
                  <a:lnTo>
                    <a:pt x="50332" y="60746"/>
                  </a:lnTo>
                  <a:lnTo>
                    <a:pt x="50242" y="60702"/>
                  </a:lnTo>
                  <a:lnTo>
                    <a:pt x="49348" y="60299"/>
                  </a:lnTo>
                  <a:lnTo>
                    <a:pt x="48544" y="59852"/>
                  </a:lnTo>
                  <a:lnTo>
                    <a:pt x="47873" y="59405"/>
                  </a:lnTo>
                  <a:lnTo>
                    <a:pt x="47337" y="58958"/>
                  </a:lnTo>
                  <a:lnTo>
                    <a:pt x="46890" y="58467"/>
                  </a:lnTo>
                  <a:lnTo>
                    <a:pt x="46487" y="57975"/>
                  </a:lnTo>
                  <a:lnTo>
                    <a:pt x="46175" y="57439"/>
                  </a:lnTo>
                  <a:lnTo>
                    <a:pt x="45951" y="56858"/>
                  </a:lnTo>
                  <a:lnTo>
                    <a:pt x="45817" y="56232"/>
                  </a:lnTo>
                  <a:lnTo>
                    <a:pt x="45683" y="55025"/>
                  </a:lnTo>
                  <a:lnTo>
                    <a:pt x="45325" y="51136"/>
                  </a:lnTo>
                  <a:lnTo>
                    <a:pt x="44834" y="45817"/>
                  </a:lnTo>
                  <a:lnTo>
                    <a:pt x="44208" y="39738"/>
                  </a:lnTo>
                  <a:lnTo>
                    <a:pt x="43895" y="36564"/>
                  </a:lnTo>
                  <a:lnTo>
                    <a:pt x="43493" y="33435"/>
                  </a:lnTo>
                  <a:lnTo>
                    <a:pt x="43090" y="30396"/>
                  </a:lnTo>
                  <a:lnTo>
                    <a:pt x="42643" y="27580"/>
                  </a:lnTo>
                  <a:lnTo>
                    <a:pt x="42196" y="25032"/>
                  </a:lnTo>
                  <a:lnTo>
                    <a:pt x="41928" y="23869"/>
                  </a:lnTo>
                  <a:lnTo>
                    <a:pt x="41660" y="22841"/>
                  </a:lnTo>
                  <a:lnTo>
                    <a:pt x="41392" y="21858"/>
                  </a:lnTo>
                  <a:lnTo>
                    <a:pt x="41124" y="21053"/>
                  </a:lnTo>
                  <a:lnTo>
                    <a:pt x="40811" y="20338"/>
                  </a:lnTo>
                  <a:lnTo>
                    <a:pt x="40542" y="19757"/>
                  </a:lnTo>
                  <a:lnTo>
                    <a:pt x="40006" y="18908"/>
                  </a:lnTo>
                  <a:lnTo>
                    <a:pt x="39291" y="17924"/>
                  </a:lnTo>
                  <a:lnTo>
                    <a:pt x="38442" y="16852"/>
                  </a:lnTo>
                  <a:lnTo>
                    <a:pt x="37503" y="15690"/>
                  </a:lnTo>
                  <a:lnTo>
                    <a:pt x="36520" y="14438"/>
                  </a:lnTo>
                  <a:lnTo>
                    <a:pt x="35402" y="13186"/>
                  </a:lnTo>
                  <a:lnTo>
                    <a:pt x="33122" y="10683"/>
                  </a:lnTo>
                  <a:lnTo>
                    <a:pt x="31916" y="9432"/>
                  </a:lnTo>
                  <a:lnTo>
                    <a:pt x="30798" y="8269"/>
                  </a:lnTo>
                  <a:lnTo>
                    <a:pt x="29681" y="7197"/>
                  </a:lnTo>
                  <a:lnTo>
                    <a:pt x="28608" y="6213"/>
                  </a:lnTo>
                  <a:lnTo>
                    <a:pt x="27669" y="5319"/>
                  </a:lnTo>
                  <a:lnTo>
                    <a:pt x="26775" y="4604"/>
                  </a:lnTo>
                  <a:lnTo>
                    <a:pt x="26015" y="4068"/>
                  </a:lnTo>
                  <a:lnTo>
                    <a:pt x="25434" y="3710"/>
                  </a:lnTo>
                  <a:lnTo>
                    <a:pt x="25211" y="3621"/>
                  </a:lnTo>
                  <a:lnTo>
                    <a:pt x="24987" y="3576"/>
                  </a:lnTo>
                  <a:lnTo>
                    <a:pt x="24764" y="3531"/>
                  </a:lnTo>
                  <a:lnTo>
                    <a:pt x="24585" y="3531"/>
                  </a:lnTo>
                  <a:lnTo>
                    <a:pt x="24406" y="3576"/>
                  </a:lnTo>
                  <a:lnTo>
                    <a:pt x="24272" y="3665"/>
                  </a:lnTo>
                  <a:lnTo>
                    <a:pt x="23959" y="3844"/>
                  </a:lnTo>
                  <a:lnTo>
                    <a:pt x="23736" y="4112"/>
                  </a:lnTo>
                  <a:lnTo>
                    <a:pt x="23512" y="4425"/>
                  </a:lnTo>
                  <a:lnTo>
                    <a:pt x="23378" y="4783"/>
                  </a:lnTo>
                  <a:lnTo>
                    <a:pt x="23244" y="5141"/>
                  </a:lnTo>
                  <a:lnTo>
                    <a:pt x="23065" y="5722"/>
                  </a:lnTo>
                  <a:lnTo>
                    <a:pt x="22976" y="6258"/>
                  </a:lnTo>
                  <a:lnTo>
                    <a:pt x="22931" y="6750"/>
                  </a:lnTo>
                  <a:lnTo>
                    <a:pt x="21501" y="5990"/>
                  </a:lnTo>
                  <a:lnTo>
                    <a:pt x="19802" y="5096"/>
                  </a:lnTo>
                  <a:lnTo>
                    <a:pt x="16047" y="3263"/>
                  </a:lnTo>
                  <a:lnTo>
                    <a:pt x="12695" y="1654"/>
                  </a:lnTo>
                  <a:lnTo>
                    <a:pt x="11443" y="1028"/>
                  </a:lnTo>
                  <a:lnTo>
                    <a:pt x="10639" y="626"/>
                  </a:lnTo>
                  <a:lnTo>
                    <a:pt x="10460" y="536"/>
                  </a:lnTo>
                  <a:lnTo>
                    <a:pt x="10281" y="492"/>
                  </a:lnTo>
                  <a:lnTo>
                    <a:pt x="6795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" name="Google Shape;2277;p11">
              <a:extLst>
                <a:ext uri="{FF2B5EF4-FFF2-40B4-BE49-F238E27FC236}">
                  <a16:creationId xmlns:a16="http://schemas.microsoft.com/office/drawing/2014/main" id="{AE9EE37D-CEE0-F7E7-635C-BF664490707C}"/>
                </a:ext>
              </a:extLst>
            </p:cNvPr>
            <p:cNvSpPr/>
            <p:nvPr/>
          </p:nvSpPr>
          <p:spPr>
            <a:xfrm>
              <a:off x="8869157" y="1312298"/>
              <a:ext cx="319406" cy="393861"/>
            </a:xfrm>
            <a:custGeom>
              <a:avLst/>
              <a:gdLst/>
              <a:ahLst/>
              <a:cxnLst/>
              <a:rect l="l" t="t" r="r" b="b"/>
              <a:pathLst>
                <a:path w="51003" h="62892" fill="none" extrusionOk="0">
                  <a:moveTo>
                    <a:pt x="6795" y="0"/>
                  </a:moveTo>
                  <a:lnTo>
                    <a:pt x="10281" y="492"/>
                  </a:lnTo>
                  <a:lnTo>
                    <a:pt x="10281" y="492"/>
                  </a:lnTo>
                  <a:lnTo>
                    <a:pt x="10460" y="536"/>
                  </a:lnTo>
                  <a:lnTo>
                    <a:pt x="10639" y="626"/>
                  </a:lnTo>
                  <a:lnTo>
                    <a:pt x="10639" y="626"/>
                  </a:lnTo>
                  <a:lnTo>
                    <a:pt x="11443" y="1028"/>
                  </a:lnTo>
                  <a:lnTo>
                    <a:pt x="12695" y="1654"/>
                  </a:lnTo>
                  <a:lnTo>
                    <a:pt x="16047" y="3263"/>
                  </a:lnTo>
                  <a:lnTo>
                    <a:pt x="19802" y="5096"/>
                  </a:lnTo>
                  <a:lnTo>
                    <a:pt x="21501" y="5990"/>
                  </a:lnTo>
                  <a:lnTo>
                    <a:pt x="22931" y="6750"/>
                  </a:lnTo>
                  <a:lnTo>
                    <a:pt x="22931" y="6750"/>
                  </a:lnTo>
                  <a:lnTo>
                    <a:pt x="22976" y="6258"/>
                  </a:lnTo>
                  <a:lnTo>
                    <a:pt x="23065" y="5722"/>
                  </a:lnTo>
                  <a:lnTo>
                    <a:pt x="23244" y="5141"/>
                  </a:lnTo>
                  <a:lnTo>
                    <a:pt x="23244" y="5141"/>
                  </a:lnTo>
                  <a:lnTo>
                    <a:pt x="23378" y="4783"/>
                  </a:lnTo>
                  <a:lnTo>
                    <a:pt x="23512" y="4425"/>
                  </a:lnTo>
                  <a:lnTo>
                    <a:pt x="23736" y="4112"/>
                  </a:lnTo>
                  <a:lnTo>
                    <a:pt x="23959" y="3844"/>
                  </a:lnTo>
                  <a:lnTo>
                    <a:pt x="24272" y="3665"/>
                  </a:lnTo>
                  <a:lnTo>
                    <a:pt x="24406" y="3576"/>
                  </a:lnTo>
                  <a:lnTo>
                    <a:pt x="24585" y="3531"/>
                  </a:lnTo>
                  <a:lnTo>
                    <a:pt x="24764" y="3531"/>
                  </a:lnTo>
                  <a:lnTo>
                    <a:pt x="24987" y="3576"/>
                  </a:lnTo>
                  <a:lnTo>
                    <a:pt x="25211" y="3621"/>
                  </a:lnTo>
                  <a:lnTo>
                    <a:pt x="25434" y="3710"/>
                  </a:lnTo>
                  <a:lnTo>
                    <a:pt x="25434" y="3710"/>
                  </a:lnTo>
                  <a:lnTo>
                    <a:pt x="26015" y="4068"/>
                  </a:lnTo>
                  <a:lnTo>
                    <a:pt x="26775" y="4604"/>
                  </a:lnTo>
                  <a:lnTo>
                    <a:pt x="27669" y="5319"/>
                  </a:lnTo>
                  <a:lnTo>
                    <a:pt x="28608" y="6213"/>
                  </a:lnTo>
                  <a:lnTo>
                    <a:pt x="29681" y="7197"/>
                  </a:lnTo>
                  <a:lnTo>
                    <a:pt x="30798" y="8269"/>
                  </a:lnTo>
                  <a:lnTo>
                    <a:pt x="31916" y="9432"/>
                  </a:lnTo>
                  <a:lnTo>
                    <a:pt x="33122" y="10683"/>
                  </a:lnTo>
                  <a:lnTo>
                    <a:pt x="35402" y="13186"/>
                  </a:lnTo>
                  <a:lnTo>
                    <a:pt x="36520" y="14438"/>
                  </a:lnTo>
                  <a:lnTo>
                    <a:pt x="37503" y="15690"/>
                  </a:lnTo>
                  <a:lnTo>
                    <a:pt x="38442" y="16852"/>
                  </a:lnTo>
                  <a:lnTo>
                    <a:pt x="39291" y="17924"/>
                  </a:lnTo>
                  <a:lnTo>
                    <a:pt x="40006" y="18908"/>
                  </a:lnTo>
                  <a:lnTo>
                    <a:pt x="40542" y="19757"/>
                  </a:lnTo>
                  <a:lnTo>
                    <a:pt x="40542" y="19757"/>
                  </a:lnTo>
                  <a:lnTo>
                    <a:pt x="40811" y="20338"/>
                  </a:lnTo>
                  <a:lnTo>
                    <a:pt x="41124" y="21053"/>
                  </a:lnTo>
                  <a:lnTo>
                    <a:pt x="41392" y="21858"/>
                  </a:lnTo>
                  <a:lnTo>
                    <a:pt x="41660" y="22841"/>
                  </a:lnTo>
                  <a:lnTo>
                    <a:pt x="41928" y="23869"/>
                  </a:lnTo>
                  <a:lnTo>
                    <a:pt x="42196" y="25032"/>
                  </a:lnTo>
                  <a:lnTo>
                    <a:pt x="42643" y="27580"/>
                  </a:lnTo>
                  <a:lnTo>
                    <a:pt x="43090" y="30396"/>
                  </a:lnTo>
                  <a:lnTo>
                    <a:pt x="43493" y="33435"/>
                  </a:lnTo>
                  <a:lnTo>
                    <a:pt x="43895" y="36564"/>
                  </a:lnTo>
                  <a:lnTo>
                    <a:pt x="44208" y="39738"/>
                  </a:lnTo>
                  <a:lnTo>
                    <a:pt x="44834" y="45817"/>
                  </a:lnTo>
                  <a:lnTo>
                    <a:pt x="45325" y="51136"/>
                  </a:lnTo>
                  <a:lnTo>
                    <a:pt x="45683" y="55025"/>
                  </a:lnTo>
                  <a:lnTo>
                    <a:pt x="45817" y="56232"/>
                  </a:lnTo>
                  <a:lnTo>
                    <a:pt x="45951" y="56858"/>
                  </a:lnTo>
                  <a:lnTo>
                    <a:pt x="45951" y="56858"/>
                  </a:lnTo>
                  <a:lnTo>
                    <a:pt x="46175" y="57439"/>
                  </a:lnTo>
                  <a:lnTo>
                    <a:pt x="46487" y="57975"/>
                  </a:lnTo>
                  <a:lnTo>
                    <a:pt x="46890" y="58467"/>
                  </a:lnTo>
                  <a:lnTo>
                    <a:pt x="47337" y="58958"/>
                  </a:lnTo>
                  <a:lnTo>
                    <a:pt x="47873" y="59405"/>
                  </a:lnTo>
                  <a:lnTo>
                    <a:pt x="48544" y="59852"/>
                  </a:lnTo>
                  <a:lnTo>
                    <a:pt x="49348" y="60299"/>
                  </a:lnTo>
                  <a:lnTo>
                    <a:pt x="50242" y="60702"/>
                  </a:lnTo>
                  <a:lnTo>
                    <a:pt x="50242" y="60702"/>
                  </a:lnTo>
                  <a:lnTo>
                    <a:pt x="50332" y="60746"/>
                  </a:lnTo>
                  <a:lnTo>
                    <a:pt x="50332" y="60746"/>
                  </a:lnTo>
                  <a:lnTo>
                    <a:pt x="50510" y="60836"/>
                  </a:lnTo>
                  <a:lnTo>
                    <a:pt x="50644" y="60970"/>
                  </a:lnTo>
                  <a:lnTo>
                    <a:pt x="50779" y="61104"/>
                  </a:lnTo>
                  <a:lnTo>
                    <a:pt x="50868" y="61238"/>
                  </a:lnTo>
                  <a:lnTo>
                    <a:pt x="50957" y="61372"/>
                  </a:lnTo>
                  <a:lnTo>
                    <a:pt x="51002" y="61551"/>
                  </a:lnTo>
                  <a:lnTo>
                    <a:pt x="51002" y="61909"/>
                  </a:lnTo>
                  <a:lnTo>
                    <a:pt x="50868" y="62221"/>
                  </a:lnTo>
                  <a:lnTo>
                    <a:pt x="50779" y="62356"/>
                  </a:lnTo>
                  <a:lnTo>
                    <a:pt x="50689" y="62490"/>
                  </a:lnTo>
                  <a:lnTo>
                    <a:pt x="50555" y="62624"/>
                  </a:lnTo>
                  <a:lnTo>
                    <a:pt x="50376" y="62713"/>
                  </a:lnTo>
                  <a:lnTo>
                    <a:pt x="50198" y="62758"/>
                  </a:lnTo>
                  <a:lnTo>
                    <a:pt x="50019" y="62758"/>
                  </a:lnTo>
                  <a:lnTo>
                    <a:pt x="45191" y="62892"/>
                  </a:lnTo>
                  <a:lnTo>
                    <a:pt x="45191" y="62892"/>
                  </a:lnTo>
                  <a:lnTo>
                    <a:pt x="45057" y="62892"/>
                  </a:lnTo>
                  <a:lnTo>
                    <a:pt x="44878" y="62847"/>
                  </a:lnTo>
                  <a:lnTo>
                    <a:pt x="42107" y="61998"/>
                  </a:lnTo>
                  <a:lnTo>
                    <a:pt x="42107" y="61998"/>
                  </a:lnTo>
                  <a:lnTo>
                    <a:pt x="41883" y="61909"/>
                  </a:lnTo>
                  <a:lnTo>
                    <a:pt x="41660" y="61730"/>
                  </a:lnTo>
                  <a:lnTo>
                    <a:pt x="41526" y="61506"/>
                  </a:lnTo>
                  <a:lnTo>
                    <a:pt x="41392" y="61283"/>
                  </a:lnTo>
                  <a:lnTo>
                    <a:pt x="41392" y="61283"/>
                  </a:lnTo>
                  <a:lnTo>
                    <a:pt x="40095" y="55651"/>
                  </a:lnTo>
                  <a:lnTo>
                    <a:pt x="38754" y="49840"/>
                  </a:lnTo>
                  <a:lnTo>
                    <a:pt x="37145" y="43135"/>
                  </a:lnTo>
                  <a:lnTo>
                    <a:pt x="35447" y="36341"/>
                  </a:lnTo>
                  <a:lnTo>
                    <a:pt x="34597" y="33167"/>
                  </a:lnTo>
                  <a:lnTo>
                    <a:pt x="33838" y="30261"/>
                  </a:lnTo>
                  <a:lnTo>
                    <a:pt x="33122" y="27714"/>
                  </a:lnTo>
                  <a:lnTo>
                    <a:pt x="32452" y="25702"/>
                  </a:lnTo>
                  <a:lnTo>
                    <a:pt x="32184" y="24898"/>
                  </a:lnTo>
                  <a:lnTo>
                    <a:pt x="31960" y="24227"/>
                  </a:lnTo>
                  <a:lnTo>
                    <a:pt x="31737" y="23780"/>
                  </a:lnTo>
                  <a:lnTo>
                    <a:pt x="31558" y="23467"/>
                  </a:lnTo>
                  <a:lnTo>
                    <a:pt x="31558" y="23467"/>
                  </a:lnTo>
                  <a:lnTo>
                    <a:pt x="31066" y="22976"/>
                  </a:lnTo>
                  <a:lnTo>
                    <a:pt x="30262" y="22305"/>
                  </a:lnTo>
                  <a:lnTo>
                    <a:pt x="29234" y="21456"/>
                  </a:lnTo>
                  <a:lnTo>
                    <a:pt x="27982" y="20428"/>
                  </a:lnTo>
                  <a:lnTo>
                    <a:pt x="25032" y="18193"/>
                  </a:lnTo>
                  <a:lnTo>
                    <a:pt x="21813" y="15779"/>
                  </a:lnTo>
                  <a:lnTo>
                    <a:pt x="15958" y="11488"/>
                  </a:lnTo>
                  <a:lnTo>
                    <a:pt x="13365" y="9610"/>
                  </a:lnTo>
                  <a:lnTo>
                    <a:pt x="13365" y="9610"/>
                  </a:lnTo>
                  <a:lnTo>
                    <a:pt x="13276" y="9655"/>
                  </a:lnTo>
                  <a:lnTo>
                    <a:pt x="13142" y="9789"/>
                  </a:lnTo>
                  <a:lnTo>
                    <a:pt x="12740" y="10281"/>
                  </a:lnTo>
                  <a:lnTo>
                    <a:pt x="11667" y="11890"/>
                  </a:lnTo>
                  <a:lnTo>
                    <a:pt x="10594" y="13499"/>
                  </a:lnTo>
                  <a:lnTo>
                    <a:pt x="10192" y="14080"/>
                  </a:lnTo>
                  <a:lnTo>
                    <a:pt x="9968" y="14304"/>
                  </a:lnTo>
                  <a:lnTo>
                    <a:pt x="9968" y="14304"/>
                  </a:lnTo>
                  <a:lnTo>
                    <a:pt x="9521" y="14483"/>
                  </a:lnTo>
                  <a:lnTo>
                    <a:pt x="9253" y="14572"/>
                  </a:lnTo>
                  <a:lnTo>
                    <a:pt x="8940" y="14661"/>
                  </a:lnTo>
                  <a:lnTo>
                    <a:pt x="8538" y="14706"/>
                  </a:lnTo>
                  <a:lnTo>
                    <a:pt x="8091" y="14706"/>
                  </a:lnTo>
                  <a:lnTo>
                    <a:pt x="7644" y="14661"/>
                  </a:lnTo>
                  <a:lnTo>
                    <a:pt x="7107" y="14572"/>
                  </a:lnTo>
                  <a:lnTo>
                    <a:pt x="6526" y="14438"/>
                  </a:lnTo>
                  <a:lnTo>
                    <a:pt x="5901" y="14259"/>
                  </a:lnTo>
                  <a:lnTo>
                    <a:pt x="5230" y="13991"/>
                  </a:lnTo>
                  <a:lnTo>
                    <a:pt x="4515" y="13633"/>
                  </a:lnTo>
                  <a:lnTo>
                    <a:pt x="3710" y="13231"/>
                  </a:lnTo>
                  <a:lnTo>
                    <a:pt x="2861" y="12695"/>
                  </a:lnTo>
                  <a:lnTo>
                    <a:pt x="1967" y="12069"/>
                  </a:lnTo>
                  <a:lnTo>
                    <a:pt x="984" y="11354"/>
                  </a:lnTo>
                  <a:lnTo>
                    <a:pt x="984" y="11354"/>
                  </a:lnTo>
                  <a:lnTo>
                    <a:pt x="715" y="11130"/>
                  </a:lnTo>
                  <a:lnTo>
                    <a:pt x="492" y="10773"/>
                  </a:lnTo>
                  <a:lnTo>
                    <a:pt x="313" y="10415"/>
                  </a:lnTo>
                  <a:lnTo>
                    <a:pt x="179" y="10057"/>
                  </a:lnTo>
                  <a:lnTo>
                    <a:pt x="90" y="9610"/>
                  </a:lnTo>
                  <a:lnTo>
                    <a:pt x="45" y="9163"/>
                  </a:lnTo>
                  <a:lnTo>
                    <a:pt x="0" y="8716"/>
                  </a:lnTo>
                  <a:lnTo>
                    <a:pt x="0" y="8269"/>
                  </a:lnTo>
                  <a:lnTo>
                    <a:pt x="0" y="7331"/>
                  </a:lnTo>
                  <a:lnTo>
                    <a:pt x="90" y="6481"/>
                  </a:lnTo>
                  <a:lnTo>
                    <a:pt x="224" y="5722"/>
                  </a:lnTo>
                  <a:lnTo>
                    <a:pt x="313" y="5185"/>
                  </a:lnTo>
                  <a:lnTo>
                    <a:pt x="313" y="5185"/>
                  </a:lnTo>
                  <a:lnTo>
                    <a:pt x="403" y="5006"/>
                  </a:lnTo>
                  <a:lnTo>
                    <a:pt x="447" y="4872"/>
                  </a:lnTo>
                  <a:lnTo>
                    <a:pt x="581" y="4738"/>
                  </a:lnTo>
                  <a:lnTo>
                    <a:pt x="671" y="4604"/>
                  </a:lnTo>
                  <a:lnTo>
                    <a:pt x="5990" y="224"/>
                  </a:lnTo>
                  <a:lnTo>
                    <a:pt x="5990" y="224"/>
                  </a:lnTo>
                  <a:lnTo>
                    <a:pt x="6169" y="134"/>
                  </a:lnTo>
                  <a:lnTo>
                    <a:pt x="6392" y="45"/>
                  </a:lnTo>
                  <a:lnTo>
                    <a:pt x="6571" y="0"/>
                  </a:lnTo>
                  <a:lnTo>
                    <a:pt x="679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" name="Google Shape;2278;p11">
              <a:extLst>
                <a:ext uri="{FF2B5EF4-FFF2-40B4-BE49-F238E27FC236}">
                  <a16:creationId xmlns:a16="http://schemas.microsoft.com/office/drawing/2014/main" id="{FFE0408C-EE3B-6346-1BDE-B0EA435A5592}"/>
                </a:ext>
              </a:extLst>
            </p:cNvPr>
            <p:cNvSpPr/>
            <p:nvPr/>
          </p:nvSpPr>
          <p:spPr>
            <a:xfrm>
              <a:off x="9124447" y="1691317"/>
              <a:ext cx="108341" cy="48434"/>
            </a:xfrm>
            <a:custGeom>
              <a:avLst/>
              <a:gdLst/>
              <a:ahLst/>
              <a:cxnLst/>
              <a:rect l="l" t="t" r="r" b="b"/>
              <a:pathLst>
                <a:path w="17300" h="7734" extrusionOk="0">
                  <a:moveTo>
                    <a:pt x="403" y="1"/>
                  </a:moveTo>
                  <a:lnTo>
                    <a:pt x="269" y="90"/>
                  </a:lnTo>
                  <a:lnTo>
                    <a:pt x="180" y="269"/>
                  </a:lnTo>
                  <a:lnTo>
                    <a:pt x="90" y="671"/>
                  </a:lnTo>
                  <a:lnTo>
                    <a:pt x="1" y="1252"/>
                  </a:lnTo>
                  <a:lnTo>
                    <a:pt x="1" y="1878"/>
                  </a:lnTo>
                  <a:lnTo>
                    <a:pt x="46" y="2549"/>
                  </a:lnTo>
                  <a:lnTo>
                    <a:pt x="135" y="2906"/>
                  </a:lnTo>
                  <a:lnTo>
                    <a:pt x="224" y="3264"/>
                  </a:lnTo>
                  <a:lnTo>
                    <a:pt x="359" y="3621"/>
                  </a:lnTo>
                  <a:lnTo>
                    <a:pt x="537" y="3979"/>
                  </a:lnTo>
                  <a:lnTo>
                    <a:pt x="761" y="4337"/>
                  </a:lnTo>
                  <a:lnTo>
                    <a:pt x="1029" y="4694"/>
                  </a:lnTo>
                  <a:lnTo>
                    <a:pt x="1342" y="5007"/>
                  </a:lnTo>
                  <a:lnTo>
                    <a:pt x="1700" y="5320"/>
                  </a:lnTo>
                  <a:lnTo>
                    <a:pt x="2459" y="5856"/>
                  </a:lnTo>
                  <a:lnTo>
                    <a:pt x="3041" y="6348"/>
                  </a:lnTo>
                  <a:lnTo>
                    <a:pt x="3488" y="6750"/>
                  </a:lnTo>
                  <a:lnTo>
                    <a:pt x="3845" y="7108"/>
                  </a:lnTo>
                  <a:lnTo>
                    <a:pt x="4069" y="7376"/>
                  </a:lnTo>
                  <a:lnTo>
                    <a:pt x="4203" y="7555"/>
                  </a:lnTo>
                  <a:lnTo>
                    <a:pt x="4292" y="7734"/>
                  </a:lnTo>
                  <a:lnTo>
                    <a:pt x="5320" y="7734"/>
                  </a:lnTo>
                  <a:lnTo>
                    <a:pt x="5097" y="7376"/>
                  </a:lnTo>
                  <a:lnTo>
                    <a:pt x="4873" y="7019"/>
                  </a:lnTo>
                  <a:lnTo>
                    <a:pt x="4605" y="6572"/>
                  </a:lnTo>
                  <a:lnTo>
                    <a:pt x="4381" y="6080"/>
                  </a:lnTo>
                  <a:lnTo>
                    <a:pt x="4203" y="5588"/>
                  </a:lnTo>
                  <a:lnTo>
                    <a:pt x="4113" y="5320"/>
                  </a:lnTo>
                  <a:lnTo>
                    <a:pt x="4113" y="5097"/>
                  </a:lnTo>
                  <a:lnTo>
                    <a:pt x="4069" y="4873"/>
                  </a:lnTo>
                  <a:lnTo>
                    <a:pt x="4113" y="4650"/>
                  </a:lnTo>
                  <a:lnTo>
                    <a:pt x="4605" y="4650"/>
                  </a:lnTo>
                  <a:lnTo>
                    <a:pt x="5231" y="4694"/>
                  </a:lnTo>
                  <a:lnTo>
                    <a:pt x="6840" y="4784"/>
                  </a:lnTo>
                  <a:lnTo>
                    <a:pt x="8673" y="4918"/>
                  </a:lnTo>
                  <a:lnTo>
                    <a:pt x="10550" y="5007"/>
                  </a:lnTo>
                  <a:lnTo>
                    <a:pt x="11936" y="5052"/>
                  </a:lnTo>
                  <a:lnTo>
                    <a:pt x="12472" y="5007"/>
                  </a:lnTo>
                  <a:lnTo>
                    <a:pt x="12919" y="4962"/>
                  </a:lnTo>
                  <a:lnTo>
                    <a:pt x="13053" y="4918"/>
                  </a:lnTo>
                  <a:lnTo>
                    <a:pt x="14171" y="4471"/>
                  </a:lnTo>
                  <a:lnTo>
                    <a:pt x="14841" y="4158"/>
                  </a:lnTo>
                  <a:lnTo>
                    <a:pt x="15512" y="3845"/>
                  </a:lnTo>
                  <a:lnTo>
                    <a:pt x="16093" y="3487"/>
                  </a:lnTo>
                  <a:lnTo>
                    <a:pt x="16629" y="3175"/>
                  </a:lnTo>
                  <a:lnTo>
                    <a:pt x="17031" y="2862"/>
                  </a:lnTo>
                  <a:lnTo>
                    <a:pt x="17165" y="2683"/>
                  </a:lnTo>
                  <a:lnTo>
                    <a:pt x="17255" y="2549"/>
                  </a:lnTo>
                  <a:lnTo>
                    <a:pt x="17300" y="2415"/>
                  </a:lnTo>
                  <a:lnTo>
                    <a:pt x="17300" y="2236"/>
                  </a:lnTo>
                  <a:lnTo>
                    <a:pt x="17255" y="1923"/>
                  </a:lnTo>
                  <a:lnTo>
                    <a:pt x="17076" y="1610"/>
                  </a:lnTo>
                  <a:lnTo>
                    <a:pt x="16853" y="1252"/>
                  </a:lnTo>
                  <a:lnTo>
                    <a:pt x="16495" y="984"/>
                  </a:lnTo>
                  <a:lnTo>
                    <a:pt x="16093" y="671"/>
                  </a:lnTo>
                  <a:lnTo>
                    <a:pt x="15646" y="448"/>
                  </a:lnTo>
                  <a:lnTo>
                    <a:pt x="15109" y="314"/>
                  </a:lnTo>
                  <a:lnTo>
                    <a:pt x="14573" y="224"/>
                  </a:lnTo>
                  <a:lnTo>
                    <a:pt x="13947" y="180"/>
                  </a:lnTo>
                  <a:lnTo>
                    <a:pt x="12561" y="180"/>
                  </a:lnTo>
                  <a:lnTo>
                    <a:pt x="11176" y="224"/>
                  </a:lnTo>
                  <a:lnTo>
                    <a:pt x="10237" y="269"/>
                  </a:lnTo>
                  <a:lnTo>
                    <a:pt x="10014" y="269"/>
                  </a:lnTo>
                  <a:lnTo>
                    <a:pt x="9924" y="314"/>
                  </a:lnTo>
                  <a:lnTo>
                    <a:pt x="9924" y="403"/>
                  </a:lnTo>
                  <a:lnTo>
                    <a:pt x="9924" y="493"/>
                  </a:lnTo>
                  <a:lnTo>
                    <a:pt x="10058" y="761"/>
                  </a:lnTo>
                  <a:lnTo>
                    <a:pt x="10058" y="940"/>
                  </a:lnTo>
                  <a:lnTo>
                    <a:pt x="10014" y="1163"/>
                  </a:lnTo>
                  <a:lnTo>
                    <a:pt x="9879" y="1342"/>
                  </a:lnTo>
                  <a:lnTo>
                    <a:pt x="9701" y="1565"/>
                  </a:lnTo>
                  <a:lnTo>
                    <a:pt x="9343" y="1744"/>
                  </a:lnTo>
                  <a:lnTo>
                    <a:pt x="8851" y="1968"/>
                  </a:lnTo>
                  <a:lnTo>
                    <a:pt x="8449" y="2057"/>
                  </a:lnTo>
                  <a:lnTo>
                    <a:pt x="8002" y="2146"/>
                  </a:lnTo>
                  <a:lnTo>
                    <a:pt x="7510" y="2146"/>
                  </a:lnTo>
                  <a:lnTo>
                    <a:pt x="6974" y="2102"/>
                  </a:lnTo>
                  <a:lnTo>
                    <a:pt x="6393" y="2057"/>
                  </a:lnTo>
                  <a:lnTo>
                    <a:pt x="5857" y="1968"/>
                  </a:lnTo>
                  <a:lnTo>
                    <a:pt x="4650" y="1655"/>
                  </a:lnTo>
                  <a:lnTo>
                    <a:pt x="3488" y="1297"/>
                  </a:lnTo>
                  <a:lnTo>
                    <a:pt x="2415" y="895"/>
                  </a:lnTo>
                  <a:lnTo>
                    <a:pt x="1476" y="448"/>
                  </a:lnTo>
                  <a:lnTo>
                    <a:pt x="716" y="46"/>
                  </a:lnTo>
                  <a:lnTo>
                    <a:pt x="537" y="1"/>
                  </a:lnTo>
                  <a:close/>
                </a:path>
              </a:pathLst>
            </a:custGeom>
            <a:solidFill>
              <a:srgbClr val="603A3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" name="Google Shape;2279;p11">
              <a:extLst>
                <a:ext uri="{FF2B5EF4-FFF2-40B4-BE49-F238E27FC236}">
                  <a16:creationId xmlns:a16="http://schemas.microsoft.com/office/drawing/2014/main" id="{39A1729C-ECC4-3D4F-6338-761AF7032476}"/>
                </a:ext>
              </a:extLst>
            </p:cNvPr>
            <p:cNvSpPr/>
            <p:nvPr/>
          </p:nvSpPr>
          <p:spPr>
            <a:xfrm>
              <a:off x="8866357" y="1271429"/>
              <a:ext cx="294212" cy="496040"/>
            </a:xfrm>
            <a:custGeom>
              <a:avLst/>
              <a:gdLst/>
              <a:ahLst/>
              <a:cxnLst/>
              <a:rect l="l" t="t" r="r" b="b"/>
              <a:pathLst>
                <a:path w="46980" h="79208" extrusionOk="0">
                  <a:moveTo>
                    <a:pt x="21635" y="0"/>
                  </a:moveTo>
                  <a:lnTo>
                    <a:pt x="21009" y="358"/>
                  </a:lnTo>
                  <a:lnTo>
                    <a:pt x="20338" y="715"/>
                  </a:lnTo>
                  <a:lnTo>
                    <a:pt x="19668" y="983"/>
                  </a:lnTo>
                  <a:lnTo>
                    <a:pt x="18953" y="1252"/>
                  </a:lnTo>
                  <a:lnTo>
                    <a:pt x="18238" y="1430"/>
                  </a:lnTo>
                  <a:lnTo>
                    <a:pt x="17522" y="1609"/>
                  </a:lnTo>
                  <a:lnTo>
                    <a:pt x="16762" y="1788"/>
                  </a:lnTo>
                  <a:lnTo>
                    <a:pt x="16003" y="1877"/>
                  </a:lnTo>
                  <a:lnTo>
                    <a:pt x="14438" y="2056"/>
                  </a:lnTo>
                  <a:lnTo>
                    <a:pt x="12874" y="2101"/>
                  </a:lnTo>
                  <a:lnTo>
                    <a:pt x="11354" y="2056"/>
                  </a:lnTo>
                  <a:lnTo>
                    <a:pt x="9834" y="1967"/>
                  </a:lnTo>
                  <a:lnTo>
                    <a:pt x="8448" y="1833"/>
                  </a:lnTo>
                  <a:lnTo>
                    <a:pt x="7107" y="1699"/>
                  </a:lnTo>
                  <a:lnTo>
                    <a:pt x="5945" y="1520"/>
                  </a:lnTo>
                  <a:lnTo>
                    <a:pt x="4917" y="1296"/>
                  </a:lnTo>
                  <a:lnTo>
                    <a:pt x="3442" y="983"/>
                  </a:lnTo>
                  <a:lnTo>
                    <a:pt x="2861" y="894"/>
                  </a:lnTo>
                  <a:lnTo>
                    <a:pt x="2772" y="1207"/>
                  </a:lnTo>
                  <a:lnTo>
                    <a:pt x="2325" y="2861"/>
                  </a:lnTo>
                  <a:lnTo>
                    <a:pt x="1654" y="5409"/>
                  </a:lnTo>
                  <a:lnTo>
                    <a:pt x="1297" y="6928"/>
                  </a:lnTo>
                  <a:lnTo>
                    <a:pt x="939" y="8582"/>
                  </a:lnTo>
                  <a:lnTo>
                    <a:pt x="671" y="10236"/>
                  </a:lnTo>
                  <a:lnTo>
                    <a:pt x="447" y="11935"/>
                  </a:lnTo>
                  <a:lnTo>
                    <a:pt x="313" y="13231"/>
                  </a:lnTo>
                  <a:lnTo>
                    <a:pt x="268" y="14483"/>
                  </a:lnTo>
                  <a:lnTo>
                    <a:pt x="313" y="15689"/>
                  </a:lnTo>
                  <a:lnTo>
                    <a:pt x="358" y="16226"/>
                  </a:lnTo>
                  <a:lnTo>
                    <a:pt x="447" y="16762"/>
                  </a:lnTo>
                  <a:lnTo>
                    <a:pt x="581" y="17567"/>
                  </a:lnTo>
                  <a:lnTo>
                    <a:pt x="850" y="18416"/>
                  </a:lnTo>
                  <a:lnTo>
                    <a:pt x="1162" y="19310"/>
                  </a:lnTo>
                  <a:lnTo>
                    <a:pt x="1520" y="20293"/>
                  </a:lnTo>
                  <a:lnTo>
                    <a:pt x="2369" y="22394"/>
                  </a:lnTo>
                  <a:lnTo>
                    <a:pt x="3308" y="24629"/>
                  </a:lnTo>
                  <a:lnTo>
                    <a:pt x="4247" y="26954"/>
                  </a:lnTo>
                  <a:lnTo>
                    <a:pt x="4694" y="28116"/>
                  </a:lnTo>
                  <a:lnTo>
                    <a:pt x="5141" y="29278"/>
                  </a:lnTo>
                  <a:lnTo>
                    <a:pt x="5498" y="30395"/>
                  </a:lnTo>
                  <a:lnTo>
                    <a:pt x="5856" y="31558"/>
                  </a:lnTo>
                  <a:lnTo>
                    <a:pt x="6124" y="32675"/>
                  </a:lnTo>
                  <a:lnTo>
                    <a:pt x="6348" y="33748"/>
                  </a:lnTo>
                  <a:lnTo>
                    <a:pt x="6437" y="34463"/>
                  </a:lnTo>
                  <a:lnTo>
                    <a:pt x="6482" y="35223"/>
                  </a:lnTo>
                  <a:lnTo>
                    <a:pt x="6571" y="36877"/>
                  </a:lnTo>
                  <a:lnTo>
                    <a:pt x="6526" y="38620"/>
                  </a:lnTo>
                  <a:lnTo>
                    <a:pt x="6437" y="40453"/>
                  </a:lnTo>
                  <a:lnTo>
                    <a:pt x="6213" y="44073"/>
                  </a:lnTo>
                  <a:lnTo>
                    <a:pt x="6079" y="45817"/>
                  </a:lnTo>
                  <a:lnTo>
                    <a:pt x="5990" y="47426"/>
                  </a:lnTo>
                  <a:lnTo>
                    <a:pt x="5856" y="48186"/>
                  </a:lnTo>
                  <a:lnTo>
                    <a:pt x="5588" y="49437"/>
                  </a:lnTo>
                  <a:lnTo>
                    <a:pt x="4649" y="52969"/>
                  </a:lnTo>
                  <a:lnTo>
                    <a:pt x="3397" y="57528"/>
                  </a:lnTo>
                  <a:lnTo>
                    <a:pt x="2727" y="60031"/>
                  </a:lnTo>
                  <a:lnTo>
                    <a:pt x="2101" y="62624"/>
                  </a:lnTo>
                  <a:lnTo>
                    <a:pt x="1475" y="65171"/>
                  </a:lnTo>
                  <a:lnTo>
                    <a:pt x="939" y="67675"/>
                  </a:lnTo>
                  <a:lnTo>
                    <a:pt x="492" y="70044"/>
                  </a:lnTo>
                  <a:lnTo>
                    <a:pt x="313" y="71161"/>
                  </a:lnTo>
                  <a:lnTo>
                    <a:pt x="179" y="72234"/>
                  </a:lnTo>
                  <a:lnTo>
                    <a:pt x="90" y="73217"/>
                  </a:lnTo>
                  <a:lnTo>
                    <a:pt x="45" y="74156"/>
                  </a:lnTo>
                  <a:lnTo>
                    <a:pt x="0" y="75005"/>
                  </a:lnTo>
                  <a:lnTo>
                    <a:pt x="45" y="75765"/>
                  </a:lnTo>
                  <a:lnTo>
                    <a:pt x="134" y="76391"/>
                  </a:lnTo>
                  <a:lnTo>
                    <a:pt x="313" y="76927"/>
                  </a:lnTo>
                  <a:lnTo>
                    <a:pt x="403" y="77196"/>
                  </a:lnTo>
                  <a:lnTo>
                    <a:pt x="537" y="77374"/>
                  </a:lnTo>
                  <a:lnTo>
                    <a:pt x="626" y="77553"/>
                  </a:lnTo>
                  <a:lnTo>
                    <a:pt x="805" y="77687"/>
                  </a:lnTo>
                  <a:lnTo>
                    <a:pt x="1297" y="78090"/>
                  </a:lnTo>
                  <a:lnTo>
                    <a:pt x="1878" y="78447"/>
                  </a:lnTo>
                  <a:lnTo>
                    <a:pt x="2459" y="78715"/>
                  </a:lnTo>
                  <a:lnTo>
                    <a:pt x="3040" y="78984"/>
                  </a:lnTo>
                  <a:lnTo>
                    <a:pt x="3666" y="79118"/>
                  </a:lnTo>
                  <a:lnTo>
                    <a:pt x="4247" y="79207"/>
                  </a:lnTo>
                  <a:lnTo>
                    <a:pt x="4560" y="79207"/>
                  </a:lnTo>
                  <a:lnTo>
                    <a:pt x="4828" y="79162"/>
                  </a:lnTo>
                  <a:lnTo>
                    <a:pt x="5096" y="79073"/>
                  </a:lnTo>
                  <a:lnTo>
                    <a:pt x="5409" y="78984"/>
                  </a:lnTo>
                  <a:lnTo>
                    <a:pt x="5543" y="78849"/>
                  </a:lnTo>
                  <a:lnTo>
                    <a:pt x="5766" y="78581"/>
                  </a:lnTo>
                  <a:lnTo>
                    <a:pt x="5990" y="78179"/>
                  </a:lnTo>
                  <a:lnTo>
                    <a:pt x="6303" y="77643"/>
                  </a:lnTo>
                  <a:lnTo>
                    <a:pt x="6929" y="76212"/>
                  </a:lnTo>
                  <a:lnTo>
                    <a:pt x="7599" y="74424"/>
                  </a:lnTo>
                  <a:lnTo>
                    <a:pt x="8404" y="72368"/>
                  </a:lnTo>
                  <a:lnTo>
                    <a:pt x="9253" y="70044"/>
                  </a:lnTo>
                  <a:lnTo>
                    <a:pt x="10952" y="64993"/>
                  </a:lnTo>
                  <a:lnTo>
                    <a:pt x="12605" y="59942"/>
                  </a:lnTo>
                  <a:lnTo>
                    <a:pt x="13991" y="55427"/>
                  </a:lnTo>
                  <a:lnTo>
                    <a:pt x="15019" y="52030"/>
                  </a:lnTo>
                  <a:lnTo>
                    <a:pt x="15287" y="50957"/>
                  </a:lnTo>
                  <a:lnTo>
                    <a:pt x="15422" y="50421"/>
                  </a:lnTo>
                  <a:lnTo>
                    <a:pt x="15868" y="47247"/>
                  </a:lnTo>
                  <a:lnTo>
                    <a:pt x="16271" y="44342"/>
                  </a:lnTo>
                  <a:lnTo>
                    <a:pt x="16718" y="41615"/>
                  </a:lnTo>
                  <a:lnTo>
                    <a:pt x="17165" y="39112"/>
                  </a:lnTo>
                  <a:lnTo>
                    <a:pt x="17612" y="36832"/>
                  </a:lnTo>
                  <a:lnTo>
                    <a:pt x="18059" y="34731"/>
                  </a:lnTo>
                  <a:lnTo>
                    <a:pt x="18461" y="32854"/>
                  </a:lnTo>
                  <a:lnTo>
                    <a:pt x="18908" y="31155"/>
                  </a:lnTo>
                  <a:lnTo>
                    <a:pt x="19310" y="29680"/>
                  </a:lnTo>
                  <a:lnTo>
                    <a:pt x="19668" y="28384"/>
                  </a:lnTo>
                  <a:lnTo>
                    <a:pt x="20026" y="27267"/>
                  </a:lnTo>
                  <a:lnTo>
                    <a:pt x="20383" y="26373"/>
                  </a:lnTo>
                  <a:lnTo>
                    <a:pt x="20696" y="25613"/>
                  </a:lnTo>
                  <a:lnTo>
                    <a:pt x="20964" y="25076"/>
                  </a:lnTo>
                  <a:lnTo>
                    <a:pt x="21232" y="24674"/>
                  </a:lnTo>
                  <a:lnTo>
                    <a:pt x="21456" y="24495"/>
                  </a:lnTo>
                  <a:lnTo>
                    <a:pt x="21590" y="24406"/>
                  </a:lnTo>
                  <a:lnTo>
                    <a:pt x="22126" y="24406"/>
                  </a:lnTo>
                  <a:lnTo>
                    <a:pt x="22618" y="24540"/>
                  </a:lnTo>
                  <a:lnTo>
                    <a:pt x="23199" y="24719"/>
                  </a:lnTo>
                  <a:lnTo>
                    <a:pt x="23870" y="24987"/>
                  </a:lnTo>
                  <a:lnTo>
                    <a:pt x="24630" y="25344"/>
                  </a:lnTo>
                  <a:lnTo>
                    <a:pt x="25389" y="25747"/>
                  </a:lnTo>
                  <a:lnTo>
                    <a:pt x="26194" y="26149"/>
                  </a:lnTo>
                  <a:lnTo>
                    <a:pt x="26999" y="26641"/>
                  </a:lnTo>
                  <a:lnTo>
                    <a:pt x="27803" y="27177"/>
                  </a:lnTo>
                  <a:lnTo>
                    <a:pt x="28563" y="27714"/>
                  </a:lnTo>
                  <a:lnTo>
                    <a:pt x="29323" y="28250"/>
                  </a:lnTo>
                  <a:lnTo>
                    <a:pt x="29993" y="28831"/>
                  </a:lnTo>
                  <a:lnTo>
                    <a:pt x="30619" y="29412"/>
                  </a:lnTo>
                  <a:lnTo>
                    <a:pt x="31156" y="29948"/>
                  </a:lnTo>
                  <a:lnTo>
                    <a:pt x="31558" y="30485"/>
                  </a:lnTo>
                  <a:lnTo>
                    <a:pt x="31916" y="31021"/>
                  </a:lnTo>
                  <a:lnTo>
                    <a:pt x="32228" y="31647"/>
                  </a:lnTo>
                  <a:lnTo>
                    <a:pt x="32586" y="32318"/>
                  </a:lnTo>
                  <a:lnTo>
                    <a:pt x="32899" y="33077"/>
                  </a:lnTo>
                  <a:lnTo>
                    <a:pt x="33525" y="34776"/>
                  </a:lnTo>
                  <a:lnTo>
                    <a:pt x="34150" y="36698"/>
                  </a:lnTo>
                  <a:lnTo>
                    <a:pt x="34776" y="38844"/>
                  </a:lnTo>
                  <a:lnTo>
                    <a:pt x="35357" y="41079"/>
                  </a:lnTo>
                  <a:lnTo>
                    <a:pt x="35894" y="43448"/>
                  </a:lnTo>
                  <a:lnTo>
                    <a:pt x="36475" y="45861"/>
                  </a:lnTo>
                  <a:lnTo>
                    <a:pt x="37458" y="50689"/>
                  </a:lnTo>
                  <a:lnTo>
                    <a:pt x="38397" y="55204"/>
                  </a:lnTo>
                  <a:lnTo>
                    <a:pt x="39157" y="59182"/>
                  </a:lnTo>
                  <a:lnTo>
                    <a:pt x="39514" y="60836"/>
                  </a:lnTo>
                  <a:lnTo>
                    <a:pt x="39827" y="62221"/>
                  </a:lnTo>
                  <a:lnTo>
                    <a:pt x="39917" y="62445"/>
                  </a:lnTo>
                  <a:lnTo>
                    <a:pt x="40006" y="62624"/>
                  </a:lnTo>
                  <a:lnTo>
                    <a:pt x="40140" y="62802"/>
                  </a:lnTo>
                  <a:lnTo>
                    <a:pt x="40274" y="62937"/>
                  </a:lnTo>
                  <a:lnTo>
                    <a:pt x="40453" y="63071"/>
                  </a:lnTo>
                  <a:lnTo>
                    <a:pt x="40677" y="63160"/>
                  </a:lnTo>
                  <a:lnTo>
                    <a:pt x="41168" y="63339"/>
                  </a:lnTo>
                  <a:lnTo>
                    <a:pt x="41705" y="63473"/>
                  </a:lnTo>
                  <a:lnTo>
                    <a:pt x="42286" y="63562"/>
                  </a:lnTo>
                  <a:lnTo>
                    <a:pt x="42867" y="63562"/>
                  </a:lnTo>
                  <a:lnTo>
                    <a:pt x="43537" y="63518"/>
                  </a:lnTo>
                  <a:lnTo>
                    <a:pt x="44163" y="63473"/>
                  </a:lnTo>
                  <a:lnTo>
                    <a:pt x="44744" y="63384"/>
                  </a:lnTo>
                  <a:lnTo>
                    <a:pt x="45325" y="63205"/>
                  </a:lnTo>
                  <a:lnTo>
                    <a:pt x="45817" y="63071"/>
                  </a:lnTo>
                  <a:lnTo>
                    <a:pt x="46264" y="62892"/>
                  </a:lnTo>
                  <a:lnTo>
                    <a:pt x="46577" y="62668"/>
                  </a:lnTo>
                  <a:lnTo>
                    <a:pt x="46800" y="62445"/>
                  </a:lnTo>
                  <a:lnTo>
                    <a:pt x="46890" y="62355"/>
                  </a:lnTo>
                  <a:lnTo>
                    <a:pt x="46934" y="62221"/>
                  </a:lnTo>
                  <a:lnTo>
                    <a:pt x="46979" y="61730"/>
                  </a:lnTo>
                  <a:lnTo>
                    <a:pt x="46979" y="61149"/>
                  </a:lnTo>
                  <a:lnTo>
                    <a:pt x="46979" y="59629"/>
                  </a:lnTo>
                  <a:lnTo>
                    <a:pt x="46845" y="57751"/>
                  </a:lnTo>
                  <a:lnTo>
                    <a:pt x="46666" y="55516"/>
                  </a:lnTo>
                  <a:lnTo>
                    <a:pt x="46443" y="53058"/>
                  </a:lnTo>
                  <a:lnTo>
                    <a:pt x="46130" y="50376"/>
                  </a:lnTo>
                  <a:lnTo>
                    <a:pt x="45772" y="47560"/>
                  </a:lnTo>
                  <a:lnTo>
                    <a:pt x="45415" y="44699"/>
                  </a:lnTo>
                  <a:lnTo>
                    <a:pt x="44968" y="41838"/>
                  </a:lnTo>
                  <a:lnTo>
                    <a:pt x="44521" y="39022"/>
                  </a:lnTo>
                  <a:lnTo>
                    <a:pt x="44074" y="36340"/>
                  </a:lnTo>
                  <a:lnTo>
                    <a:pt x="43582" y="33837"/>
                  </a:lnTo>
                  <a:lnTo>
                    <a:pt x="43135" y="31602"/>
                  </a:lnTo>
                  <a:lnTo>
                    <a:pt x="42643" y="29636"/>
                  </a:lnTo>
                  <a:lnTo>
                    <a:pt x="42196" y="28071"/>
                  </a:lnTo>
                  <a:lnTo>
                    <a:pt x="42018" y="27445"/>
                  </a:lnTo>
                  <a:lnTo>
                    <a:pt x="41794" y="26954"/>
                  </a:lnTo>
                  <a:lnTo>
                    <a:pt x="41526" y="26373"/>
                  </a:lnTo>
                  <a:lnTo>
                    <a:pt x="41213" y="25791"/>
                  </a:lnTo>
                  <a:lnTo>
                    <a:pt x="40855" y="25210"/>
                  </a:lnTo>
                  <a:lnTo>
                    <a:pt x="40498" y="24629"/>
                  </a:lnTo>
                  <a:lnTo>
                    <a:pt x="39648" y="23467"/>
                  </a:lnTo>
                  <a:lnTo>
                    <a:pt x="38710" y="22260"/>
                  </a:lnTo>
                  <a:lnTo>
                    <a:pt x="37637" y="21053"/>
                  </a:lnTo>
                  <a:lnTo>
                    <a:pt x="36475" y="19757"/>
                  </a:lnTo>
                  <a:lnTo>
                    <a:pt x="33927" y="16941"/>
                  </a:lnTo>
                  <a:lnTo>
                    <a:pt x="32541" y="15377"/>
                  </a:lnTo>
                  <a:lnTo>
                    <a:pt x="31111" y="13678"/>
                  </a:lnTo>
                  <a:lnTo>
                    <a:pt x="29591" y="11845"/>
                  </a:lnTo>
                  <a:lnTo>
                    <a:pt x="28071" y="9834"/>
                  </a:lnTo>
                  <a:lnTo>
                    <a:pt x="26462" y="7688"/>
                  </a:lnTo>
                  <a:lnTo>
                    <a:pt x="24898" y="5364"/>
                  </a:lnTo>
                  <a:lnTo>
                    <a:pt x="23244" y="2771"/>
                  </a:lnTo>
                  <a:lnTo>
                    <a:pt x="22439" y="1430"/>
                  </a:lnTo>
                  <a:lnTo>
                    <a:pt x="21635" y="0"/>
                  </a:lnTo>
                  <a:close/>
                </a:path>
              </a:pathLst>
            </a:custGeom>
            <a:solidFill>
              <a:srgbClr val="3333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" name="Google Shape;2280;p11">
              <a:extLst>
                <a:ext uri="{FF2B5EF4-FFF2-40B4-BE49-F238E27FC236}">
                  <a16:creationId xmlns:a16="http://schemas.microsoft.com/office/drawing/2014/main" id="{73B5A6F8-14F8-018B-71EE-037FB223A0E2}"/>
                </a:ext>
              </a:extLst>
            </p:cNvPr>
            <p:cNvSpPr/>
            <p:nvPr/>
          </p:nvSpPr>
          <p:spPr>
            <a:xfrm>
              <a:off x="8866357" y="1271429"/>
              <a:ext cx="294212" cy="496040"/>
            </a:xfrm>
            <a:custGeom>
              <a:avLst/>
              <a:gdLst/>
              <a:ahLst/>
              <a:cxnLst/>
              <a:rect l="l" t="t" r="r" b="b"/>
              <a:pathLst>
                <a:path w="46980" h="79208" fill="none" extrusionOk="0">
                  <a:moveTo>
                    <a:pt x="5990" y="47426"/>
                  </a:moveTo>
                  <a:lnTo>
                    <a:pt x="5990" y="47426"/>
                  </a:lnTo>
                  <a:lnTo>
                    <a:pt x="5856" y="48186"/>
                  </a:lnTo>
                  <a:lnTo>
                    <a:pt x="5588" y="49437"/>
                  </a:lnTo>
                  <a:lnTo>
                    <a:pt x="4649" y="52969"/>
                  </a:lnTo>
                  <a:lnTo>
                    <a:pt x="3397" y="57528"/>
                  </a:lnTo>
                  <a:lnTo>
                    <a:pt x="2727" y="60031"/>
                  </a:lnTo>
                  <a:lnTo>
                    <a:pt x="2101" y="62624"/>
                  </a:lnTo>
                  <a:lnTo>
                    <a:pt x="1475" y="65171"/>
                  </a:lnTo>
                  <a:lnTo>
                    <a:pt x="939" y="67675"/>
                  </a:lnTo>
                  <a:lnTo>
                    <a:pt x="492" y="70044"/>
                  </a:lnTo>
                  <a:lnTo>
                    <a:pt x="313" y="71161"/>
                  </a:lnTo>
                  <a:lnTo>
                    <a:pt x="179" y="72234"/>
                  </a:lnTo>
                  <a:lnTo>
                    <a:pt x="90" y="73217"/>
                  </a:lnTo>
                  <a:lnTo>
                    <a:pt x="45" y="74156"/>
                  </a:lnTo>
                  <a:lnTo>
                    <a:pt x="0" y="75005"/>
                  </a:lnTo>
                  <a:lnTo>
                    <a:pt x="45" y="75765"/>
                  </a:lnTo>
                  <a:lnTo>
                    <a:pt x="134" y="76391"/>
                  </a:lnTo>
                  <a:lnTo>
                    <a:pt x="313" y="76927"/>
                  </a:lnTo>
                  <a:lnTo>
                    <a:pt x="403" y="77196"/>
                  </a:lnTo>
                  <a:lnTo>
                    <a:pt x="537" y="77374"/>
                  </a:lnTo>
                  <a:lnTo>
                    <a:pt x="626" y="77553"/>
                  </a:lnTo>
                  <a:lnTo>
                    <a:pt x="805" y="77687"/>
                  </a:lnTo>
                  <a:lnTo>
                    <a:pt x="805" y="77687"/>
                  </a:lnTo>
                  <a:lnTo>
                    <a:pt x="1297" y="78090"/>
                  </a:lnTo>
                  <a:lnTo>
                    <a:pt x="1878" y="78447"/>
                  </a:lnTo>
                  <a:lnTo>
                    <a:pt x="2459" y="78715"/>
                  </a:lnTo>
                  <a:lnTo>
                    <a:pt x="3040" y="78984"/>
                  </a:lnTo>
                  <a:lnTo>
                    <a:pt x="3666" y="79118"/>
                  </a:lnTo>
                  <a:lnTo>
                    <a:pt x="4247" y="79207"/>
                  </a:lnTo>
                  <a:lnTo>
                    <a:pt x="4560" y="79207"/>
                  </a:lnTo>
                  <a:lnTo>
                    <a:pt x="4828" y="79162"/>
                  </a:lnTo>
                  <a:lnTo>
                    <a:pt x="5096" y="79073"/>
                  </a:lnTo>
                  <a:lnTo>
                    <a:pt x="5409" y="78984"/>
                  </a:lnTo>
                  <a:lnTo>
                    <a:pt x="5409" y="78984"/>
                  </a:lnTo>
                  <a:lnTo>
                    <a:pt x="5543" y="78849"/>
                  </a:lnTo>
                  <a:lnTo>
                    <a:pt x="5766" y="78581"/>
                  </a:lnTo>
                  <a:lnTo>
                    <a:pt x="5990" y="78179"/>
                  </a:lnTo>
                  <a:lnTo>
                    <a:pt x="6303" y="77643"/>
                  </a:lnTo>
                  <a:lnTo>
                    <a:pt x="6929" y="76212"/>
                  </a:lnTo>
                  <a:lnTo>
                    <a:pt x="7599" y="74424"/>
                  </a:lnTo>
                  <a:lnTo>
                    <a:pt x="8404" y="72368"/>
                  </a:lnTo>
                  <a:lnTo>
                    <a:pt x="9253" y="70044"/>
                  </a:lnTo>
                  <a:lnTo>
                    <a:pt x="10952" y="64993"/>
                  </a:lnTo>
                  <a:lnTo>
                    <a:pt x="12605" y="59942"/>
                  </a:lnTo>
                  <a:lnTo>
                    <a:pt x="13991" y="55427"/>
                  </a:lnTo>
                  <a:lnTo>
                    <a:pt x="15019" y="52030"/>
                  </a:lnTo>
                  <a:lnTo>
                    <a:pt x="15287" y="50957"/>
                  </a:lnTo>
                  <a:lnTo>
                    <a:pt x="15422" y="50421"/>
                  </a:lnTo>
                  <a:lnTo>
                    <a:pt x="15422" y="50421"/>
                  </a:lnTo>
                  <a:lnTo>
                    <a:pt x="15868" y="47247"/>
                  </a:lnTo>
                  <a:lnTo>
                    <a:pt x="16271" y="44342"/>
                  </a:lnTo>
                  <a:lnTo>
                    <a:pt x="16718" y="41615"/>
                  </a:lnTo>
                  <a:lnTo>
                    <a:pt x="17165" y="39112"/>
                  </a:lnTo>
                  <a:lnTo>
                    <a:pt x="17612" y="36832"/>
                  </a:lnTo>
                  <a:lnTo>
                    <a:pt x="18059" y="34731"/>
                  </a:lnTo>
                  <a:lnTo>
                    <a:pt x="18461" y="32854"/>
                  </a:lnTo>
                  <a:lnTo>
                    <a:pt x="18908" y="31155"/>
                  </a:lnTo>
                  <a:lnTo>
                    <a:pt x="19310" y="29680"/>
                  </a:lnTo>
                  <a:lnTo>
                    <a:pt x="19668" y="28384"/>
                  </a:lnTo>
                  <a:lnTo>
                    <a:pt x="20026" y="27267"/>
                  </a:lnTo>
                  <a:lnTo>
                    <a:pt x="20383" y="26373"/>
                  </a:lnTo>
                  <a:lnTo>
                    <a:pt x="20696" y="25613"/>
                  </a:lnTo>
                  <a:lnTo>
                    <a:pt x="20964" y="25076"/>
                  </a:lnTo>
                  <a:lnTo>
                    <a:pt x="21232" y="24674"/>
                  </a:lnTo>
                  <a:lnTo>
                    <a:pt x="21456" y="24495"/>
                  </a:lnTo>
                  <a:lnTo>
                    <a:pt x="21456" y="24495"/>
                  </a:lnTo>
                  <a:lnTo>
                    <a:pt x="21590" y="24406"/>
                  </a:lnTo>
                  <a:lnTo>
                    <a:pt x="21724" y="24406"/>
                  </a:lnTo>
                  <a:lnTo>
                    <a:pt x="22126" y="24406"/>
                  </a:lnTo>
                  <a:lnTo>
                    <a:pt x="22618" y="24540"/>
                  </a:lnTo>
                  <a:lnTo>
                    <a:pt x="23199" y="24719"/>
                  </a:lnTo>
                  <a:lnTo>
                    <a:pt x="23870" y="24987"/>
                  </a:lnTo>
                  <a:lnTo>
                    <a:pt x="24630" y="25344"/>
                  </a:lnTo>
                  <a:lnTo>
                    <a:pt x="25389" y="25747"/>
                  </a:lnTo>
                  <a:lnTo>
                    <a:pt x="26194" y="26149"/>
                  </a:lnTo>
                  <a:lnTo>
                    <a:pt x="26999" y="26641"/>
                  </a:lnTo>
                  <a:lnTo>
                    <a:pt x="27803" y="27177"/>
                  </a:lnTo>
                  <a:lnTo>
                    <a:pt x="28563" y="27714"/>
                  </a:lnTo>
                  <a:lnTo>
                    <a:pt x="29323" y="28250"/>
                  </a:lnTo>
                  <a:lnTo>
                    <a:pt x="29993" y="28831"/>
                  </a:lnTo>
                  <a:lnTo>
                    <a:pt x="30619" y="29412"/>
                  </a:lnTo>
                  <a:lnTo>
                    <a:pt x="31156" y="29948"/>
                  </a:lnTo>
                  <a:lnTo>
                    <a:pt x="31558" y="30485"/>
                  </a:lnTo>
                  <a:lnTo>
                    <a:pt x="31558" y="30485"/>
                  </a:lnTo>
                  <a:lnTo>
                    <a:pt x="31916" y="31021"/>
                  </a:lnTo>
                  <a:lnTo>
                    <a:pt x="32228" y="31647"/>
                  </a:lnTo>
                  <a:lnTo>
                    <a:pt x="32586" y="32318"/>
                  </a:lnTo>
                  <a:lnTo>
                    <a:pt x="32899" y="33077"/>
                  </a:lnTo>
                  <a:lnTo>
                    <a:pt x="33525" y="34776"/>
                  </a:lnTo>
                  <a:lnTo>
                    <a:pt x="34150" y="36698"/>
                  </a:lnTo>
                  <a:lnTo>
                    <a:pt x="34776" y="38844"/>
                  </a:lnTo>
                  <a:lnTo>
                    <a:pt x="35357" y="41079"/>
                  </a:lnTo>
                  <a:lnTo>
                    <a:pt x="35894" y="43448"/>
                  </a:lnTo>
                  <a:lnTo>
                    <a:pt x="36475" y="45861"/>
                  </a:lnTo>
                  <a:lnTo>
                    <a:pt x="37458" y="50689"/>
                  </a:lnTo>
                  <a:lnTo>
                    <a:pt x="38397" y="55204"/>
                  </a:lnTo>
                  <a:lnTo>
                    <a:pt x="39157" y="59182"/>
                  </a:lnTo>
                  <a:lnTo>
                    <a:pt x="39514" y="60836"/>
                  </a:lnTo>
                  <a:lnTo>
                    <a:pt x="39827" y="62221"/>
                  </a:lnTo>
                  <a:lnTo>
                    <a:pt x="39827" y="62221"/>
                  </a:lnTo>
                  <a:lnTo>
                    <a:pt x="39917" y="62445"/>
                  </a:lnTo>
                  <a:lnTo>
                    <a:pt x="40006" y="62624"/>
                  </a:lnTo>
                  <a:lnTo>
                    <a:pt x="40140" y="62802"/>
                  </a:lnTo>
                  <a:lnTo>
                    <a:pt x="40274" y="62937"/>
                  </a:lnTo>
                  <a:lnTo>
                    <a:pt x="40453" y="63071"/>
                  </a:lnTo>
                  <a:lnTo>
                    <a:pt x="40677" y="63160"/>
                  </a:lnTo>
                  <a:lnTo>
                    <a:pt x="41168" y="63339"/>
                  </a:lnTo>
                  <a:lnTo>
                    <a:pt x="41705" y="63473"/>
                  </a:lnTo>
                  <a:lnTo>
                    <a:pt x="42286" y="63562"/>
                  </a:lnTo>
                  <a:lnTo>
                    <a:pt x="42867" y="63562"/>
                  </a:lnTo>
                  <a:lnTo>
                    <a:pt x="43537" y="63518"/>
                  </a:lnTo>
                  <a:lnTo>
                    <a:pt x="44163" y="63473"/>
                  </a:lnTo>
                  <a:lnTo>
                    <a:pt x="44744" y="63384"/>
                  </a:lnTo>
                  <a:lnTo>
                    <a:pt x="45325" y="63205"/>
                  </a:lnTo>
                  <a:lnTo>
                    <a:pt x="45817" y="63071"/>
                  </a:lnTo>
                  <a:lnTo>
                    <a:pt x="46264" y="62892"/>
                  </a:lnTo>
                  <a:lnTo>
                    <a:pt x="46577" y="62668"/>
                  </a:lnTo>
                  <a:lnTo>
                    <a:pt x="46800" y="62445"/>
                  </a:lnTo>
                  <a:lnTo>
                    <a:pt x="46890" y="62355"/>
                  </a:lnTo>
                  <a:lnTo>
                    <a:pt x="46934" y="62221"/>
                  </a:lnTo>
                  <a:lnTo>
                    <a:pt x="46934" y="62221"/>
                  </a:lnTo>
                  <a:lnTo>
                    <a:pt x="46979" y="61730"/>
                  </a:lnTo>
                  <a:lnTo>
                    <a:pt x="46979" y="61149"/>
                  </a:lnTo>
                  <a:lnTo>
                    <a:pt x="46979" y="59629"/>
                  </a:lnTo>
                  <a:lnTo>
                    <a:pt x="46845" y="57751"/>
                  </a:lnTo>
                  <a:lnTo>
                    <a:pt x="46666" y="55516"/>
                  </a:lnTo>
                  <a:lnTo>
                    <a:pt x="46443" y="53058"/>
                  </a:lnTo>
                  <a:lnTo>
                    <a:pt x="46130" y="50376"/>
                  </a:lnTo>
                  <a:lnTo>
                    <a:pt x="45772" y="47560"/>
                  </a:lnTo>
                  <a:lnTo>
                    <a:pt x="45415" y="44699"/>
                  </a:lnTo>
                  <a:lnTo>
                    <a:pt x="44968" y="41838"/>
                  </a:lnTo>
                  <a:lnTo>
                    <a:pt x="44521" y="39022"/>
                  </a:lnTo>
                  <a:lnTo>
                    <a:pt x="44074" y="36340"/>
                  </a:lnTo>
                  <a:lnTo>
                    <a:pt x="43582" y="33837"/>
                  </a:lnTo>
                  <a:lnTo>
                    <a:pt x="43135" y="31602"/>
                  </a:lnTo>
                  <a:lnTo>
                    <a:pt x="42643" y="29636"/>
                  </a:lnTo>
                  <a:lnTo>
                    <a:pt x="42196" y="28071"/>
                  </a:lnTo>
                  <a:lnTo>
                    <a:pt x="42018" y="27445"/>
                  </a:lnTo>
                  <a:lnTo>
                    <a:pt x="41794" y="26954"/>
                  </a:lnTo>
                  <a:lnTo>
                    <a:pt x="41794" y="26954"/>
                  </a:lnTo>
                  <a:lnTo>
                    <a:pt x="41526" y="26373"/>
                  </a:lnTo>
                  <a:lnTo>
                    <a:pt x="41213" y="25791"/>
                  </a:lnTo>
                  <a:lnTo>
                    <a:pt x="40855" y="25210"/>
                  </a:lnTo>
                  <a:lnTo>
                    <a:pt x="40498" y="24629"/>
                  </a:lnTo>
                  <a:lnTo>
                    <a:pt x="39648" y="23467"/>
                  </a:lnTo>
                  <a:lnTo>
                    <a:pt x="38710" y="22260"/>
                  </a:lnTo>
                  <a:lnTo>
                    <a:pt x="37637" y="21053"/>
                  </a:lnTo>
                  <a:lnTo>
                    <a:pt x="36475" y="19757"/>
                  </a:lnTo>
                  <a:lnTo>
                    <a:pt x="33927" y="16941"/>
                  </a:lnTo>
                  <a:lnTo>
                    <a:pt x="32541" y="15377"/>
                  </a:lnTo>
                  <a:lnTo>
                    <a:pt x="31111" y="13678"/>
                  </a:lnTo>
                  <a:lnTo>
                    <a:pt x="29591" y="11845"/>
                  </a:lnTo>
                  <a:lnTo>
                    <a:pt x="28071" y="9834"/>
                  </a:lnTo>
                  <a:lnTo>
                    <a:pt x="26462" y="7688"/>
                  </a:lnTo>
                  <a:lnTo>
                    <a:pt x="24898" y="5364"/>
                  </a:lnTo>
                  <a:lnTo>
                    <a:pt x="23244" y="2771"/>
                  </a:lnTo>
                  <a:lnTo>
                    <a:pt x="22439" y="1430"/>
                  </a:lnTo>
                  <a:lnTo>
                    <a:pt x="21635" y="0"/>
                  </a:lnTo>
                  <a:lnTo>
                    <a:pt x="21635" y="0"/>
                  </a:lnTo>
                  <a:lnTo>
                    <a:pt x="21009" y="358"/>
                  </a:lnTo>
                  <a:lnTo>
                    <a:pt x="20338" y="715"/>
                  </a:lnTo>
                  <a:lnTo>
                    <a:pt x="19668" y="983"/>
                  </a:lnTo>
                  <a:lnTo>
                    <a:pt x="18953" y="1252"/>
                  </a:lnTo>
                  <a:lnTo>
                    <a:pt x="18238" y="1430"/>
                  </a:lnTo>
                  <a:lnTo>
                    <a:pt x="17522" y="1609"/>
                  </a:lnTo>
                  <a:lnTo>
                    <a:pt x="16762" y="1788"/>
                  </a:lnTo>
                  <a:lnTo>
                    <a:pt x="16003" y="1877"/>
                  </a:lnTo>
                  <a:lnTo>
                    <a:pt x="14438" y="2056"/>
                  </a:lnTo>
                  <a:lnTo>
                    <a:pt x="12874" y="2101"/>
                  </a:lnTo>
                  <a:lnTo>
                    <a:pt x="11354" y="2056"/>
                  </a:lnTo>
                  <a:lnTo>
                    <a:pt x="9834" y="1967"/>
                  </a:lnTo>
                  <a:lnTo>
                    <a:pt x="8448" y="1833"/>
                  </a:lnTo>
                  <a:lnTo>
                    <a:pt x="7107" y="1699"/>
                  </a:lnTo>
                  <a:lnTo>
                    <a:pt x="5945" y="1520"/>
                  </a:lnTo>
                  <a:lnTo>
                    <a:pt x="4917" y="1296"/>
                  </a:lnTo>
                  <a:lnTo>
                    <a:pt x="3442" y="983"/>
                  </a:lnTo>
                  <a:lnTo>
                    <a:pt x="2861" y="894"/>
                  </a:lnTo>
                  <a:lnTo>
                    <a:pt x="2861" y="894"/>
                  </a:lnTo>
                  <a:lnTo>
                    <a:pt x="2772" y="1207"/>
                  </a:lnTo>
                  <a:lnTo>
                    <a:pt x="2772" y="1207"/>
                  </a:lnTo>
                  <a:lnTo>
                    <a:pt x="2325" y="2861"/>
                  </a:lnTo>
                  <a:lnTo>
                    <a:pt x="1654" y="5409"/>
                  </a:lnTo>
                  <a:lnTo>
                    <a:pt x="1297" y="6928"/>
                  </a:lnTo>
                  <a:lnTo>
                    <a:pt x="939" y="8582"/>
                  </a:lnTo>
                  <a:lnTo>
                    <a:pt x="671" y="10236"/>
                  </a:lnTo>
                  <a:lnTo>
                    <a:pt x="447" y="11935"/>
                  </a:lnTo>
                  <a:lnTo>
                    <a:pt x="447" y="11935"/>
                  </a:lnTo>
                  <a:lnTo>
                    <a:pt x="313" y="13231"/>
                  </a:lnTo>
                  <a:lnTo>
                    <a:pt x="268" y="14483"/>
                  </a:lnTo>
                  <a:lnTo>
                    <a:pt x="313" y="15689"/>
                  </a:lnTo>
                  <a:lnTo>
                    <a:pt x="358" y="16226"/>
                  </a:lnTo>
                  <a:lnTo>
                    <a:pt x="447" y="16762"/>
                  </a:lnTo>
                  <a:lnTo>
                    <a:pt x="447" y="16762"/>
                  </a:lnTo>
                  <a:lnTo>
                    <a:pt x="581" y="17567"/>
                  </a:lnTo>
                  <a:lnTo>
                    <a:pt x="850" y="18416"/>
                  </a:lnTo>
                  <a:lnTo>
                    <a:pt x="1162" y="19310"/>
                  </a:lnTo>
                  <a:lnTo>
                    <a:pt x="1520" y="20293"/>
                  </a:lnTo>
                  <a:lnTo>
                    <a:pt x="2369" y="22394"/>
                  </a:lnTo>
                  <a:lnTo>
                    <a:pt x="3308" y="24629"/>
                  </a:lnTo>
                  <a:lnTo>
                    <a:pt x="4247" y="26954"/>
                  </a:lnTo>
                  <a:lnTo>
                    <a:pt x="4694" y="28116"/>
                  </a:lnTo>
                  <a:lnTo>
                    <a:pt x="5141" y="29278"/>
                  </a:lnTo>
                  <a:lnTo>
                    <a:pt x="5498" y="30395"/>
                  </a:lnTo>
                  <a:lnTo>
                    <a:pt x="5856" y="31558"/>
                  </a:lnTo>
                  <a:lnTo>
                    <a:pt x="6124" y="32675"/>
                  </a:lnTo>
                  <a:lnTo>
                    <a:pt x="6348" y="33748"/>
                  </a:lnTo>
                  <a:lnTo>
                    <a:pt x="6348" y="33748"/>
                  </a:lnTo>
                  <a:lnTo>
                    <a:pt x="6437" y="34463"/>
                  </a:lnTo>
                  <a:lnTo>
                    <a:pt x="6482" y="35223"/>
                  </a:lnTo>
                  <a:lnTo>
                    <a:pt x="6571" y="36877"/>
                  </a:lnTo>
                  <a:lnTo>
                    <a:pt x="6526" y="38620"/>
                  </a:lnTo>
                  <a:lnTo>
                    <a:pt x="6437" y="40453"/>
                  </a:lnTo>
                  <a:lnTo>
                    <a:pt x="6213" y="44073"/>
                  </a:lnTo>
                  <a:lnTo>
                    <a:pt x="6079" y="45817"/>
                  </a:lnTo>
                  <a:lnTo>
                    <a:pt x="5990" y="4742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" name="Google Shape;2281;p11">
              <a:extLst>
                <a:ext uri="{FF2B5EF4-FFF2-40B4-BE49-F238E27FC236}">
                  <a16:creationId xmlns:a16="http://schemas.microsoft.com/office/drawing/2014/main" id="{BDEBCBCF-B7B7-03CB-9999-34776D75F691}"/>
                </a:ext>
              </a:extLst>
            </p:cNvPr>
            <p:cNvSpPr/>
            <p:nvPr/>
          </p:nvSpPr>
          <p:spPr>
            <a:xfrm>
              <a:off x="8897989" y="1072676"/>
              <a:ext cx="96862" cy="218630"/>
            </a:xfrm>
            <a:custGeom>
              <a:avLst/>
              <a:gdLst/>
              <a:ahLst/>
              <a:cxnLst/>
              <a:rect l="l" t="t" r="r" b="b"/>
              <a:pathLst>
                <a:path w="15467" h="34911" extrusionOk="0">
                  <a:moveTo>
                    <a:pt x="3755" y="1"/>
                  </a:moveTo>
                  <a:lnTo>
                    <a:pt x="0" y="805"/>
                  </a:lnTo>
                  <a:lnTo>
                    <a:pt x="134" y="1744"/>
                  </a:lnTo>
                  <a:lnTo>
                    <a:pt x="492" y="4336"/>
                  </a:lnTo>
                  <a:lnTo>
                    <a:pt x="939" y="8181"/>
                  </a:lnTo>
                  <a:lnTo>
                    <a:pt x="1207" y="10415"/>
                  </a:lnTo>
                  <a:lnTo>
                    <a:pt x="1431" y="12874"/>
                  </a:lnTo>
                  <a:lnTo>
                    <a:pt x="1654" y="15422"/>
                  </a:lnTo>
                  <a:lnTo>
                    <a:pt x="1833" y="18104"/>
                  </a:lnTo>
                  <a:lnTo>
                    <a:pt x="1967" y="20786"/>
                  </a:lnTo>
                  <a:lnTo>
                    <a:pt x="2056" y="23423"/>
                  </a:lnTo>
                  <a:lnTo>
                    <a:pt x="2101" y="26060"/>
                  </a:lnTo>
                  <a:lnTo>
                    <a:pt x="2012" y="28519"/>
                  </a:lnTo>
                  <a:lnTo>
                    <a:pt x="1967" y="29726"/>
                  </a:lnTo>
                  <a:lnTo>
                    <a:pt x="1878" y="30888"/>
                  </a:lnTo>
                  <a:lnTo>
                    <a:pt x="1788" y="31961"/>
                  </a:lnTo>
                  <a:lnTo>
                    <a:pt x="1609" y="33033"/>
                  </a:lnTo>
                  <a:lnTo>
                    <a:pt x="1654" y="33123"/>
                  </a:lnTo>
                  <a:lnTo>
                    <a:pt x="1744" y="33257"/>
                  </a:lnTo>
                  <a:lnTo>
                    <a:pt x="1878" y="33391"/>
                  </a:lnTo>
                  <a:lnTo>
                    <a:pt x="2056" y="33525"/>
                  </a:lnTo>
                  <a:lnTo>
                    <a:pt x="2593" y="33793"/>
                  </a:lnTo>
                  <a:lnTo>
                    <a:pt x="3308" y="34061"/>
                  </a:lnTo>
                  <a:lnTo>
                    <a:pt x="4157" y="34330"/>
                  </a:lnTo>
                  <a:lnTo>
                    <a:pt x="5096" y="34553"/>
                  </a:lnTo>
                  <a:lnTo>
                    <a:pt x="6169" y="34732"/>
                  </a:lnTo>
                  <a:lnTo>
                    <a:pt x="7242" y="34866"/>
                  </a:lnTo>
                  <a:lnTo>
                    <a:pt x="8404" y="34911"/>
                  </a:lnTo>
                  <a:lnTo>
                    <a:pt x="9521" y="34866"/>
                  </a:lnTo>
                  <a:lnTo>
                    <a:pt x="10058" y="34777"/>
                  </a:lnTo>
                  <a:lnTo>
                    <a:pt x="10594" y="34687"/>
                  </a:lnTo>
                  <a:lnTo>
                    <a:pt x="11130" y="34553"/>
                  </a:lnTo>
                  <a:lnTo>
                    <a:pt x="11622" y="34419"/>
                  </a:lnTo>
                  <a:lnTo>
                    <a:pt x="12114" y="34240"/>
                  </a:lnTo>
                  <a:lnTo>
                    <a:pt x="12561" y="34017"/>
                  </a:lnTo>
                  <a:lnTo>
                    <a:pt x="13008" y="33748"/>
                  </a:lnTo>
                  <a:lnTo>
                    <a:pt x="13410" y="33436"/>
                  </a:lnTo>
                  <a:lnTo>
                    <a:pt x="13723" y="33078"/>
                  </a:lnTo>
                  <a:lnTo>
                    <a:pt x="14036" y="32676"/>
                  </a:lnTo>
                  <a:lnTo>
                    <a:pt x="14304" y="32273"/>
                  </a:lnTo>
                  <a:lnTo>
                    <a:pt x="14528" y="31782"/>
                  </a:lnTo>
                  <a:lnTo>
                    <a:pt x="14796" y="30932"/>
                  </a:lnTo>
                  <a:lnTo>
                    <a:pt x="15019" y="29949"/>
                  </a:lnTo>
                  <a:lnTo>
                    <a:pt x="15198" y="28876"/>
                  </a:lnTo>
                  <a:lnTo>
                    <a:pt x="15287" y="27714"/>
                  </a:lnTo>
                  <a:lnTo>
                    <a:pt x="15377" y="26507"/>
                  </a:lnTo>
                  <a:lnTo>
                    <a:pt x="15422" y="25256"/>
                  </a:lnTo>
                  <a:lnTo>
                    <a:pt x="15466" y="22842"/>
                  </a:lnTo>
                  <a:lnTo>
                    <a:pt x="15422" y="20562"/>
                  </a:lnTo>
                  <a:lnTo>
                    <a:pt x="15332" y="18685"/>
                  </a:lnTo>
                  <a:lnTo>
                    <a:pt x="15243" y="16986"/>
                  </a:lnTo>
                  <a:lnTo>
                    <a:pt x="7197" y="984"/>
                  </a:lnTo>
                  <a:lnTo>
                    <a:pt x="375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3" name="Google Shape;2282;p11">
              <a:extLst>
                <a:ext uri="{FF2B5EF4-FFF2-40B4-BE49-F238E27FC236}">
                  <a16:creationId xmlns:a16="http://schemas.microsoft.com/office/drawing/2014/main" id="{B44725E5-7CB7-6D78-ED08-F1579073C1C9}"/>
                </a:ext>
              </a:extLst>
            </p:cNvPr>
            <p:cNvSpPr/>
            <p:nvPr/>
          </p:nvSpPr>
          <p:spPr>
            <a:xfrm>
              <a:off x="8897989" y="1072676"/>
              <a:ext cx="96862" cy="218630"/>
            </a:xfrm>
            <a:custGeom>
              <a:avLst/>
              <a:gdLst/>
              <a:ahLst/>
              <a:cxnLst/>
              <a:rect l="l" t="t" r="r" b="b"/>
              <a:pathLst>
                <a:path w="15467" h="34911" fill="none" extrusionOk="0">
                  <a:moveTo>
                    <a:pt x="3755" y="1"/>
                  </a:moveTo>
                  <a:lnTo>
                    <a:pt x="7197" y="984"/>
                  </a:lnTo>
                  <a:lnTo>
                    <a:pt x="15243" y="16986"/>
                  </a:lnTo>
                  <a:lnTo>
                    <a:pt x="15243" y="16986"/>
                  </a:lnTo>
                  <a:lnTo>
                    <a:pt x="15332" y="18685"/>
                  </a:lnTo>
                  <a:lnTo>
                    <a:pt x="15422" y="20562"/>
                  </a:lnTo>
                  <a:lnTo>
                    <a:pt x="15466" y="22842"/>
                  </a:lnTo>
                  <a:lnTo>
                    <a:pt x="15422" y="25256"/>
                  </a:lnTo>
                  <a:lnTo>
                    <a:pt x="15377" y="26507"/>
                  </a:lnTo>
                  <a:lnTo>
                    <a:pt x="15287" y="27714"/>
                  </a:lnTo>
                  <a:lnTo>
                    <a:pt x="15198" y="28876"/>
                  </a:lnTo>
                  <a:lnTo>
                    <a:pt x="15019" y="29949"/>
                  </a:lnTo>
                  <a:lnTo>
                    <a:pt x="14796" y="30932"/>
                  </a:lnTo>
                  <a:lnTo>
                    <a:pt x="14528" y="31782"/>
                  </a:lnTo>
                  <a:lnTo>
                    <a:pt x="14528" y="31782"/>
                  </a:lnTo>
                  <a:lnTo>
                    <a:pt x="14304" y="32273"/>
                  </a:lnTo>
                  <a:lnTo>
                    <a:pt x="14036" y="32676"/>
                  </a:lnTo>
                  <a:lnTo>
                    <a:pt x="13723" y="33078"/>
                  </a:lnTo>
                  <a:lnTo>
                    <a:pt x="13410" y="33436"/>
                  </a:lnTo>
                  <a:lnTo>
                    <a:pt x="13008" y="33748"/>
                  </a:lnTo>
                  <a:lnTo>
                    <a:pt x="12561" y="34017"/>
                  </a:lnTo>
                  <a:lnTo>
                    <a:pt x="12114" y="34240"/>
                  </a:lnTo>
                  <a:lnTo>
                    <a:pt x="11622" y="34419"/>
                  </a:lnTo>
                  <a:lnTo>
                    <a:pt x="11130" y="34553"/>
                  </a:lnTo>
                  <a:lnTo>
                    <a:pt x="10594" y="34687"/>
                  </a:lnTo>
                  <a:lnTo>
                    <a:pt x="10058" y="34777"/>
                  </a:lnTo>
                  <a:lnTo>
                    <a:pt x="9521" y="34866"/>
                  </a:lnTo>
                  <a:lnTo>
                    <a:pt x="8404" y="34911"/>
                  </a:lnTo>
                  <a:lnTo>
                    <a:pt x="7242" y="34866"/>
                  </a:lnTo>
                  <a:lnTo>
                    <a:pt x="6169" y="34732"/>
                  </a:lnTo>
                  <a:lnTo>
                    <a:pt x="5096" y="34553"/>
                  </a:lnTo>
                  <a:lnTo>
                    <a:pt x="4157" y="34330"/>
                  </a:lnTo>
                  <a:lnTo>
                    <a:pt x="3308" y="34061"/>
                  </a:lnTo>
                  <a:lnTo>
                    <a:pt x="2593" y="33793"/>
                  </a:lnTo>
                  <a:lnTo>
                    <a:pt x="2056" y="33525"/>
                  </a:lnTo>
                  <a:lnTo>
                    <a:pt x="1878" y="33391"/>
                  </a:lnTo>
                  <a:lnTo>
                    <a:pt x="1744" y="33257"/>
                  </a:lnTo>
                  <a:lnTo>
                    <a:pt x="1654" y="33123"/>
                  </a:lnTo>
                  <a:lnTo>
                    <a:pt x="1609" y="33033"/>
                  </a:lnTo>
                  <a:lnTo>
                    <a:pt x="1609" y="33033"/>
                  </a:lnTo>
                  <a:lnTo>
                    <a:pt x="1788" y="31961"/>
                  </a:lnTo>
                  <a:lnTo>
                    <a:pt x="1878" y="30888"/>
                  </a:lnTo>
                  <a:lnTo>
                    <a:pt x="1967" y="29726"/>
                  </a:lnTo>
                  <a:lnTo>
                    <a:pt x="2012" y="28519"/>
                  </a:lnTo>
                  <a:lnTo>
                    <a:pt x="2101" y="26060"/>
                  </a:lnTo>
                  <a:lnTo>
                    <a:pt x="2056" y="23423"/>
                  </a:lnTo>
                  <a:lnTo>
                    <a:pt x="1967" y="20786"/>
                  </a:lnTo>
                  <a:lnTo>
                    <a:pt x="1833" y="18104"/>
                  </a:lnTo>
                  <a:lnTo>
                    <a:pt x="1654" y="15422"/>
                  </a:lnTo>
                  <a:lnTo>
                    <a:pt x="1431" y="12874"/>
                  </a:lnTo>
                  <a:lnTo>
                    <a:pt x="1207" y="10415"/>
                  </a:lnTo>
                  <a:lnTo>
                    <a:pt x="939" y="8181"/>
                  </a:lnTo>
                  <a:lnTo>
                    <a:pt x="492" y="4336"/>
                  </a:lnTo>
                  <a:lnTo>
                    <a:pt x="134" y="1744"/>
                  </a:lnTo>
                  <a:lnTo>
                    <a:pt x="0" y="805"/>
                  </a:lnTo>
                  <a:lnTo>
                    <a:pt x="375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4" name="Google Shape;2283;p11">
              <a:extLst>
                <a:ext uri="{FF2B5EF4-FFF2-40B4-BE49-F238E27FC236}">
                  <a16:creationId xmlns:a16="http://schemas.microsoft.com/office/drawing/2014/main" id="{F1AF888E-6F82-B367-EC8C-3EC3D27AF788}"/>
                </a:ext>
              </a:extLst>
            </p:cNvPr>
            <p:cNvSpPr/>
            <p:nvPr/>
          </p:nvSpPr>
          <p:spPr>
            <a:xfrm>
              <a:off x="8869157" y="1291018"/>
              <a:ext cx="85101" cy="57114"/>
            </a:xfrm>
            <a:custGeom>
              <a:avLst/>
              <a:gdLst/>
              <a:ahLst/>
              <a:cxnLst/>
              <a:rect l="l" t="t" r="r" b="b"/>
              <a:pathLst>
                <a:path w="13589" h="9120" extrusionOk="0">
                  <a:moveTo>
                    <a:pt x="1788" y="1"/>
                  </a:moveTo>
                  <a:lnTo>
                    <a:pt x="1297" y="1834"/>
                  </a:lnTo>
                  <a:lnTo>
                    <a:pt x="805" y="4024"/>
                  </a:lnTo>
                  <a:lnTo>
                    <a:pt x="358" y="6393"/>
                  </a:lnTo>
                  <a:lnTo>
                    <a:pt x="134" y="7600"/>
                  </a:lnTo>
                  <a:lnTo>
                    <a:pt x="0" y="8807"/>
                  </a:lnTo>
                  <a:lnTo>
                    <a:pt x="626" y="8941"/>
                  </a:lnTo>
                  <a:lnTo>
                    <a:pt x="1252" y="9030"/>
                  </a:lnTo>
                  <a:lnTo>
                    <a:pt x="1922" y="9120"/>
                  </a:lnTo>
                  <a:lnTo>
                    <a:pt x="2548" y="9120"/>
                  </a:lnTo>
                  <a:lnTo>
                    <a:pt x="3487" y="9075"/>
                  </a:lnTo>
                  <a:lnTo>
                    <a:pt x="4470" y="8941"/>
                  </a:lnTo>
                  <a:lnTo>
                    <a:pt x="5409" y="8762"/>
                  </a:lnTo>
                  <a:lnTo>
                    <a:pt x="6303" y="8539"/>
                  </a:lnTo>
                  <a:lnTo>
                    <a:pt x="7197" y="8270"/>
                  </a:lnTo>
                  <a:lnTo>
                    <a:pt x="8046" y="7913"/>
                  </a:lnTo>
                  <a:lnTo>
                    <a:pt x="8851" y="7600"/>
                  </a:lnTo>
                  <a:lnTo>
                    <a:pt x="9655" y="7198"/>
                  </a:lnTo>
                  <a:lnTo>
                    <a:pt x="10370" y="6840"/>
                  </a:lnTo>
                  <a:lnTo>
                    <a:pt x="11041" y="6482"/>
                  </a:lnTo>
                  <a:lnTo>
                    <a:pt x="12158" y="5767"/>
                  </a:lnTo>
                  <a:lnTo>
                    <a:pt x="13052" y="5186"/>
                  </a:lnTo>
                  <a:lnTo>
                    <a:pt x="13589" y="4784"/>
                  </a:lnTo>
                  <a:lnTo>
                    <a:pt x="13589" y="4784"/>
                  </a:lnTo>
                  <a:lnTo>
                    <a:pt x="13365" y="4828"/>
                  </a:lnTo>
                  <a:lnTo>
                    <a:pt x="12605" y="4828"/>
                  </a:lnTo>
                  <a:lnTo>
                    <a:pt x="12024" y="4694"/>
                  </a:lnTo>
                  <a:lnTo>
                    <a:pt x="11309" y="4560"/>
                  </a:lnTo>
                  <a:lnTo>
                    <a:pt x="10549" y="4337"/>
                  </a:lnTo>
                  <a:lnTo>
                    <a:pt x="8851" y="3756"/>
                  </a:lnTo>
                  <a:lnTo>
                    <a:pt x="7107" y="3041"/>
                  </a:lnTo>
                  <a:lnTo>
                    <a:pt x="5364" y="2281"/>
                  </a:lnTo>
                  <a:lnTo>
                    <a:pt x="4560" y="1878"/>
                  </a:lnTo>
                  <a:lnTo>
                    <a:pt x="3800" y="1476"/>
                  </a:lnTo>
                  <a:lnTo>
                    <a:pt x="3129" y="1074"/>
                  </a:lnTo>
                  <a:lnTo>
                    <a:pt x="2548" y="671"/>
                  </a:lnTo>
                  <a:lnTo>
                    <a:pt x="2101" y="314"/>
                  </a:lnTo>
                  <a:lnTo>
                    <a:pt x="1788" y="1"/>
                  </a:lnTo>
                  <a:close/>
                </a:path>
              </a:pathLst>
            </a:custGeom>
            <a:solidFill>
              <a:srgbClr val="27273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5" name="Google Shape;2284;p11">
              <a:extLst>
                <a:ext uri="{FF2B5EF4-FFF2-40B4-BE49-F238E27FC236}">
                  <a16:creationId xmlns:a16="http://schemas.microsoft.com/office/drawing/2014/main" id="{3BA09B31-D928-5B22-FA82-B73A4E975F31}"/>
                </a:ext>
              </a:extLst>
            </p:cNvPr>
            <p:cNvSpPr/>
            <p:nvPr/>
          </p:nvSpPr>
          <p:spPr>
            <a:xfrm>
              <a:off x="8955091" y="1320132"/>
              <a:ext cx="6" cy="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6" name="Google Shape;2285;p11">
              <a:extLst>
                <a:ext uri="{FF2B5EF4-FFF2-40B4-BE49-F238E27FC236}">
                  <a16:creationId xmlns:a16="http://schemas.microsoft.com/office/drawing/2014/main" id="{3C11CBB9-D45A-21D4-37DE-CB779C91716C}"/>
                </a:ext>
              </a:extLst>
            </p:cNvPr>
            <p:cNvSpPr/>
            <p:nvPr/>
          </p:nvSpPr>
          <p:spPr>
            <a:xfrm>
              <a:off x="8869157" y="1291018"/>
              <a:ext cx="85101" cy="57114"/>
            </a:xfrm>
            <a:custGeom>
              <a:avLst/>
              <a:gdLst/>
              <a:ahLst/>
              <a:cxnLst/>
              <a:rect l="l" t="t" r="r" b="b"/>
              <a:pathLst>
                <a:path w="13589" h="9120" fill="none" extrusionOk="0">
                  <a:moveTo>
                    <a:pt x="1788" y="1"/>
                  </a:moveTo>
                  <a:lnTo>
                    <a:pt x="1788" y="1"/>
                  </a:lnTo>
                  <a:lnTo>
                    <a:pt x="1297" y="1834"/>
                  </a:lnTo>
                  <a:lnTo>
                    <a:pt x="805" y="4024"/>
                  </a:lnTo>
                  <a:lnTo>
                    <a:pt x="358" y="6393"/>
                  </a:lnTo>
                  <a:lnTo>
                    <a:pt x="134" y="7600"/>
                  </a:lnTo>
                  <a:lnTo>
                    <a:pt x="0" y="8807"/>
                  </a:lnTo>
                  <a:lnTo>
                    <a:pt x="0" y="8807"/>
                  </a:lnTo>
                  <a:lnTo>
                    <a:pt x="626" y="8941"/>
                  </a:lnTo>
                  <a:lnTo>
                    <a:pt x="1252" y="9030"/>
                  </a:lnTo>
                  <a:lnTo>
                    <a:pt x="1922" y="9120"/>
                  </a:lnTo>
                  <a:lnTo>
                    <a:pt x="2548" y="9120"/>
                  </a:lnTo>
                  <a:lnTo>
                    <a:pt x="2548" y="9120"/>
                  </a:lnTo>
                  <a:lnTo>
                    <a:pt x="3487" y="9075"/>
                  </a:lnTo>
                  <a:lnTo>
                    <a:pt x="4470" y="8941"/>
                  </a:lnTo>
                  <a:lnTo>
                    <a:pt x="5409" y="8762"/>
                  </a:lnTo>
                  <a:lnTo>
                    <a:pt x="6303" y="8539"/>
                  </a:lnTo>
                  <a:lnTo>
                    <a:pt x="7197" y="8270"/>
                  </a:lnTo>
                  <a:lnTo>
                    <a:pt x="8046" y="7913"/>
                  </a:lnTo>
                  <a:lnTo>
                    <a:pt x="8851" y="7600"/>
                  </a:lnTo>
                  <a:lnTo>
                    <a:pt x="9655" y="7198"/>
                  </a:lnTo>
                  <a:lnTo>
                    <a:pt x="10370" y="6840"/>
                  </a:lnTo>
                  <a:lnTo>
                    <a:pt x="11041" y="6482"/>
                  </a:lnTo>
                  <a:lnTo>
                    <a:pt x="12158" y="5767"/>
                  </a:lnTo>
                  <a:lnTo>
                    <a:pt x="13052" y="5186"/>
                  </a:lnTo>
                  <a:lnTo>
                    <a:pt x="13589" y="4784"/>
                  </a:lnTo>
                  <a:lnTo>
                    <a:pt x="13589" y="4784"/>
                  </a:lnTo>
                  <a:lnTo>
                    <a:pt x="13365" y="4828"/>
                  </a:lnTo>
                  <a:lnTo>
                    <a:pt x="13097" y="4828"/>
                  </a:lnTo>
                  <a:lnTo>
                    <a:pt x="13097" y="4828"/>
                  </a:lnTo>
                  <a:lnTo>
                    <a:pt x="12605" y="4828"/>
                  </a:lnTo>
                  <a:lnTo>
                    <a:pt x="12024" y="4694"/>
                  </a:lnTo>
                  <a:lnTo>
                    <a:pt x="11309" y="4560"/>
                  </a:lnTo>
                  <a:lnTo>
                    <a:pt x="10549" y="4337"/>
                  </a:lnTo>
                  <a:lnTo>
                    <a:pt x="8851" y="3756"/>
                  </a:lnTo>
                  <a:lnTo>
                    <a:pt x="7107" y="3041"/>
                  </a:lnTo>
                  <a:lnTo>
                    <a:pt x="5364" y="2281"/>
                  </a:lnTo>
                  <a:lnTo>
                    <a:pt x="4560" y="1878"/>
                  </a:lnTo>
                  <a:lnTo>
                    <a:pt x="3800" y="1476"/>
                  </a:lnTo>
                  <a:lnTo>
                    <a:pt x="3129" y="1074"/>
                  </a:lnTo>
                  <a:lnTo>
                    <a:pt x="2548" y="671"/>
                  </a:lnTo>
                  <a:lnTo>
                    <a:pt x="2101" y="314"/>
                  </a:lnTo>
                  <a:lnTo>
                    <a:pt x="178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7" name="Google Shape;2286;p11">
              <a:extLst>
                <a:ext uri="{FF2B5EF4-FFF2-40B4-BE49-F238E27FC236}">
                  <a16:creationId xmlns:a16="http://schemas.microsoft.com/office/drawing/2014/main" id="{31BD1FB7-AB44-FB6A-CBE8-156A8D144A89}"/>
                </a:ext>
              </a:extLst>
            </p:cNvPr>
            <p:cNvSpPr/>
            <p:nvPr/>
          </p:nvSpPr>
          <p:spPr>
            <a:xfrm>
              <a:off x="8809250" y="1357645"/>
              <a:ext cx="48152" cy="33598"/>
            </a:xfrm>
            <a:custGeom>
              <a:avLst/>
              <a:gdLst/>
              <a:ahLst/>
              <a:cxnLst/>
              <a:rect l="l" t="t" r="r" b="b"/>
              <a:pathLst>
                <a:path w="7689" h="5365" extrusionOk="0">
                  <a:moveTo>
                    <a:pt x="5901" y="0"/>
                  </a:moveTo>
                  <a:lnTo>
                    <a:pt x="5007" y="90"/>
                  </a:lnTo>
                  <a:lnTo>
                    <a:pt x="4873" y="90"/>
                  </a:lnTo>
                  <a:lnTo>
                    <a:pt x="1208" y="447"/>
                  </a:lnTo>
                  <a:lnTo>
                    <a:pt x="1163" y="447"/>
                  </a:lnTo>
                  <a:lnTo>
                    <a:pt x="895" y="537"/>
                  </a:lnTo>
                  <a:lnTo>
                    <a:pt x="671" y="671"/>
                  </a:lnTo>
                  <a:lnTo>
                    <a:pt x="492" y="805"/>
                  </a:lnTo>
                  <a:lnTo>
                    <a:pt x="358" y="984"/>
                  </a:lnTo>
                  <a:lnTo>
                    <a:pt x="269" y="1163"/>
                  </a:lnTo>
                  <a:lnTo>
                    <a:pt x="135" y="1386"/>
                  </a:lnTo>
                  <a:lnTo>
                    <a:pt x="90" y="1654"/>
                  </a:lnTo>
                  <a:lnTo>
                    <a:pt x="45" y="1922"/>
                  </a:lnTo>
                  <a:lnTo>
                    <a:pt x="1" y="2191"/>
                  </a:lnTo>
                  <a:lnTo>
                    <a:pt x="45" y="2459"/>
                  </a:lnTo>
                  <a:lnTo>
                    <a:pt x="135" y="3576"/>
                  </a:lnTo>
                  <a:lnTo>
                    <a:pt x="314" y="5364"/>
                  </a:lnTo>
                  <a:lnTo>
                    <a:pt x="1252" y="5275"/>
                  </a:lnTo>
                  <a:lnTo>
                    <a:pt x="1073" y="3487"/>
                  </a:lnTo>
                  <a:lnTo>
                    <a:pt x="1029" y="3219"/>
                  </a:lnTo>
                  <a:lnTo>
                    <a:pt x="1073" y="2816"/>
                  </a:lnTo>
                  <a:lnTo>
                    <a:pt x="1118" y="2414"/>
                  </a:lnTo>
                  <a:lnTo>
                    <a:pt x="1297" y="2101"/>
                  </a:lnTo>
                  <a:lnTo>
                    <a:pt x="1520" y="1878"/>
                  </a:lnTo>
                  <a:lnTo>
                    <a:pt x="1610" y="1833"/>
                  </a:lnTo>
                  <a:lnTo>
                    <a:pt x="1744" y="1744"/>
                  </a:lnTo>
                  <a:lnTo>
                    <a:pt x="1878" y="1744"/>
                  </a:lnTo>
                  <a:lnTo>
                    <a:pt x="5186" y="1386"/>
                  </a:lnTo>
                  <a:lnTo>
                    <a:pt x="5454" y="1341"/>
                  </a:lnTo>
                  <a:lnTo>
                    <a:pt x="5633" y="1386"/>
                  </a:lnTo>
                  <a:lnTo>
                    <a:pt x="5856" y="1431"/>
                  </a:lnTo>
                  <a:lnTo>
                    <a:pt x="6035" y="1565"/>
                  </a:lnTo>
                  <a:lnTo>
                    <a:pt x="6169" y="1699"/>
                  </a:lnTo>
                  <a:lnTo>
                    <a:pt x="6303" y="1878"/>
                  </a:lnTo>
                  <a:lnTo>
                    <a:pt x="6437" y="2101"/>
                  </a:lnTo>
                  <a:lnTo>
                    <a:pt x="6527" y="2369"/>
                  </a:lnTo>
                  <a:lnTo>
                    <a:pt x="6571" y="2638"/>
                  </a:lnTo>
                  <a:lnTo>
                    <a:pt x="6571" y="2861"/>
                  </a:lnTo>
                  <a:lnTo>
                    <a:pt x="6795" y="4694"/>
                  </a:lnTo>
                  <a:lnTo>
                    <a:pt x="7689" y="4604"/>
                  </a:lnTo>
                  <a:lnTo>
                    <a:pt x="7510" y="2772"/>
                  </a:lnTo>
                  <a:lnTo>
                    <a:pt x="7421" y="1699"/>
                  </a:lnTo>
                  <a:lnTo>
                    <a:pt x="7376" y="1520"/>
                  </a:lnTo>
                  <a:lnTo>
                    <a:pt x="7331" y="1252"/>
                  </a:lnTo>
                  <a:lnTo>
                    <a:pt x="7242" y="1028"/>
                  </a:lnTo>
                  <a:lnTo>
                    <a:pt x="7153" y="805"/>
                  </a:lnTo>
                  <a:lnTo>
                    <a:pt x="7018" y="581"/>
                  </a:lnTo>
                  <a:lnTo>
                    <a:pt x="6884" y="403"/>
                  </a:lnTo>
                  <a:lnTo>
                    <a:pt x="6616" y="179"/>
                  </a:lnTo>
                  <a:lnTo>
                    <a:pt x="6303" y="45"/>
                  </a:lnTo>
                  <a:lnTo>
                    <a:pt x="6080" y="0"/>
                  </a:lnTo>
                  <a:close/>
                </a:path>
              </a:pathLst>
            </a:custGeom>
            <a:solidFill>
              <a:srgbClr val="201B2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8" name="Google Shape;2287;p11">
              <a:extLst>
                <a:ext uri="{FF2B5EF4-FFF2-40B4-BE49-F238E27FC236}">
                  <a16:creationId xmlns:a16="http://schemas.microsoft.com/office/drawing/2014/main" id="{2FA9F0F0-D3A7-6DDA-0972-D31CBD961E57}"/>
                </a:ext>
              </a:extLst>
            </p:cNvPr>
            <p:cNvSpPr/>
            <p:nvPr/>
          </p:nvSpPr>
          <p:spPr>
            <a:xfrm>
              <a:off x="8812888" y="1327409"/>
              <a:ext cx="36116" cy="45635"/>
            </a:xfrm>
            <a:custGeom>
              <a:avLst/>
              <a:gdLst/>
              <a:ahLst/>
              <a:cxnLst/>
              <a:rect l="l" t="t" r="r" b="b"/>
              <a:pathLst>
                <a:path w="5767" h="7287" extrusionOk="0">
                  <a:moveTo>
                    <a:pt x="3666" y="1"/>
                  </a:moveTo>
                  <a:lnTo>
                    <a:pt x="1" y="448"/>
                  </a:lnTo>
                  <a:lnTo>
                    <a:pt x="180" y="1074"/>
                  </a:lnTo>
                  <a:lnTo>
                    <a:pt x="314" y="1610"/>
                  </a:lnTo>
                  <a:lnTo>
                    <a:pt x="358" y="2102"/>
                  </a:lnTo>
                  <a:lnTo>
                    <a:pt x="358" y="2549"/>
                  </a:lnTo>
                  <a:lnTo>
                    <a:pt x="403" y="3398"/>
                  </a:lnTo>
                  <a:lnTo>
                    <a:pt x="403" y="3845"/>
                  </a:lnTo>
                  <a:lnTo>
                    <a:pt x="448" y="4337"/>
                  </a:lnTo>
                  <a:lnTo>
                    <a:pt x="627" y="5275"/>
                  </a:lnTo>
                  <a:lnTo>
                    <a:pt x="716" y="5722"/>
                  </a:lnTo>
                  <a:lnTo>
                    <a:pt x="805" y="6125"/>
                  </a:lnTo>
                  <a:lnTo>
                    <a:pt x="939" y="6438"/>
                  </a:lnTo>
                  <a:lnTo>
                    <a:pt x="1073" y="6750"/>
                  </a:lnTo>
                  <a:lnTo>
                    <a:pt x="1342" y="6974"/>
                  </a:lnTo>
                  <a:lnTo>
                    <a:pt x="1610" y="7153"/>
                  </a:lnTo>
                  <a:lnTo>
                    <a:pt x="1789" y="7242"/>
                  </a:lnTo>
                  <a:lnTo>
                    <a:pt x="1967" y="7287"/>
                  </a:lnTo>
                  <a:lnTo>
                    <a:pt x="2414" y="7287"/>
                  </a:lnTo>
                  <a:lnTo>
                    <a:pt x="2861" y="7242"/>
                  </a:lnTo>
                  <a:lnTo>
                    <a:pt x="3308" y="7108"/>
                  </a:lnTo>
                  <a:lnTo>
                    <a:pt x="3755" y="6929"/>
                  </a:lnTo>
                  <a:lnTo>
                    <a:pt x="4113" y="6706"/>
                  </a:lnTo>
                  <a:lnTo>
                    <a:pt x="4426" y="6482"/>
                  </a:lnTo>
                  <a:lnTo>
                    <a:pt x="4515" y="6348"/>
                  </a:lnTo>
                  <a:lnTo>
                    <a:pt x="4605" y="6214"/>
                  </a:lnTo>
                  <a:lnTo>
                    <a:pt x="4649" y="5946"/>
                  </a:lnTo>
                  <a:lnTo>
                    <a:pt x="4649" y="5678"/>
                  </a:lnTo>
                  <a:lnTo>
                    <a:pt x="4560" y="5454"/>
                  </a:lnTo>
                  <a:lnTo>
                    <a:pt x="4471" y="5231"/>
                  </a:lnTo>
                  <a:lnTo>
                    <a:pt x="4292" y="4962"/>
                  </a:lnTo>
                  <a:lnTo>
                    <a:pt x="4292" y="4873"/>
                  </a:lnTo>
                  <a:lnTo>
                    <a:pt x="4381" y="4918"/>
                  </a:lnTo>
                  <a:lnTo>
                    <a:pt x="4515" y="4962"/>
                  </a:lnTo>
                  <a:lnTo>
                    <a:pt x="4605" y="5097"/>
                  </a:lnTo>
                  <a:lnTo>
                    <a:pt x="4828" y="5365"/>
                  </a:lnTo>
                  <a:lnTo>
                    <a:pt x="4962" y="5499"/>
                  </a:lnTo>
                  <a:lnTo>
                    <a:pt x="5141" y="5544"/>
                  </a:lnTo>
                  <a:lnTo>
                    <a:pt x="5320" y="5588"/>
                  </a:lnTo>
                  <a:lnTo>
                    <a:pt x="5543" y="5499"/>
                  </a:lnTo>
                  <a:lnTo>
                    <a:pt x="5678" y="5454"/>
                  </a:lnTo>
                  <a:lnTo>
                    <a:pt x="5722" y="5320"/>
                  </a:lnTo>
                  <a:lnTo>
                    <a:pt x="5767" y="5231"/>
                  </a:lnTo>
                  <a:lnTo>
                    <a:pt x="5767" y="5052"/>
                  </a:lnTo>
                  <a:lnTo>
                    <a:pt x="5678" y="4739"/>
                  </a:lnTo>
                  <a:lnTo>
                    <a:pt x="5499" y="4337"/>
                  </a:lnTo>
                  <a:lnTo>
                    <a:pt x="5007" y="3353"/>
                  </a:lnTo>
                  <a:lnTo>
                    <a:pt x="4739" y="2862"/>
                  </a:lnTo>
                  <a:lnTo>
                    <a:pt x="4471" y="2370"/>
                  </a:lnTo>
                  <a:lnTo>
                    <a:pt x="4158" y="1610"/>
                  </a:lnTo>
                  <a:lnTo>
                    <a:pt x="3979" y="1074"/>
                  </a:lnTo>
                  <a:lnTo>
                    <a:pt x="3666" y="1"/>
                  </a:lnTo>
                  <a:close/>
                </a:path>
              </a:pathLst>
            </a:custGeom>
            <a:solidFill>
              <a:srgbClr val="EEA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9" name="Google Shape;2288;p11">
              <a:extLst>
                <a:ext uri="{FF2B5EF4-FFF2-40B4-BE49-F238E27FC236}">
                  <a16:creationId xmlns:a16="http://schemas.microsoft.com/office/drawing/2014/main" id="{D50FBA61-4D6C-F379-FD92-234C610CDE65}"/>
                </a:ext>
              </a:extLst>
            </p:cNvPr>
            <p:cNvSpPr/>
            <p:nvPr/>
          </p:nvSpPr>
          <p:spPr>
            <a:xfrm>
              <a:off x="8840042" y="1357363"/>
              <a:ext cx="17360" cy="29678"/>
            </a:xfrm>
            <a:custGeom>
              <a:avLst/>
              <a:gdLst/>
              <a:ahLst/>
              <a:cxnLst/>
              <a:rect l="l" t="t" r="r" b="b"/>
              <a:pathLst>
                <a:path w="2772" h="4739" extrusionOk="0">
                  <a:moveTo>
                    <a:pt x="984" y="1"/>
                  </a:moveTo>
                  <a:lnTo>
                    <a:pt x="90" y="135"/>
                  </a:lnTo>
                  <a:lnTo>
                    <a:pt x="1" y="135"/>
                  </a:lnTo>
                  <a:lnTo>
                    <a:pt x="135" y="403"/>
                  </a:lnTo>
                  <a:lnTo>
                    <a:pt x="135" y="448"/>
                  </a:lnTo>
                  <a:lnTo>
                    <a:pt x="313" y="850"/>
                  </a:lnTo>
                  <a:lnTo>
                    <a:pt x="537" y="1386"/>
                  </a:lnTo>
                  <a:lnTo>
                    <a:pt x="716" y="1386"/>
                  </a:lnTo>
                  <a:lnTo>
                    <a:pt x="939" y="1476"/>
                  </a:lnTo>
                  <a:lnTo>
                    <a:pt x="1118" y="1565"/>
                  </a:lnTo>
                  <a:lnTo>
                    <a:pt x="1252" y="1744"/>
                  </a:lnTo>
                  <a:lnTo>
                    <a:pt x="1386" y="1923"/>
                  </a:lnTo>
                  <a:lnTo>
                    <a:pt x="1520" y="2146"/>
                  </a:lnTo>
                  <a:lnTo>
                    <a:pt x="1610" y="2414"/>
                  </a:lnTo>
                  <a:lnTo>
                    <a:pt x="1654" y="2683"/>
                  </a:lnTo>
                  <a:lnTo>
                    <a:pt x="1654" y="2906"/>
                  </a:lnTo>
                  <a:lnTo>
                    <a:pt x="1878" y="4739"/>
                  </a:lnTo>
                  <a:lnTo>
                    <a:pt x="2772" y="4649"/>
                  </a:lnTo>
                  <a:lnTo>
                    <a:pt x="2593" y="2817"/>
                  </a:lnTo>
                  <a:lnTo>
                    <a:pt x="2504" y="1744"/>
                  </a:lnTo>
                  <a:lnTo>
                    <a:pt x="2459" y="1565"/>
                  </a:lnTo>
                  <a:lnTo>
                    <a:pt x="2414" y="1297"/>
                  </a:lnTo>
                  <a:lnTo>
                    <a:pt x="2325" y="1073"/>
                  </a:lnTo>
                  <a:lnTo>
                    <a:pt x="2236" y="850"/>
                  </a:lnTo>
                  <a:lnTo>
                    <a:pt x="2101" y="626"/>
                  </a:lnTo>
                  <a:lnTo>
                    <a:pt x="1967" y="448"/>
                  </a:lnTo>
                  <a:lnTo>
                    <a:pt x="1699" y="224"/>
                  </a:lnTo>
                  <a:lnTo>
                    <a:pt x="1386" y="45"/>
                  </a:lnTo>
                  <a:lnTo>
                    <a:pt x="1163" y="1"/>
                  </a:lnTo>
                  <a:close/>
                </a:path>
              </a:pathLst>
            </a:custGeom>
            <a:solidFill>
              <a:srgbClr val="201B2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0" name="Google Shape;2289;p11">
              <a:extLst>
                <a:ext uri="{FF2B5EF4-FFF2-40B4-BE49-F238E27FC236}">
                  <a16:creationId xmlns:a16="http://schemas.microsoft.com/office/drawing/2014/main" id="{00EF0BF6-4EE3-FECE-568E-E9058066B023}"/>
                </a:ext>
              </a:extLst>
            </p:cNvPr>
            <p:cNvSpPr/>
            <p:nvPr/>
          </p:nvSpPr>
          <p:spPr>
            <a:xfrm>
              <a:off x="8749906" y="1369681"/>
              <a:ext cx="186441" cy="128212"/>
            </a:xfrm>
            <a:custGeom>
              <a:avLst/>
              <a:gdLst/>
              <a:ahLst/>
              <a:cxnLst/>
              <a:rect l="l" t="t" r="r" b="b"/>
              <a:pathLst>
                <a:path w="29771" h="20473" extrusionOk="0">
                  <a:moveTo>
                    <a:pt x="24764" y="0"/>
                  </a:moveTo>
                  <a:lnTo>
                    <a:pt x="24004" y="90"/>
                  </a:lnTo>
                  <a:lnTo>
                    <a:pt x="2816" y="2369"/>
                  </a:lnTo>
                  <a:lnTo>
                    <a:pt x="2414" y="2459"/>
                  </a:lnTo>
                  <a:lnTo>
                    <a:pt x="2057" y="2548"/>
                  </a:lnTo>
                  <a:lnTo>
                    <a:pt x="1744" y="2682"/>
                  </a:lnTo>
                  <a:lnTo>
                    <a:pt x="1431" y="2861"/>
                  </a:lnTo>
                  <a:lnTo>
                    <a:pt x="1163" y="3040"/>
                  </a:lnTo>
                  <a:lnTo>
                    <a:pt x="939" y="3263"/>
                  </a:lnTo>
                  <a:lnTo>
                    <a:pt x="760" y="3487"/>
                  </a:lnTo>
                  <a:lnTo>
                    <a:pt x="537" y="3755"/>
                  </a:lnTo>
                  <a:lnTo>
                    <a:pt x="269" y="4247"/>
                  </a:lnTo>
                  <a:lnTo>
                    <a:pt x="90" y="4739"/>
                  </a:lnTo>
                  <a:lnTo>
                    <a:pt x="0" y="5186"/>
                  </a:lnTo>
                  <a:lnTo>
                    <a:pt x="0" y="5543"/>
                  </a:lnTo>
                  <a:lnTo>
                    <a:pt x="1699" y="18014"/>
                  </a:lnTo>
                  <a:lnTo>
                    <a:pt x="1744" y="18372"/>
                  </a:lnTo>
                  <a:lnTo>
                    <a:pt x="1833" y="18774"/>
                  </a:lnTo>
                  <a:lnTo>
                    <a:pt x="1967" y="19221"/>
                  </a:lnTo>
                  <a:lnTo>
                    <a:pt x="2101" y="19445"/>
                  </a:lnTo>
                  <a:lnTo>
                    <a:pt x="2235" y="19623"/>
                  </a:lnTo>
                  <a:lnTo>
                    <a:pt x="2369" y="19847"/>
                  </a:lnTo>
                  <a:lnTo>
                    <a:pt x="2593" y="19981"/>
                  </a:lnTo>
                  <a:lnTo>
                    <a:pt x="2816" y="20160"/>
                  </a:lnTo>
                  <a:lnTo>
                    <a:pt x="3085" y="20294"/>
                  </a:lnTo>
                  <a:lnTo>
                    <a:pt x="3398" y="20383"/>
                  </a:lnTo>
                  <a:lnTo>
                    <a:pt x="3755" y="20428"/>
                  </a:lnTo>
                  <a:lnTo>
                    <a:pt x="4202" y="20473"/>
                  </a:lnTo>
                  <a:lnTo>
                    <a:pt x="4694" y="20428"/>
                  </a:lnTo>
                  <a:lnTo>
                    <a:pt x="28429" y="17567"/>
                  </a:lnTo>
                  <a:lnTo>
                    <a:pt x="28474" y="17567"/>
                  </a:lnTo>
                  <a:lnTo>
                    <a:pt x="28787" y="17523"/>
                  </a:lnTo>
                  <a:lnTo>
                    <a:pt x="29055" y="17388"/>
                  </a:lnTo>
                  <a:lnTo>
                    <a:pt x="29278" y="17254"/>
                  </a:lnTo>
                  <a:lnTo>
                    <a:pt x="29457" y="17031"/>
                  </a:lnTo>
                  <a:lnTo>
                    <a:pt x="29636" y="16807"/>
                  </a:lnTo>
                  <a:lnTo>
                    <a:pt x="29725" y="16539"/>
                  </a:lnTo>
                  <a:lnTo>
                    <a:pt x="29770" y="16271"/>
                  </a:lnTo>
                  <a:lnTo>
                    <a:pt x="29770" y="16003"/>
                  </a:lnTo>
                  <a:lnTo>
                    <a:pt x="28340" y="2727"/>
                  </a:lnTo>
                  <a:lnTo>
                    <a:pt x="28295" y="2369"/>
                  </a:lnTo>
                  <a:lnTo>
                    <a:pt x="28206" y="2057"/>
                  </a:lnTo>
                  <a:lnTo>
                    <a:pt x="28116" y="1788"/>
                  </a:lnTo>
                  <a:lnTo>
                    <a:pt x="27937" y="1520"/>
                  </a:lnTo>
                  <a:lnTo>
                    <a:pt x="27803" y="1252"/>
                  </a:lnTo>
                  <a:lnTo>
                    <a:pt x="27580" y="1029"/>
                  </a:lnTo>
                  <a:lnTo>
                    <a:pt x="27401" y="805"/>
                  </a:lnTo>
                  <a:lnTo>
                    <a:pt x="27133" y="626"/>
                  </a:lnTo>
                  <a:lnTo>
                    <a:pt x="26909" y="447"/>
                  </a:lnTo>
                  <a:lnTo>
                    <a:pt x="26641" y="313"/>
                  </a:lnTo>
                  <a:lnTo>
                    <a:pt x="26328" y="224"/>
                  </a:lnTo>
                  <a:lnTo>
                    <a:pt x="26060" y="90"/>
                  </a:lnTo>
                  <a:lnTo>
                    <a:pt x="25747" y="45"/>
                  </a:lnTo>
                  <a:lnTo>
                    <a:pt x="25434" y="0"/>
                  </a:lnTo>
                  <a:close/>
                </a:path>
              </a:pathLst>
            </a:custGeom>
            <a:solidFill>
              <a:srgbClr val="603A3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1" name="Google Shape;2290;p11">
              <a:extLst>
                <a:ext uri="{FF2B5EF4-FFF2-40B4-BE49-F238E27FC236}">
                  <a16:creationId xmlns:a16="http://schemas.microsoft.com/office/drawing/2014/main" id="{5B37108D-9A6D-27E4-F34D-7685F6B6616D}"/>
                </a:ext>
              </a:extLst>
            </p:cNvPr>
            <p:cNvSpPr/>
            <p:nvPr/>
          </p:nvSpPr>
          <p:spPr>
            <a:xfrm>
              <a:off x="8900225" y="1369681"/>
              <a:ext cx="36122" cy="110020"/>
            </a:xfrm>
            <a:custGeom>
              <a:avLst/>
              <a:gdLst/>
              <a:ahLst/>
              <a:cxnLst/>
              <a:rect l="l" t="t" r="r" b="b"/>
              <a:pathLst>
                <a:path w="5768" h="17568" extrusionOk="0">
                  <a:moveTo>
                    <a:pt x="761" y="0"/>
                  </a:moveTo>
                  <a:lnTo>
                    <a:pt x="1" y="90"/>
                  </a:lnTo>
                  <a:lnTo>
                    <a:pt x="582" y="1520"/>
                  </a:lnTo>
                  <a:lnTo>
                    <a:pt x="1208" y="3040"/>
                  </a:lnTo>
                  <a:lnTo>
                    <a:pt x="1789" y="4649"/>
                  </a:lnTo>
                  <a:lnTo>
                    <a:pt x="2370" y="6392"/>
                  </a:lnTo>
                  <a:lnTo>
                    <a:pt x="2862" y="8180"/>
                  </a:lnTo>
                  <a:lnTo>
                    <a:pt x="3085" y="9074"/>
                  </a:lnTo>
                  <a:lnTo>
                    <a:pt x="3264" y="9968"/>
                  </a:lnTo>
                  <a:lnTo>
                    <a:pt x="3398" y="10907"/>
                  </a:lnTo>
                  <a:lnTo>
                    <a:pt x="3532" y="11801"/>
                  </a:lnTo>
                  <a:lnTo>
                    <a:pt x="3622" y="12740"/>
                  </a:lnTo>
                  <a:lnTo>
                    <a:pt x="3711" y="13634"/>
                  </a:lnTo>
                  <a:lnTo>
                    <a:pt x="3800" y="14975"/>
                  </a:lnTo>
                  <a:lnTo>
                    <a:pt x="3979" y="16047"/>
                  </a:lnTo>
                  <a:lnTo>
                    <a:pt x="4203" y="16897"/>
                  </a:lnTo>
                  <a:lnTo>
                    <a:pt x="4426" y="17567"/>
                  </a:lnTo>
                  <a:lnTo>
                    <a:pt x="4471" y="17567"/>
                  </a:lnTo>
                  <a:lnTo>
                    <a:pt x="4784" y="17523"/>
                  </a:lnTo>
                  <a:lnTo>
                    <a:pt x="5052" y="17388"/>
                  </a:lnTo>
                  <a:lnTo>
                    <a:pt x="5275" y="17254"/>
                  </a:lnTo>
                  <a:lnTo>
                    <a:pt x="5454" y="17031"/>
                  </a:lnTo>
                  <a:lnTo>
                    <a:pt x="5633" y="16807"/>
                  </a:lnTo>
                  <a:lnTo>
                    <a:pt x="5722" y="16539"/>
                  </a:lnTo>
                  <a:lnTo>
                    <a:pt x="5767" y="16271"/>
                  </a:lnTo>
                  <a:lnTo>
                    <a:pt x="5767" y="16003"/>
                  </a:lnTo>
                  <a:lnTo>
                    <a:pt x="4337" y="2727"/>
                  </a:lnTo>
                  <a:lnTo>
                    <a:pt x="4292" y="2369"/>
                  </a:lnTo>
                  <a:lnTo>
                    <a:pt x="4203" y="2057"/>
                  </a:lnTo>
                  <a:lnTo>
                    <a:pt x="4113" y="1788"/>
                  </a:lnTo>
                  <a:lnTo>
                    <a:pt x="3934" y="1520"/>
                  </a:lnTo>
                  <a:lnTo>
                    <a:pt x="3800" y="1252"/>
                  </a:lnTo>
                  <a:lnTo>
                    <a:pt x="3577" y="1029"/>
                  </a:lnTo>
                  <a:lnTo>
                    <a:pt x="3398" y="805"/>
                  </a:lnTo>
                  <a:lnTo>
                    <a:pt x="3130" y="626"/>
                  </a:lnTo>
                  <a:lnTo>
                    <a:pt x="2906" y="447"/>
                  </a:lnTo>
                  <a:lnTo>
                    <a:pt x="2638" y="313"/>
                  </a:lnTo>
                  <a:lnTo>
                    <a:pt x="2325" y="224"/>
                  </a:lnTo>
                  <a:lnTo>
                    <a:pt x="2057" y="90"/>
                  </a:lnTo>
                  <a:lnTo>
                    <a:pt x="1744" y="45"/>
                  </a:lnTo>
                  <a:lnTo>
                    <a:pt x="1431" y="0"/>
                  </a:lnTo>
                  <a:close/>
                </a:path>
              </a:pathLst>
            </a:custGeom>
            <a:solidFill>
              <a:srgbClr val="7751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2" name="Google Shape;2291;p11">
              <a:extLst>
                <a:ext uri="{FF2B5EF4-FFF2-40B4-BE49-F238E27FC236}">
                  <a16:creationId xmlns:a16="http://schemas.microsoft.com/office/drawing/2014/main" id="{996330DA-E183-A1FC-76FF-C4901B0876F8}"/>
                </a:ext>
              </a:extLst>
            </p:cNvPr>
            <p:cNvSpPr/>
            <p:nvPr/>
          </p:nvSpPr>
          <p:spPr>
            <a:xfrm>
              <a:off x="8792735" y="1076314"/>
              <a:ext cx="163207" cy="261184"/>
            </a:xfrm>
            <a:custGeom>
              <a:avLst/>
              <a:gdLst/>
              <a:ahLst/>
              <a:cxnLst/>
              <a:rect l="l" t="t" r="r" b="b"/>
              <a:pathLst>
                <a:path w="26061" h="41706" extrusionOk="0">
                  <a:moveTo>
                    <a:pt x="16807" y="1"/>
                  </a:moveTo>
                  <a:lnTo>
                    <a:pt x="16271" y="314"/>
                  </a:lnTo>
                  <a:lnTo>
                    <a:pt x="15735" y="671"/>
                  </a:lnTo>
                  <a:lnTo>
                    <a:pt x="14572" y="1520"/>
                  </a:lnTo>
                  <a:lnTo>
                    <a:pt x="13231" y="2683"/>
                  </a:lnTo>
                  <a:lnTo>
                    <a:pt x="11801" y="3979"/>
                  </a:lnTo>
                  <a:lnTo>
                    <a:pt x="10326" y="5499"/>
                  </a:lnTo>
                  <a:lnTo>
                    <a:pt x="8851" y="7108"/>
                  </a:lnTo>
                  <a:lnTo>
                    <a:pt x="7912" y="8225"/>
                  </a:lnTo>
                  <a:lnTo>
                    <a:pt x="6973" y="9387"/>
                  </a:lnTo>
                  <a:lnTo>
                    <a:pt x="6124" y="10594"/>
                  </a:lnTo>
                  <a:lnTo>
                    <a:pt x="5275" y="11846"/>
                  </a:lnTo>
                  <a:lnTo>
                    <a:pt x="4470" y="13098"/>
                  </a:lnTo>
                  <a:lnTo>
                    <a:pt x="3755" y="14394"/>
                  </a:lnTo>
                  <a:lnTo>
                    <a:pt x="3085" y="15645"/>
                  </a:lnTo>
                  <a:lnTo>
                    <a:pt x="2459" y="16852"/>
                  </a:lnTo>
                  <a:lnTo>
                    <a:pt x="1878" y="18104"/>
                  </a:lnTo>
                  <a:lnTo>
                    <a:pt x="1386" y="19266"/>
                  </a:lnTo>
                  <a:lnTo>
                    <a:pt x="984" y="20383"/>
                  </a:lnTo>
                  <a:lnTo>
                    <a:pt x="626" y="21412"/>
                  </a:lnTo>
                  <a:lnTo>
                    <a:pt x="358" y="22395"/>
                  </a:lnTo>
                  <a:lnTo>
                    <a:pt x="134" y="23289"/>
                  </a:lnTo>
                  <a:lnTo>
                    <a:pt x="45" y="24049"/>
                  </a:lnTo>
                  <a:lnTo>
                    <a:pt x="0" y="24719"/>
                  </a:lnTo>
                  <a:lnTo>
                    <a:pt x="45" y="25658"/>
                  </a:lnTo>
                  <a:lnTo>
                    <a:pt x="134" y="26686"/>
                  </a:lnTo>
                  <a:lnTo>
                    <a:pt x="447" y="29189"/>
                  </a:lnTo>
                  <a:lnTo>
                    <a:pt x="894" y="31916"/>
                  </a:lnTo>
                  <a:lnTo>
                    <a:pt x="1386" y="34687"/>
                  </a:lnTo>
                  <a:lnTo>
                    <a:pt x="2280" y="39381"/>
                  </a:lnTo>
                  <a:lnTo>
                    <a:pt x="2638" y="41347"/>
                  </a:lnTo>
                  <a:lnTo>
                    <a:pt x="3398" y="41526"/>
                  </a:lnTo>
                  <a:lnTo>
                    <a:pt x="4113" y="41660"/>
                  </a:lnTo>
                  <a:lnTo>
                    <a:pt x="4738" y="41705"/>
                  </a:lnTo>
                  <a:lnTo>
                    <a:pt x="5320" y="41705"/>
                  </a:lnTo>
                  <a:lnTo>
                    <a:pt x="5856" y="41660"/>
                  </a:lnTo>
                  <a:lnTo>
                    <a:pt x="6303" y="41571"/>
                  </a:lnTo>
                  <a:lnTo>
                    <a:pt x="6705" y="41482"/>
                  </a:lnTo>
                  <a:lnTo>
                    <a:pt x="7063" y="41392"/>
                  </a:lnTo>
                  <a:lnTo>
                    <a:pt x="7644" y="41169"/>
                  </a:lnTo>
                  <a:lnTo>
                    <a:pt x="7823" y="41079"/>
                  </a:lnTo>
                  <a:lnTo>
                    <a:pt x="7689" y="40409"/>
                  </a:lnTo>
                  <a:lnTo>
                    <a:pt x="7376" y="38665"/>
                  </a:lnTo>
                  <a:lnTo>
                    <a:pt x="6571" y="33480"/>
                  </a:lnTo>
                  <a:lnTo>
                    <a:pt x="5722" y="27982"/>
                  </a:lnTo>
                  <a:lnTo>
                    <a:pt x="5454" y="25926"/>
                  </a:lnTo>
                  <a:lnTo>
                    <a:pt x="5364" y="24809"/>
                  </a:lnTo>
                  <a:lnTo>
                    <a:pt x="5409" y="24317"/>
                  </a:lnTo>
                  <a:lnTo>
                    <a:pt x="5588" y="23691"/>
                  </a:lnTo>
                  <a:lnTo>
                    <a:pt x="5856" y="23021"/>
                  </a:lnTo>
                  <a:lnTo>
                    <a:pt x="6169" y="22261"/>
                  </a:lnTo>
                  <a:lnTo>
                    <a:pt x="6571" y="21412"/>
                  </a:lnTo>
                  <a:lnTo>
                    <a:pt x="7018" y="20562"/>
                  </a:lnTo>
                  <a:lnTo>
                    <a:pt x="7510" y="19713"/>
                  </a:lnTo>
                  <a:lnTo>
                    <a:pt x="8046" y="18864"/>
                  </a:lnTo>
                  <a:lnTo>
                    <a:pt x="8583" y="18059"/>
                  </a:lnTo>
                  <a:lnTo>
                    <a:pt x="9119" y="17299"/>
                  </a:lnTo>
                  <a:lnTo>
                    <a:pt x="9655" y="16629"/>
                  </a:lnTo>
                  <a:lnTo>
                    <a:pt x="10192" y="16048"/>
                  </a:lnTo>
                  <a:lnTo>
                    <a:pt x="10639" y="15601"/>
                  </a:lnTo>
                  <a:lnTo>
                    <a:pt x="11086" y="15288"/>
                  </a:lnTo>
                  <a:lnTo>
                    <a:pt x="11265" y="15198"/>
                  </a:lnTo>
                  <a:lnTo>
                    <a:pt x="11443" y="15109"/>
                  </a:lnTo>
                  <a:lnTo>
                    <a:pt x="11577" y="15109"/>
                  </a:lnTo>
                  <a:lnTo>
                    <a:pt x="11712" y="15154"/>
                  </a:lnTo>
                  <a:lnTo>
                    <a:pt x="12024" y="15377"/>
                  </a:lnTo>
                  <a:lnTo>
                    <a:pt x="12337" y="15645"/>
                  </a:lnTo>
                  <a:lnTo>
                    <a:pt x="12650" y="16048"/>
                  </a:lnTo>
                  <a:lnTo>
                    <a:pt x="13008" y="16539"/>
                  </a:lnTo>
                  <a:lnTo>
                    <a:pt x="13365" y="17076"/>
                  </a:lnTo>
                  <a:lnTo>
                    <a:pt x="13678" y="17657"/>
                  </a:lnTo>
                  <a:lnTo>
                    <a:pt x="14036" y="18327"/>
                  </a:lnTo>
                  <a:lnTo>
                    <a:pt x="14349" y="19043"/>
                  </a:lnTo>
                  <a:lnTo>
                    <a:pt x="14662" y="19802"/>
                  </a:lnTo>
                  <a:lnTo>
                    <a:pt x="14975" y="20562"/>
                  </a:lnTo>
                  <a:lnTo>
                    <a:pt x="15243" y="21367"/>
                  </a:lnTo>
                  <a:lnTo>
                    <a:pt x="15511" y="22171"/>
                  </a:lnTo>
                  <a:lnTo>
                    <a:pt x="15690" y="22976"/>
                  </a:lnTo>
                  <a:lnTo>
                    <a:pt x="15869" y="23781"/>
                  </a:lnTo>
                  <a:lnTo>
                    <a:pt x="16003" y="24585"/>
                  </a:lnTo>
                  <a:lnTo>
                    <a:pt x="16092" y="25345"/>
                  </a:lnTo>
                  <a:lnTo>
                    <a:pt x="16092" y="25971"/>
                  </a:lnTo>
                  <a:lnTo>
                    <a:pt x="16092" y="26552"/>
                  </a:lnTo>
                  <a:lnTo>
                    <a:pt x="16047" y="27133"/>
                  </a:lnTo>
                  <a:lnTo>
                    <a:pt x="15913" y="27625"/>
                  </a:lnTo>
                  <a:lnTo>
                    <a:pt x="15735" y="28340"/>
                  </a:lnTo>
                  <a:lnTo>
                    <a:pt x="15556" y="28921"/>
                  </a:lnTo>
                  <a:lnTo>
                    <a:pt x="15332" y="29502"/>
                  </a:lnTo>
                  <a:lnTo>
                    <a:pt x="15109" y="29994"/>
                  </a:lnTo>
                  <a:lnTo>
                    <a:pt x="14662" y="30843"/>
                  </a:lnTo>
                  <a:lnTo>
                    <a:pt x="14259" y="31558"/>
                  </a:lnTo>
                  <a:lnTo>
                    <a:pt x="13947" y="32184"/>
                  </a:lnTo>
                  <a:lnTo>
                    <a:pt x="13812" y="32452"/>
                  </a:lnTo>
                  <a:lnTo>
                    <a:pt x="13768" y="32765"/>
                  </a:lnTo>
                  <a:lnTo>
                    <a:pt x="13678" y="33033"/>
                  </a:lnTo>
                  <a:lnTo>
                    <a:pt x="13678" y="33346"/>
                  </a:lnTo>
                  <a:lnTo>
                    <a:pt x="13723" y="33659"/>
                  </a:lnTo>
                  <a:lnTo>
                    <a:pt x="13812" y="33972"/>
                  </a:lnTo>
                  <a:lnTo>
                    <a:pt x="13902" y="34151"/>
                  </a:lnTo>
                  <a:lnTo>
                    <a:pt x="14036" y="34330"/>
                  </a:lnTo>
                  <a:lnTo>
                    <a:pt x="14483" y="34732"/>
                  </a:lnTo>
                  <a:lnTo>
                    <a:pt x="15109" y="35179"/>
                  </a:lnTo>
                  <a:lnTo>
                    <a:pt x="15869" y="35671"/>
                  </a:lnTo>
                  <a:lnTo>
                    <a:pt x="16763" y="36162"/>
                  </a:lnTo>
                  <a:lnTo>
                    <a:pt x="17746" y="36654"/>
                  </a:lnTo>
                  <a:lnTo>
                    <a:pt x="18774" y="37101"/>
                  </a:lnTo>
                  <a:lnTo>
                    <a:pt x="19847" y="37548"/>
                  </a:lnTo>
                  <a:lnTo>
                    <a:pt x="20920" y="37995"/>
                  </a:lnTo>
                  <a:lnTo>
                    <a:pt x="21948" y="38353"/>
                  </a:lnTo>
                  <a:lnTo>
                    <a:pt x="22931" y="38665"/>
                  </a:lnTo>
                  <a:lnTo>
                    <a:pt x="23825" y="38889"/>
                  </a:lnTo>
                  <a:lnTo>
                    <a:pt x="24585" y="39068"/>
                  </a:lnTo>
                  <a:lnTo>
                    <a:pt x="25211" y="39112"/>
                  </a:lnTo>
                  <a:lnTo>
                    <a:pt x="25479" y="39112"/>
                  </a:lnTo>
                  <a:lnTo>
                    <a:pt x="25702" y="39068"/>
                  </a:lnTo>
                  <a:lnTo>
                    <a:pt x="25837" y="39023"/>
                  </a:lnTo>
                  <a:lnTo>
                    <a:pt x="25926" y="38934"/>
                  </a:lnTo>
                  <a:lnTo>
                    <a:pt x="25971" y="38800"/>
                  </a:lnTo>
                  <a:lnTo>
                    <a:pt x="26015" y="38576"/>
                  </a:lnTo>
                  <a:lnTo>
                    <a:pt x="26060" y="37995"/>
                  </a:lnTo>
                  <a:lnTo>
                    <a:pt x="26015" y="37235"/>
                  </a:lnTo>
                  <a:lnTo>
                    <a:pt x="25881" y="36296"/>
                  </a:lnTo>
                  <a:lnTo>
                    <a:pt x="25568" y="33972"/>
                  </a:lnTo>
                  <a:lnTo>
                    <a:pt x="25166" y="31380"/>
                  </a:lnTo>
                  <a:lnTo>
                    <a:pt x="24719" y="28653"/>
                  </a:lnTo>
                  <a:lnTo>
                    <a:pt x="24361" y="26060"/>
                  </a:lnTo>
                  <a:lnTo>
                    <a:pt x="24227" y="24943"/>
                  </a:lnTo>
                  <a:lnTo>
                    <a:pt x="24093" y="23915"/>
                  </a:lnTo>
                  <a:lnTo>
                    <a:pt x="24093" y="23065"/>
                  </a:lnTo>
                  <a:lnTo>
                    <a:pt x="24093" y="22395"/>
                  </a:lnTo>
                  <a:lnTo>
                    <a:pt x="24406" y="19981"/>
                  </a:lnTo>
                  <a:lnTo>
                    <a:pt x="24585" y="18596"/>
                  </a:lnTo>
                  <a:lnTo>
                    <a:pt x="24630" y="17880"/>
                  </a:lnTo>
                  <a:lnTo>
                    <a:pt x="24630" y="17120"/>
                  </a:lnTo>
                  <a:lnTo>
                    <a:pt x="24630" y="16361"/>
                  </a:lnTo>
                  <a:lnTo>
                    <a:pt x="24585" y="15645"/>
                  </a:lnTo>
                  <a:lnTo>
                    <a:pt x="24496" y="14885"/>
                  </a:lnTo>
                  <a:lnTo>
                    <a:pt x="24361" y="14170"/>
                  </a:lnTo>
                  <a:lnTo>
                    <a:pt x="24138" y="13455"/>
                  </a:lnTo>
                  <a:lnTo>
                    <a:pt x="23914" y="12785"/>
                  </a:lnTo>
                  <a:lnTo>
                    <a:pt x="23557" y="12114"/>
                  </a:lnTo>
                  <a:lnTo>
                    <a:pt x="23155" y="11488"/>
                  </a:lnTo>
                  <a:lnTo>
                    <a:pt x="22484" y="10460"/>
                  </a:lnTo>
                  <a:lnTo>
                    <a:pt x="21724" y="9298"/>
                  </a:lnTo>
                  <a:lnTo>
                    <a:pt x="20964" y="7957"/>
                  </a:lnTo>
                  <a:lnTo>
                    <a:pt x="20204" y="6527"/>
                  </a:lnTo>
                  <a:lnTo>
                    <a:pt x="18729" y="3755"/>
                  </a:lnTo>
                  <a:lnTo>
                    <a:pt x="17522" y="1476"/>
                  </a:lnTo>
                  <a:lnTo>
                    <a:pt x="17478" y="1342"/>
                  </a:lnTo>
                  <a:lnTo>
                    <a:pt x="16807" y="1"/>
                  </a:lnTo>
                  <a:close/>
                </a:path>
              </a:pathLst>
            </a:custGeom>
            <a:solidFill>
              <a:srgbClr val="D9395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3" name="Google Shape;2292;p11">
              <a:extLst>
                <a:ext uri="{FF2B5EF4-FFF2-40B4-BE49-F238E27FC236}">
                  <a16:creationId xmlns:a16="http://schemas.microsoft.com/office/drawing/2014/main" id="{1170EFB6-D28C-B8C9-B571-B6D1226131EC}"/>
                </a:ext>
              </a:extLst>
            </p:cNvPr>
            <p:cNvSpPr/>
            <p:nvPr/>
          </p:nvSpPr>
          <p:spPr>
            <a:xfrm>
              <a:off x="8792735" y="1076314"/>
              <a:ext cx="163207" cy="261184"/>
            </a:xfrm>
            <a:custGeom>
              <a:avLst/>
              <a:gdLst/>
              <a:ahLst/>
              <a:cxnLst/>
              <a:rect l="l" t="t" r="r" b="b"/>
              <a:pathLst>
                <a:path w="26061" h="41706" fill="none" extrusionOk="0">
                  <a:moveTo>
                    <a:pt x="0" y="24719"/>
                  </a:moveTo>
                  <a:lnTo>
                    <a:pt x="0" y="24719"/>
                  </a:lnTo>
                  <a:lnTo>
                    <a:pt x="45" y="25658"/>
                  </a:lnTo>
                  <a:lnTo>
                    <a:pt x="134" y="26686"/>
                  </a:lnTo>
                  <a:lnTo>
                    <a:pt x="447" y="29189"/>
                  </a:lnTo>
                  <a:lnTo>
                    <a:pt x="894" y="31916"/>
                  </a:lnTo>
                  <a:lnTo>
                    <a:pt x="1386" y="34687"/>
                  </a:lnTo>
                  <a:lnTo>
                    <a:pt x="2280" y="39381"/>
                  </a:lnTo>
                  <a:lnTo>
                    <a:pt x="2638" y="41347"/>
                  </a:lnTo>
                  <a:lnTo>
                    <a:pt x="2638" y="41347"/>
                  </a:lnTo>
                  <a:lnTo>
                    <a:pt x="3398" y="41526"/>
                  </a:lnTo>
                  <a:lnTo>
                    <a:pt x="4113" y="41660"/>
                  </a:lnTo>
                  <a:lnTo>
                    <a:pt x="4738" y="41705"/>
                  </a:lnTo>
                  <a:lnTo>
                    <a:pt x="5320" y="41705"/>
                  </a:lnTo>
                  <a:lnTo>
                    <a:pt x="5856" y="41660"/>
                  </a:lnTo>
                  <a:lnTo>
                    <a:pt x="6303" y="41571"/>
                  </a:lnTo>
                  <a:lnTo>
                    <a:pt x="6705" y="41482"/>
                  </a:lnTo>
                  <a:lnTo>
                    <a:pt x="7063" y="41392"/>
                  </a:lnTo>
                  <a:lnTo>
                    <a:pt x="7063" y="41392"/>
                  </a:lnTo>
                  <a:lnTo>
                    <a:pt x="7644" y="41169"/>
                  </a:lnTo>
                  <a:lnTo>
                    <a:pt x="7823" y="41079"/>
                  </a:lnTo>
                  <a:lnTo>
                    <a:pt x="7823" y="41079"/>
                  </a:lnTo>
                  <a:lnTo>
                    <a:pt x="7689" y="40409"/>
                  </a:lnTo>
                  <a:lnTo>
                    <a:pt x="7376" y="38665"/>
                  </a:lnTo>
                  <a:lnTo>
                    <a:pt x="6571" y="33480"/>
                  </a:lnTo>
                  <a:lnTo>
                    <a:pt x="5722" y="27982"/>
                  </a:lnTo>
                  <a:lnTo>
                    <a:pt x="5454" y="25926"/>
                  </a:lnTo>
                  <a:lnTo>
                    <a:pt x="5364" y="24809"/>
                  </a:lnTo>
                  <a:lnTo>
                    <a:pt x="5364" y="24809"/>
                  </a:lnTo>
                  <a:lnTo>
                    <a:pt x="5409" y="24317"/>
                  </a:lnTo>
                  <a:lnTo>
                    <a:pt x="5588" y="23691"/>
                  </a:lnTo>
                  <a:lnTo>
                    <a:pt x="5856" y="23021"/>
                  </a:lnTo>
                  <a:lnTo>
                    <a:pt x="6169" y="22261"/>
                  </a:lnTo>
                  <a:lnTo>
                    <a:pt x="6571" y="21412"/>
                  </a:lnTo>
                  <a:lnTo>
                    <a:pt x="7018" y="20562"/>
                  </a:lnTo>
                  <a:lnTo>
                    <a:pt x="7510" y="19713"/>
                  </a:lnTo>
                  <a:lnTo>
                    <a:pt x="8046" y="18864"/>
                  </a:lnTo>
                  <a:lnTo>
                    <a:pt x="8583" y="18059"/>
                  </a:lnTo>
                  <a:lnTo>
                    <a:pt x="9119" y="17299"/>
                  </a:lnTo>
                  <a:lnTo>
                    <a:pt x="9655" y="16629"/>
                  </a:lnTo>
                  <a:lnTo>
                    <a:pt x="10192" y="16048"/>
                  </a:lnTo>
                  <a:lnTo>
                    <a:pt x="10639" y="15601"/>
                  </a:lnTo>
                  <a:lnTo>
                    <a:pt x="11086" y="15288"/>
                  </a:lnTo>
                  <a:lnTo>
                    <a:pt x="11265" y="15198"/>
                  </a:lnTo>
                  <a:lnTo>
                    <a:pt x="11443" y="15109"/>
                  </a:lnTo>
                  <a:lnTo>
                    <a:pt x="11577" y="15109"/>
                  </a:lnTo>
                  <a:lnTo>
                    <a:pt x="11712" y="15154"/>
                  </a:lnTo>
                  <a:lnTo>
                    <a:pt x="11712" y="15154"/>
                  </a:lnTo>
                  <a:lnTo>
                    <a:pt x="12024" y="15377"/>
                  </a:lnTo>
                  <a:lnTo>
                    <a:pt x="12337" y="15645"/>
                  </a:lnTo>
                  <a:lnTo>
                    <a:pt x="12650" y="16048"/>
                  </a:lnTo>
                  <a:lnTo>
                    <a:pt x="13008" y="16539"/>
                  </a:lnTo>
                  <a:lnTo>
                    <a:pt x="13365" y="17076"/>
                  </a:lnTo>
                  <a:lnTo>
                    <a:pt x="13678" y="17657"/>
                  </a:lnTo>
                  <a:lnTo>
                    <a:pt x="14036" y="18327"/>
                  </a:lnTo>
                  <a:lnTo>
                    <a:pt x="14349" y="19043"/>
                  </a:lnTo>
                  <a:lnTo>
                    <a:pt x="14662" y="19802"/>
                  </a:lnTo>
                  <a:lnTo>
                    <a:pt x="14975" y="20562"/>
                  </a:lnTo>
                  <a:lnTo>
                    <a:pt x="15243" y="21367"/>
                  </a:lnTo>
                  <a:lnTo>
                    <a:pt x="15511" y="22171"/>
                  </a:lnTo>
                  <a:lnTo>
                    <a:pt x="15690" y="22976"/>
                  </a:lnTo>
                  <a:lnTo>
                    <a:pt x="15869" y="23781"/>
                  </a:lnTo>
                  <a:lnTo>
                    <a:pt x="16003" y="24585"/>
                  </a:lnTo>
                  <a:lnTo>
                    <a:pt x="16092" y="25345"/>
                  </a:lnTo>
                  <a:lnTo>
                    <a:pt x="16092" y="25345"/>
                  </a:lnTo>
                  <a:lnTo>
                    <a:pt x="16092" y="25971"/>
                  </a:lnTo>
                  <a:lnTo>
                    <a:pt x="16092" y="26552"/>
                  </a:lnTo>
                  <a:lnTo>
                    <a:pt x="16047" y="27133"/>
                  </a:lnTo>
                  <a:lnTo>
                    <a:pt x="15913" y="27625"/>
                  </a:lnTo>
                  <a:lnTo>
                    <a:pt x="15913" y="27625"/>
                  </a:lnTo>
                  <a:lnTo>
                    <a:pt x="15735" y="28340"/>
                  </a:lnTo>
                  <a:lnTo>
                    <a:pt x="15556" y="28921"/>
                  </a:lnTo>
                  <a:lnTo>
                    <a:pt x="15332" y="29502"/>
                  </a:lnTo>
                  <a:lnTo>
                    <a:pt x="15109" y="29994"/>
                  </a:lnTo>
                  <a:lnTo>
                    <a:pt x="14662" y="30843"/>
                  </a:lnTo>
                  <a:lnTo>
                    <a:pt x="14259" y="31558"/>
                  </a:lnTo>
                  <a:lnTo>
                    <a:pt x="13947" y="32184"/>
                  </a:lnTo>
                  <a:lnTo>
                    <a:pt x="13812" y="32452"/>
                  </a:lnTo>
                  <a:lnTo>
                    <a:pt x="13768" y="32765"/>
                  </a:lnTo>
                  <a:lnTo>
                    <a:pt x="13678" y="33033"/>
                  </a:lnTo>
                  <a:lnTo>
                    <a:pt x="13678" y="33346"/>
                  </a:lnTo>
                  <a:lnTo>
                    <a:pt x="13723" y="33659"/>
                  </a:lnTo>
                  <a:lnTo>
                    <a:pt x="13812" y="33972"/>
                  </a:lnTo>
                  <a:lnTo>
                    <a:pt x="13812" y="33972"/>
                  </a:lnTo>
                  <a:lnTo>
                    <a:pt x="13902" y="34151"/>
                  </a:lnTo>
                  <a:lnTo>
                    <a:pt x="14036" y="34330"/>
                  </a:lnTo>
                  <a:lnTo>
                    <a:pt x="14483" y="34732"/>
                  </a:lnTo>
                  <a:lnTo>
                    <a:pt x="15109" y="35179"/>
                  </a:lnTo>
                  <a:lnTo>
                    <a:pt x="15869" y="35671"/>
                  </a:lnTo>
                  <a:lnTo>
                    <a:pt x="16763" y="36162"/>
                  </a:lnTo>
                  <a:lnTo>
                    <a:pt x="17746" y="36654"/>
                  </a:lnTo>
                  <a:lnTo>
                    <a:pt x="18774" y="37101"/>
                  </a:lnTo>
                  <a:lnTo>
                    <a:pt x="19847" y="37548"/>
                  </a:lnTo>
                  <a:lnTo>
                    <a:pt x="20920" y="37995"/>
                  </a:lnTo>
                  <a:lnTo>
                    <a:pt x="21948" y="38353"/>
                  </a:lnTo>
                  <a:lnTo>
                    <a:pt x="22931" y="38665"/>
                  </a:lnTo>
                  <a:lnTo>
                    <a:pt x="23825" y="38889"/>
                  </a:lnTo>
                  <a:lnTo>
                    <a:pt x="24585" y="39068"/>
                  </a:lnTo>
                  <a:lnTo>
                    <a:pt x="25211" y="39112"/>
                  </a:lnTo>
                  <a:lnTo>
                    <a:pt x="25479" y="39112"/>
                  </a:lnTo>
                  <a:lnTo>
                    <a:pt x="25702" y="39068"/>
                  </a:lnTo>
                  <a:lnTo>
                    <a:pt x="25837" y="39023"/>
                  </a:lnTo>
                  <a:lnTo>
                    <a:pt x="25926" y="38934"/>
                  </a:lnTo>
                  <a:lnTo>
                    <a:pt x="25926" y="38934"/>
                  </a:lnTo>
                  <a:lnTo>
                    <a:pt x="25971" y="38800"/>
                  </a:lnTo>
                  <a:lnTo>
                    <a:pt x="26015" y="38576"/>
                  </a:lnTo>
                  <a:lnTo>
                    <a:pt x="26060" y="37995"/>
                  </a:lnTo>
                  <a:lnTo>
                    <a:pt x="26015" y="37235"/>
                  </a:lnTo>
                  <a:lnTo>
                    <a:pt x="25881" y="36296"/>
                  </a:lnTo>
                  <a:lnTo>
                    <a:pt x="25568" y="33972"/>
                  </a:lnTo>
                  <a:lnTo>
                    <a:pt x="25166" y="31380"/>
                  </a:lnTo>
                  <a:lnTo>
                    <a:pt x="24719" y="28653"/>
                  </a:lnTo>
                  <a:lnTo>
                    <a:pt x="24361" y="26060"/>
                  </a:lnTo>
                  <a:lnTo>
                    <a:pt x="24227" y="24943"/>
                  </a:lnTo>
                  <a:lnTo>
                    <a:pt x="24093" y="23915"/>
                  </a:lnTo>
                  <a:lnTo>
                    <a:pt x="24093" y="23065"/>
                  </a:lnTo>
                  <a:lnTo>
                    <a:pt x="24093" y="22395"/>
                  </a:lnTo>
                  <a:lnTo>
                    <a:pt x="24093" y="22395"/>
                  </a:lnTo>
                  <a:lnTo>
                    <a:pt x="24406" y="19981"/>
                  </a:lnTo>
                  <a:lnTo>
                    <a:pt x="24585" y="18596"/>
                  </a:lnTo>
                  <a:lnTo>
                    <a:pt x="24630" y="17880"/>
                  </a:lnTo>
                  <a:lnTo>
                    <a:pt x="24630" y="17120"/>
                  </a:lnTo>
                  <a:lnTo>
                    <a:pt x="24630" y="16361"/>
                  </a:lnTo>
                  <a:lnTo>
                    <a:pt x="24585" y="15645"/>
                  </a:lnTo>
                  <a:lnTo>
                    <a:pt x="24496" y="14885"/>
                  </a:lnTo>
                  <a:lnTo>
                    <a:pt x="24361" y="14170"/>
                  </a:lnTo>
                  <a:lnTo>
                    <a:pt x="24138" y="13455"/>
                  </a:lnTo>
                  <a:lnTo>
                    <a:pt x="23914" y="12785"/>
                  </a:lnTo>
                  <a:lnTo>
                    <a:pt x="23557" y="12114"/>
                  </a:lnTo>
                  <a:lnTo>
                    <a:pt x="23155" y="11488"/>
                  </a:lnTo>
                  <a:lnTo>
                    <a:pt x="23155" y="11488"/>
                  </a:lnTo>
                  <a:lnTo>
                    <a:pt x="22484" y="10460"/>
                  </a:lnTo>
                  <a:lnTo>
                    <a:pt x="21724" y="9298"/>
                  </a:lnTo>
                  <a:lnTo>
                    <a:pt x="20964" y="7957"/>
                  </a:lnTo>
                  <a:lnTo>
                    <a:pt x="20204" y="6527"/>
                  </a:lnTo>
                  <a:lnTo>
                    <a:pt x="18729" y="3755"/>
                  </a:lnTo>
                  <a:lnTo>
                    <a:pt x="17522" y="1476"/>
                  </a:lnTo>
                  <a:lnTo>
                    <a:pt x="17522" y="1476"/>
                  </a:lnTo>
                  <a:lnTo>
                    <a:pt x="17478" y="1342"/>
                  </a:lnTo>
                  <a:lnTo>
                    <a:pt x="17478" y="1342"/>
                  </a:lnTo>
                  <a:lnTo>
                    <a:pt x="16807" y="1"/>
                  </a:lnTo>
                  <a:lnTo>
                    <a:pt x="16807" y="1"/>
                  </a:lnTo>
                  <a:lnTo>
                    <a:pt x="16271" y="314"/>
                  </a:lnTo>
                  <a:lnTo>
                    <a:pt x="15735" y="671"/>
                  </a:lnTo>
                  <a:lnTo>
                    <a:pt x="14572" y="1520"/>
                  </a:lnTo>
                  <a:lnTo>
                    <a:pt x="14572" y="1520"/>
                  </a:lnTo>
                  <a:lnTo>
                    <a:pt x="13231" y="2683"/>
                  </a:lnTo>
                  <a:lnTo>
                    <a:pt x="11801" y="3979"/>
                  </a:lnTo>
                  <a:lnTo>
                    <a:pt x="10326" y="5499"/>
                  </a:lnTo>
                  <a:lnTo>
                    <a:pt x="8851" y="7108"/>
                  </a:lnTo>
                  <a:lnTo>
                    <a:pt x="8851" y="7108"/>
                  </a:lnTo>
                  <a:lnTo>
                    <a:pt x="7912" y="8225"/>
                  </a:lnTo>
                  <a:lnTo>
                    <a:pt x="6973" y="9387"/>
                  </a:lnTo>
                  <a:lnTo>
                    <a:pt x="6124" y="10594"/>
                  </a:lnTo>
                  <a:lnTo>
                    <a:pt x="5275" y="11846"/>
                  </a:lnTo>
                  <a:lnTo>
                    <a:pt x="4470" y="13098"/>
                  </a:lnTo>
                  <a:lnTo>
                    <a:pt x="3755" y="14394"/>
                  </a:lnTo>
                  <a:lnTo>
                    <a:pt x="3085" y="15645"/>
                  </a:lnTo>
                  <a:lnTo>
                    <a:pt x="2459" y="16852"/>
                  </a:lnTo>
                  <a:lnTo>
                    <a:pt x="1878" y="18104"/>
                  </a:lnTo>
                  <a:lnTo>
                    <a:pt x="1386" y="19266"/>
                  </a:lnTo>
                  <a:lnTo>
                    <a:pt x="984" y="20383"/>
                  </a:lnTo>
                  <a:lnTo>
                    <a:pt x="626" y="21412"/>
                  </a:lnTo>
                  <a:lnTo>
                    <a:pt x="358" y="22395"/>
                  </a:lnTo>
                  <a:lnTo>
                    <a:pt x="134" y="23289"/>
                  </a:lnTo>
                  <a:lnTo>
                    <a:pt x="45" y="24049"/>
                  </a:lnTo>
                  <a:lnTo>
                    <a:pt x="0" y="2471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4" name="Google Shape;2293;p11">
              <a:extLst>
                <a:ext uri="{FF2B5EF4-FFF2-40B4-BE49-F238E27FC236}">
                  <a16:creationId xmlns:a16="http://schemas.microsoft.com/office/drawing/2014/main" id="{67280522-71C1-53E9-65A7-C34376A6FDB8}"/>
                </a:ext>
              </a:extLst>
            </p:cNvPr>
            <p:cNvSpPr/>
            <p:nvPr/>
          </p:nvSpPr>
          <p:spPr>
            <a:xfrm>
              <a:off x="8939979" y="1077993"/>
              <a:ext cx="242421" cy="232351"/>
            </a:xfrm>
            <a:custGeom>
              <a:avLst/>
              <a:gdLst/>
              <a:ahLst/>
              <a:cxnLst/>
              <a:rect l="l" t="t" r="r" b="b"/>
              <a:pathLst>
                <a:path w="38710" h="37102" extrusionOk="0">
                  <a:moveTo>
                    <a:pt x="0" y="1"/>
                  </a:moveTo>
                  <a:lnTo>
                    <a:pt x="0" y="46"/>
                  </a:lnTo>
                  <a:lnTo>
                    <a:pt x="45" y="135"/>
                  </a:lnTo>
                  <a:lnTo>
                    <a:pt x="224" y="493"/>
                  </a:lnTo>
                  <a:lnTo>
                    <a:pt x="537" y="1074"/>
                  </a:lnTo>
                  <a:lnTo>
                    <a:pt x="671" y="1476"/>
                  </a:lnTo>
                  <a:lnTo>
                    <a:pt x="805" y="1878"/>
                  </a:lnTo>
                  <a:lnTo>
                    <a:pt x="1073" y="2638"/>
                  </a:lnTo>
                  <a:lnTo>
                    <a:pt x="1341" y="3398"/>
                  </a:lnTo>
                  <a:lnTo>
                    <a:pt x="1654" y="4292"/>
                  </a:lnTo>
                  <a:lnTo>
                    <a:pt x="1967" y="5186"/>
                  </a:lnTo>
                  <a:lnTo>
                    <a:pt x="2190" y="5856"/>
                  </a:lnTo>
                  <a:lnTo>
                    <a:pt x="2414" y="6438"/>
                  </a:lnTo>
                  <a:lnTo>
                    <a:pt x="2637" y="6974"/>
                  </a:lnTo>
                  <a:lnTo>
                    <a:pt x="2906" y="7421"/>
                  </a:lnTo>
                  <a:lnTo>
                    <a:pt x="3442" y="8315"/>
                  </a:lnTo>
                  <a:lnTo>
                    <a:pt x="3978" y="9075"/>
                  </a:lnTo>
                  <a:lnTo>
                    <a:pt x="5275" y="10729"/>
                  </a:lnTo>
                  <a:lnTo>
                    <a:pt x="5990" y="11801"/>
                  </a:lnTo>
                  <a:lnTo>
                    <a:pt x="6794" y="13098"/>
                  </a:lnTo>
                  <a:lnTo>
                    <a:pt x="6929" y="13411"/>
                  </a:lnTo>
                  <a:lnTo>
                    <a:pt x="7063" y="13768"/>
                  </a:lnTo>
                  <a:lnTo>
                    <a:pt x="7197" y="14126"/>
                  </a:lnTo>
                  <a:lnTo>
                    <a:pt x="7286" y="14573"/>
                  </a:lnTo>
                  <a:lnTo>
                    <a:pt x="7376" y="15467"/>
                  </a:lnTo>
                  <a:lnTo>
                    <a:pt x="7420" y="16540"/>
                  </a:lnTo>
                  <a:lnTo>
                    <a:pt x="7376" y="17657"/>
                  </a:lnTo>
                  <a:lnTo>
                    <a:pt x="7331" y="18864"/>
                  </a:lnTo>
                  <a:lnTo>
                    <a:pt x="7063" y="21456"/>
                  </a:lnTo>
                  <a:lnTo>
                    <a:pt x="6794" y="24183"/>
                  </a:lnTo>
                  <a:lnTo>
                    <a:pt x="6660" y="25613"/>
                  </a:lnTo>
                  <a:lnTo>
                    <a:pt x="6571" y="26999"/>
                  </a:lnTo>
                  <a:lnTo>
                    <a:pt x="6526" y="28385"/>
                  </a:lnTo>
                  <a:lnTo>
                    <a:pt x="6526" y="29726"/>
                  </a:lnTo>
                  <a:lnTo>
                    <a:pt x="6571" y="31022"/>
                  </a:lnTo>
                  <a:lnTo>
                    <a:pt x="6705" y="32274"/>
                  </a:lnTo>
                  <a:lnTo>
                    <a:pt x="6750" y="32542"/>
                  </a:lnTo>
                  <a:lnTo>
                    <a:pt x="6884" y="33346"/>
                  </a:lnTo>
                  <a:lnTo>
                    <a:pt x="7107" y="34106"/>
                  </a:lnTo>
                  <a:lnTo>
                    <a:pt x="7376" y="34822"/>
                  </a:lnTo>
                  <a:lnTo>
                    <a:pt x="7688" y="35492"/>
                  </a:lnTo>
                  <a:lnTo>
                    <a:pt x="7823" y="35716"/>
                  </a:lnTo>
                  <a:lnTo>
                    <a:pt x="7957" y="35939"/>
                  </a:lnTo>
                  <a:lnTo>
                    <a:pt x="8180" y="36118"/>
                  </a:lnTo>
                  <a:lnTo>
                    <a:pt x="8359" y="36297"/>
                  </a:lnTo>
                  <a:lnTo>
                    <a:pt x="8851" y="36565"/>
                  </a:lnTo>
                  <a:lnTo>
                    <a:pt x="9387" y="36788"/>
                  </a:lnTo>
                  <a:lnTo>
                    <a:pt x="9968" y="36967"/>
                  </a:lnTo>
                  <a:lnTo>
                    <a:pt x="10549" y="37057"/>
                  </a:lnTo>
                  <a:lnTo>
                    <a:pt x="11086" y="37101"/>
                  </a:lnTo>
                  <a:lnTo>
                    <a:pt x="11577" y="37101"/>
                  </a:lnTo>
                  <a:lnTo>
                    <a:pt x="11890" y="37057"/>
                  </a:lnTo>
                  <a:lnTo>
                    <a:pt x="12158" y="36967"/>
                  </a:lnTo>
                  <a:lnTo>
                    <a:pt x="12382" y="36833"/>
                  </a:lnTo>
                  <a:lnTo>
                    <a:pt x="12561" y="36654"/>
                  </a:lnTo>
                  <a:lnTo>
                    <a:pt x="12695" y="36475"/>
                  </a:lnTo>
                  <a:lnTo>
                    <a:pt x="12739" y="36207"/>
                  </a:lnTo>
                  <a:lnTo>
                    <a:pt x="12739" y="35939"/>
                  </a:lnTo>
                  <a:lnTo>
                    <a:pt x="12650" y="35626"/>
                  </a:lnTo>
                  <a:lnTo>
                    <a:pt x="12382" y="34911"/>
                  </a:lnTo>
                  <a:lnTo>
                    <a:pt x="12158" y="34196"/>
                  </a:lnTo>
                  <a:lnTo>
                    <a:pt x="11980" y="33481"/>
                  </a:lnTo>
                  <a:lnTo>
                    <a:pt x="11845" y="32765"/>
                  </a:lnTo>
                  <a:lnTo>
                    <a:pt x="11577" y="31380"/>
                  </a:lnTo>
                  <a:lnTo>
                    <a:pt x="11488" y="30039"/>
                  </a:lnTo>
                  <a:lnTo>
                    <a:pt x="11443" y="28653"/>
                  </a:lnTo>
                  <a:lnTo>
                    <a:pt x="11443" y="27312"/>
                  </a:lnTo>
                  <a:lnTo>
                    <a:pt x="11488" y="25971"/>
                  </a:lnTo>
                  <a:lnTo>
                    <a:pt x="11577" y="24630"/>
                  </a:lnTo>
                  <a:lnTo>
                    <a:pt x="11801" y="21903"/>
                  </a:lnTo>
                  <a:lnTo>
                    <a:pt x="11890" y="20473"/>
                  </a:lnTo>
                  <a:lnTo>
                    <a:pt x="11935" y="19043"/>
                  </a:lnTo>
                  <a:lnTo>
                    <a:pt x="11890" y="17568"/>
                  </a:lnTo>
                  <a:lnTo>
                    <a:pt x="11845" y="16048"/>
                  </a:lnTo>
                  <a:lnTo>
                    <a:pt x="11667" y="14439"/>
                  </a:lnTo>
                  <a:lnTo>
                    <a:pt x="11354" y="12830"/>
                  </a:lnTo>
                  <a:lnTo>
                    <a:pt x="11175" y="12114"/>
                  </a:lnTo>
                  <a:lnTo>
                    <a:pt x="10951" y="11578"/>
                  </a:lnTo>
                  <a:lnTo>
                    <a:pt x="10728" y="11131"/>
                  </a:lnTo>
                  <a:lnTo>
                    <a:pt x="10460" y="10773"/>
                  </a:lnTo>
                  <a:lnTo>
                    <a:pt x="9923" y="10148"/>
                  </a:lnTo>
                  <a:lnTo>
                    <a:pt x="9700" y="9879"/>
                  </a:lnTo>
                  <a:lnTo>
                    <a:pt x="9476" y="9611"/>
                  </a:lnTo>
                  <a:lnTo>
                    <a:pt x="9432" y="9522"/>
                  </a:lnTo>
                  <a:lnTo>
                    <a:pt x="9432" y="9432"/>
                  </a:lnTo>
                  <a:lnTo>
                    <a:pt x="9476" y="9388"/>
                  </a:lnTo>
                  <a:lnTo>
                    <a:pt x="9566" y="9388"/>
                  </a:lnTo>
                  <a:lnTo>
                    <a:pt x="9834" y="9432"/>
                  </a:lnTo>
                  <a:lnTo>
                    <a:pt x="10236" y="9611"/>
                  </a:lnTo>
                  <a:lnTo>
                    <a:pt x="11354" y="10103"/>
                  </a:lnTo>
                  <a:lnTo>
                    <a:pt x="12874" y="10818"/>
                  </a:lnTo>
                  <a:lnTo>
                    <a:pt x="14662" y="11667"/>
                  </a:lnTo>
                  <a:lnTo>
                    <a:pt x="15600" y="12070"/>
                  </a:lnTo>
                  <a:lnTo>
                    <a:pt x="16584" y="12427"/>
                  </a:lnTo>
                  <a:lnTo>
                    <a:pt x="17612" y="12785"/>
                  </a:lnTo>
                  <a:lnTo>
                    <a:pt x="18595" y="13098"/>
                  </a:lnTo>
                  <a:lnTo>
                    <a:pt x="19623" y="13366"/>
                  </a:lnTo>
                  <a:lnTo>
                    <a:pt x="20562" y="13500"/>
                  </a:lnTo>
                  <a:lnTo>
                    <a:pt x="21188" y="13589"/>
                  </a:lnTo>
                  <a:lnTo>
                    <a:pt x="22037" y="13589"/>
                  </a:lnTo>
                  <a:lnTo>
                    <a:pt x="23020" y="13545"/>
                  </a:lnTo>
                  <a:lnTo>
                    <a:pt x="24138" y="13500"/>
                  </a:lnTo>
                  <a:lnTo>
                    <a:pt x="25345" y="13366"/>
                  </a:lnTo>
                  <a:lnTo>
                    <a:pt x="26686" y="13232"/>
                  </a:lnTo>
                  <a:lnTo>
                    <a:pt x="28071" y="13053"/>
                  </a:lnTo>
                  <a:lnTo>
                    <a:pt x="29457" y="12830"/>
                  </a:lnTo>
                  <a:lnTo>
                    <a:pt x="30843" y="12561"/>
                  </a:lnTo>
                  <a:lnTo>
                    <a:pt x="32228" y="12293"/>
                  </a:lnTo>
                  <a:lnTo>
                    <a:pt x="33525" y="11936"/>
                  </a:lnTo>
                  <a:lnTo>
                    <a:pt x="34776" y="11578"/>
                  </a:lnTo>
                  <a:lnTo>
                    <a:pt x="35894" y="11176"/>
                  </a:lnTo>
                  <a:lnTo>
                    <a:pt x="36877" y="10729"/>
                  </a:lnTo>
                  <a:lnTo>
                    <a:pt x="37279" y="10460"/>
                  </a:lnTo>
                  <a:lnTo>
                    <a:pt x="37682" y="10237"/>
                  </a:lnTo>
                  <a:lnTo>
                    <a:pt x="37995" y="9969"/>
                  </a:lnTo>
                  <a:lnTo>
                    <a:pt x="38307" y="9701"/>
                  </a:lnTo>
                  <a:lnTo>
                    <a:pt x="38442" y="9477"/>
                  </a:lnTo>
                  <a:lnTo>
                    <a:pt x="38531" y="9209"/>
                  </a:lnTo>
                  <a:lnTo>
                    <a:pt x="38620" y="8896"/>
                  </a:lnTo>
                  <a:lnTo>
                    <a:pt x="38665" y="8538"/>
                  </a:lnTo>
                  <a:lnTo>
                    <a:pt x="38710" y="7689"/>
                  </a:lnTo>
                  <a:lnTo>
                    <a:pt x="38620" y="6840"/>
                  </a:lnTo>
                  <a:lnTo>
                    <a:pt x="38486" y="5991"/>
                  </a:lnTo>
                  <a:lnTo>
                    <a:pt x="38352" y="5633"/>
                  </a:lnTo>
                  <a:lnTo>
                    <a:pt x="38218" y="5365"/>
                  </a:lnTo>
                  <a:lnTo>
                    <a:pt x="38084" y="5097"/>
                  </a:lnTo>
                  <a:lnTo>
                    <a:pt x="37950" y="4918"/>
                  </a:lnTo>
                  <a:lnTo>
                    <a:pt x="37816" y="4873"/>
                  </a:lnTo>
                  <a:lnTo>
                    <a:pt x="37637" y="4873"/>
                  </a:lnTo>
                  <a:lnTo>
                    <a:pt x="36251" y="5320"/>
                  </a:lnTo>
                  <a:lnTo>
                    <a:pt x="34374" y="5901"/>
                  </a:lnTo>
                  <a:lnTo>
                    <a:pt x="32184" y="6438"/>
                  </a:lnTo>
                  <a:lnTo>
                    <a:pt x="29770" y="7019"/>
                  </a:lnTo>
                  <a:lnTo>
                    <a:pt x="27356" y="7466"/>
                  </a:lnTo>
                  <a:lnTo>
                    <a:pt x="26149" y="7644"/>
                  </a:lnTo>
                  <a:lnTo>
                    <a:pt x="25032" y="7823"/>
                  </a:lnTo>
                  <a:lnTo>
                    <a:pt x="23914" y="7913"/>
                  </a:lnTo>
                  <a:lnTo>
                    <a:pt x="22886" y="8002"/>
                  </a:lnTo>
                  <a:lnTo>
                    <a:pt x="21992" y="8002"/>
                  </a:lnTo>
                  <a:lnTo>
                    <a:pt x="21143" y="7957"/>
                  </a:lnTo>
                  <a:lnTo>
                    <a:pt x="20785" y="7868"/>
                  </a:lnTo>
                  <a:lnTo>
                    <a:pt x="20383" y="7779"/>
                  </a:lnTo>
                  <a:lnTo>
                    <a:pt x="19534" y="7510"/>
                  </a:lnTo>
                  <a:lnTo>
                    <a:pt x="18640" y="7153"/>
                  </a:lnTo>
                  <a:lnTo>
                    <a:pt x="17612" y="6706"/>
                  </a:lnTo>
                  <a:lnTo>
                    <a:pt x="15421" y="5588"/>
                  </a:lnTo>
                  <a:lnTo>
                    <a:pt x="12963" y="4337"/>
                  </a:lnTo>
                  <a:lnTo>
                    <a:pt x="11622" y="3666"/>
                  </a:lnTo>
                  <a:lnTo>
                    <a:pt x="10192" y="3040"/>
                  </a:lnTo>
                  <a:lnTo>
                    <a:pt x="8672" y="2415"/>
                  </a:lnTo>
                  <a:lnTo>
                    <a:pt x="7107" y="1789"/>
                  </a:lnTo>
                  <a:lnTo>
                    <a:pt x="5453" y="1252"/>
                  </a:lnTo>
                  <a:lnTo>
                    <a:pt x="3710" y="761"/>
                  </a:lnTo>
                  <a:lnTo>
                    <a:pt x="1922" y="314"/>
                  </a:lnTo>
                  <a:lnTo>
                    <a:pt x="984" y="13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9395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5" name="Google Shape;2294;p11">
              <a:extLst>
                <a:ext uri="{FF2B5EF4-FFF2-40B4-BE49-F238E27FC236}">
                  <a16:creationId xmlns:a16="http://schemas.microsoft.com/office/drawing/2014/main" id="{0F5F73F0-92AC-0886-FA97-344D0B577DCD}"/>
                </a:ext>
              </a:extLst>
            </p:cNvPr>
            <p:cNvSpPr/>
            <p:nvPr/>
          </p:nvSpPr>
          <p:spPr>
            <a:xfrm>
              <a:off x="8867754" y="1172331"/>
              <a:ext cx="20165" cy="36955"/>
            </a:xfrm>
            <a:custGeom>
              <a:avLst/>
              <a:gdLst/>
              <a:ahLst/>
              <a:cxnLst/>
              <a:rect l="l" t="t" r="r" b="b"/>
              <a:pathLst>
                <a:path w="3220" h="5901" extrusionOk="0">
                  <a:moveTo>
                    <a:pt x="1" y="0"/>
                  </a:moveTo>
                  <a:lnTo>
                    <a:pt x="269" y="269"/>
                  </a:lnTo>
                  <a:lnTo>
                    <a:pt x="582" y="626"/>
                  </a:lnTo>
                  <a:lnTo>
                    <a:pt x="895" y="1029"/>
                  </a:lnTo>
                  <a:lnTo>
                    <a:pt x="1208" y="1476"/>
                  </a:lnTo>
                  <a:lnTo>
                    <a:pt x="895" y="984"/>
                  </a:lnTo>
                  <a:lnTo>
                    <a:pt x="582" y="582"/>
                  </a:lnTo>
                  <a:lnTo>
                    <a:pt x="314" y="269"/>
                  </a:lnTo>
                  <a:lnTo>
                    <a:pt x="1" y="0"/>
                  </a:lnTo>
                  <a:close/>
                  <a:moveTo>
                    <a:pt x="1208" y="1476"/>
                  </a:moveTo>
                  <a:lnTo>
                    <a:pt x="1521" y="2012"/>
                  </a:lnTo>
                  <a:lnTo>
                    <a:pt x="2102" y="3174"/>
                  </a:lnTo>
                  <a:lnTo>
                    <a:pt x="2683" y="4515"/>
                  </a:lnTo>
                  <a:lnTo>
                    <a:pt x="3219" y="5901"/>
                  </a:lnTo>
                  <a:lnTo>
                    <a:pt x="2727" y="4470"/>
                  </a:lnTo>
                  <a:lnTo>
                    <a:pt x="2146" y="3174"/>
                  </a:lnTo>
                  <a:lnTo>
                    <a:pt x="1521" y="1967"/>
                  </a:lnTo>
                  <a:lnTo>
                    <a:pt x="1208" y="1476"/>
                  </a:lnTo>
                  <a:close/>
                </a:path>
              </a:pathLst>
            </a:custGeom>
            <a:solidFill>
              <a:srgbClr val="D5D5D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6" name="Google Shape;2295;p11">
              <a:extLst>
                <a:ext uri="{FF2B5EF4-FFF2-40B4-BE49-F238E27FC236}">
                  <a16:creationId xmlns:a16="http://schemas.microsoft.com/office/drawing/2014/main" id="{82450B50-BBBB-C49D-7C7B-3480CF6E3418}"/>
                </a:ext>
              </a:extLst>
            </p:cNvPr>
            <p:cNvSpPr/>
            <p:nvPr/>
          </p:nvSpPr>
          <p:spPr>
            <a:xfrm>
              <a:off x="8866076" y="1171210"/>
              <a:ext cx="26321" cy="56275"/>
            </a:xfrm>
            <a:custGeom>
              <a:avLst/>
              <a:gdLst/>
              <a:ahLst/>
              <a:cxnLst/>
              <a:rect l="l" t="t" r="r" b="b"/>
              <a:pathLst>
                <a:path w="4203" h="8986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269" y="179"/>
                  </a:lnTo>
                  <a:lnTo>
                    <a:pt x="537" y="448"/>
                  </a:lnTo>
                  <a:lnTo>
                    <a:pt x="850" y="805"/>
                  </a:lnTo>
                  <a:lnTo>
                    <a:pt x="1163" y="1208"/>
                  </a:lnTo>
                  <a:lnTo>
                    <a:pt x="1476" y="1655"/>
                  </a:lnTo>
                  <a:lnTo>
                    <a:pt x="1789" y="2191"/>
                  </a:lnTo>
                  <a:lnTo>
                    <a:pt x="2370" y="3353"/>
                  </a:lnTo>
                  <a:lnTo>
                    <a:pt x="2951" y="4694"/>
                  </a:lnTo>
                  <a:lnTo>
                    <a:pt x="3487" y="6080"/>
                  </a:lnTo>
                  <a:lnTo>
                    <a:pt x="3934" y="7555"/>
                  </a:lnTo>
                  <a:lnTo>
                    <a:pt x="4068" y="8270"/>
                  </a:lnTo>
                  <a:lnTo>
                    <a:pt x="4202" y="8985"/>
                  </a:lnTo>
                  <a:lnTo>
                    <a:pt x="4202" y="8985"/>
                  </a:lnTo>
                  <a:lnTo>
                    <a:pt x="4068" y="8270"/>
                  </a:lnTo>
                  <a:lnTo>
                    <a:pt x="3934" y="7555"/>
                  </a:lnTo>
                  <a:lnTo>
                    <a:pt x="3487" y="6080"/>
                  </a:lnTo>
                  <a:lnTo>
                    <a:pt x="2995" y="4649"/>
                  </a:lnTo>
                  <a:lnTo>
                    <a:pt x="2414" y="3353"/>
                  </a:lnTo>
                  <a:lnTo>
                    <a:pt x="1789" y="2146"/>
                  </a:lnTo>
                  <a:lnTo>
                    <a:pt x="1476" y="1655"/>
                  </a:lnTo>
                  <a:lnTo>
                    <a:pt x="1163" y="1163"/>
                  </a:lnTo>
                  <a:lnTo>
                    <a:pt x="850" y="761"/>
                  </a:lnTo>
                  <a:lnTo>
                    <a:pt x="582" y="448"/>
                  </a:lnTo>
                  <a:lnTo>
                    <a:pt x="269" y="179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7" name="Google Shape;2296;p11">
              <a:extLst>
                <a:ext uri="{FF2B5EF4-FFF2-40B4-BE49-F238E27FC236}">
                  <a16:creationId xmlns:a16="http://schemas.microsoft.com/office/drawing/2014/main" id="{28F2F672-F532-D5B9-1A9E-922E0BE81F05}"/>
                </a:ext>
              </a:extLst>
            </p:cNvPr>
            <p:cNvSpPr/>
            <p:nvPr/>
          </p:nvSpPr>
          <p:spPr>
            <a:xfrm>
              <a:off x="8866076" y="1171210"/>
              <a:ext cx="34995" cy="63834"/>
            </a:xfrm>
            <a:custGeom>
              <a:avLst/>
              <a:gdLst/>
              <a:ahLst/>
              <a:cxnLst/>
              <a:rect l="l" t="t" r="r" b="b"/>
              <a:pathLst>
                <a:path w="5588" h="10193" extrusionOk="0">
                  <a:moveTo>
                    <a:pt x="1" y="1"/>
                  </a:moveTo>
                  <a:lnTo>
                    <a:pt x="269" y="179"/>
                  </a:lnTo>
                  <a:lnTo>
                    <a:pt x="582" y="448"/>
                  </a:lnTo>
                  <a:lnTo>
                    <a:pt x="850" y="761"/>
                  </a:lnTo>
                  <a:lnTo>
                    <a:pt x="1163" y="1163"/>
                  </a:lnTo>
                  <a:lnTo>
                    <a:pt x="1476" y="1655"/>
                  </a:lnTo>
                  <a:lnTo>
                    <a:pt x="1789" y="2146"/>
                  </a:lnTo>
                  <a:lnTo>
                    <a:pt x="2414" y="3353"/>
                  </a:lnTo>
                  <a:lnTo>
                    <a:pt x="2995" y="4649"/>
                  </a:lnTo>
                  <a:lnTo>
                    <a:pt x="3487" y="6080"/>
                  </a:lnTo>
                  <a:lnTo>
                    <a:pt x="3934" y="7555"/>
                  </a:lnTo>
                  <a:lnTo>
                    <a:pt x="4068" y="8270"/>
                  </a:lnTo>
                  <a:lnTo>
                    <a:pt x="4202" y="8985"/>
                  </a:lnTo>
                  <a:lnTo>
                    <a:pt x="4292" y="9611"/>
                  </a:lnTo>
                  <a:lnTo>
                    <a:pt x="4381" y="10192"/>
                  </a:lnTo>
                  <a:lnTo>
                    <a:pt x="4828" y="8851"/>
                  </a:lnTo>
                  <a:lnTo>
                    <a:pt x="5230" y="7421"/>
                  </a:lnTo>
                  <a:lnTo>
                    <a:pt x="5409" y="6750"/>
                  </a:lnTo>
                  <a:lnTo>
                    <a:pt x="5543" y="6169"/>
                  </a:lnTo>
                  <a:lnTo>
                    <a:pt x="5588" y="5633"/>
                  </a:lnTo>
                  <a:lnTo>
                    <a:pt x="5588" y="5275"/>
                  </a:lnTo>
                  <a:lnTo>
                    <a:pt x="5543" y="5007"/>
                  </a:lnTo>
                  <a:lnTo>
                    <a:pt x="5409" y="4694"/>
                  </a:lnTo>
                  <a:lnTo>
                    <a:pt x="5230" y="4381"/>
                  </a:lnTo>
                  <a:lnTo>
                    <a:pt x="5052" y="4024"/>
                  </a:lnTo>
                  <a:lnTo>
                    <a:pt x="4470" y="3264"/>
                  </a:lnTo>
                  <a:lnTo>
                    <a:pt x="3800" y="2504"/>
                  </a:lnTo>
                  <a:lnTo>
                    <a:pt x="2951" y="1789"/>
                  </a:lnTo>
                  <a:lnTo>
                    <a:pt x="2504" y="1431"/>
                  </a:lnTo>
                  <a:lnTo>
                    <a:pt x="2012" y="1073"/>
                  </a:lnTo>
                  <a:lnTo>
                    <a:pt x="1565" y="761"/>
                  </a:lnTo>
                  <a:lnTo>
                    <a:pt x="1029" y="492"/>
                  </a:lnTo>
                  <a:lnTo>
                    <a:pt x="537" y="22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A24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8" name="Google Shape;2297;p11">
              <a:extLst>
                <a:ext uri="{FF2B5EF4-FFF2-40B4-BE49-F238E27FC236}">
                  <a16:creationId xmlns:a16="http://schemas.microsoft.com/office/drawing/2014/main" id="{2727AC55-404A-2448-F55D-656472B3D2B4}"/>
                </a:ext>
              </a:extLst>
            </p:cNvPr>
            <p:cNvSpPr/>
            <p:nvPr/>
          </p:nvSpPr>
          <p:spPr>
            <a:xfrm>
              <a:off x="8866076" y="1171210"/>
              <a:ext cx="34995" cy="63834"/>
            </a:xfrm>
            <a:custGeom>
              <a:avLst/>
              <a:gdLst/>
              <a:ahLst/>
              <a:cxnLst/>
              <a:rect l="l" t="t" r="r" b="b"/>
              <a:pathLst>
                <a:path w="5588" h="10193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269" y="179"/>
                  </a:lnTo>
                  <a:lnTo>
                    <a:pt x="582" y="448"/>
                  </a:lnTo>
                  <a:lnTo>
                    <a:pt x="850" y="761"/>
                  </a:lnTo>
                  <a:lnTo>
                    <a:pt x="1163" y="1163"/>
                  </a:lnTo>
                  <a:lnTo>
                    <a:pt x="1476" y="1655"/>
                  </a:lnTo>
                  <a:lnTo>
                    <a:pt x="1789" y="2146"/>
                  </a:lnTo>
                  <a:lnTo>
                    <a:pt x="2414" y="3353"/>
                  </a:lnTo>
                  <a:lnTo>
                    <a:pt x="2995" y="4649"/>
                  </a:lnTo>
                  <a:lnTo>
                    <a:pt x="3487" y="6080"/>
                  </a:lnTo>
                  <a:lnTo>
                    <a:pt x="3934" y="7555"/>
                  </a:lnTo>
                  <a:lnTo>
                    <a:pt x="4068" y="8270"/>
                  </a:lnTo>
                  <a:lnTo>
                    <a:pt x="4202" y="8985"/>
                  </a:lnTo>
                  <a:lnTo>
                    <a:pt x="4202" y="8985"/>
                  </a:lnTo>
                  <a:lnTo>
                    <a:pt x="4292" y="9611"/>
                  </a:lnTo>
                  <a:lnTo>
                    <a:pt x="4381" y="10192"/>
                  </a:lnTo>
                  <a:lnTo>
                    <a:pt x="4381" y="10192"/>
                  </a:lnTo>
                  <a:lnTo>
                    <a:pt x="4828" y="8851"/>
                  </a:lnTo>
                  <a:lnTo>
                    <a:pt x="5230" y="7421"/>
                  </a:lnTo>
                  <a:lnTo>
                    <a:pt x="5409" y="6750"/>
                  </a:lnTo>
                  <a:lnTo>
                    <a:pt x="5543" y="6169"/>
                  </a:lnTo>
                  <a:lnTo>
                    <a:pt x="5588" y="5633"/>
                  </a:lnTo>
                  <a:lnTo>
                    <a:pt x="5588" y="5275"/>
                  </a:lnTo>
                  <a:lnTo>
                    <a:pt x="5588" y="5275"/>
                  </a:lnTo>
                  <a:lnTo>
                    <a:pt x="5543" y="5007"/>
                  </a:lnTo>
                  <a:lnTo>
                    <a:pt x="5409" y="4694"/>
                  </a:lnTo>
                  <a:lnTo>
                    <a:pt x="5230" y="4381"/>
                  </a:lnTo>
                  <a:lnTo>
                    <a:pt x="5052" y="4024"/>
                  </a:lnTo>
                  <a:lnTo>
                    <a:pt x="4470" y="3264"/>
                  </a:lnTo>
                  <a:lnTo>
                    <a:pt x="3800" y="2504"/>
                  </a:lnTo>
                  <a:lnTo>
                    <a:pt x="2951" y="1789"/>
                  </a:lnTo>
                  <a:lnTo>
                    <a:pt x="2504" y="1431"/>
                  </a:lnTo>
                  <a:lnTo>
                    <a:pt x="2012" y="1073"/>
                  </a:lnTo>
                  <a:lnTo>
                    <a:pt x="1565" y="761"/>
                  </a:lnTo>
                  <a:lnTo>
                    <a:pt x="1029" y="492"/>
                  </a:lnTo>
                  <a:lnTo>
                    <a:pt x="537" y="224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9" name="Google Shape;2298;p11">
              <a:extLst>
                <a:ext uri="{FF2B5EF4-FFF2-40B4-BE49-F238E27FC236}">
                  <a16:creationId xmlns:a16="http://schemas.microsoft.com/office/drawing/2014/main" id="{4BE55ABE-F1E6-D9B4-F3DF-C34DAEE68176}"/>
                </a:ext>
              </a:extLst>
            </p:cNvPr>
            <p:cNvSpPr/>
            <p:nvPr/>
          </p:nvSpPr>
          <p:spPr>
            <a:xfrm>
              <a:off x="8902185" y="1084712"/>
              <a:ext cx="570" cy="845"/>
            </a:xfrm>
            <a:custGeom>
              <a:avLst/>
              <a:gdLst/>
              <a:ahLst/>
              <a:cxnLst/>
              <a:rect l="l" t="t" r="r" b="b"/>
              <a:pathLst>
                <a:path w="91" h="135" extrusionOk="0">
                  <a:moveTo>
                    <a:pt x="1" y="1"/>
                  </a:moveTo>
                  <a:lnTo>
                    <a:pt x="45" y="135"/>
                  </a:lnTo>
                  <a:lnTo>
                    <a:pt x="90" y="1"/>
                  </a:lnTo>
                  <a:close/>
                </a:path>
              </a:pathLst>
            </a:custGeom>
            <a:solidFill>
              <a:srgbClr val="D5D5D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0" name="Google Shape;2299;p11">
              <a:extLst>
                <a:ext uri="{FF2B5EF4-FFF2-40B4-BE49-F238E27FC236}">
                  <a16:creationId xmlns:a16="http://schemas.microsoft.com/office/drawing/2014/main" id="{4602A450-05DE-EC82-5060-148FC29EAF4D}"/>
                </a:ext>
              </a:extLst>
            </p:cNvPr>
            <p:cNvSpPr/>
            <p:nvPr/>
          </p:nvSpPr>
          <p:spPr>
            <a:xfrm>
              <a:off x="8902185" y="1084712"/>
              <a:ext cx="570" cy="845"/>
            </a:xfrm>
            <a:custGeom>
              <a:avLst/>
              <a:gdLst/>
              <a:ahLst/>
              <a:cxnLst/>
              <a:rect l="l" t="t" r="r" b="b"/>
              <a:pathLst>
                <a:path w="91" h="135" fill="none" extrusionOk="0">
                  <a:moveTo>
                    <a:pt x="90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9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1" name="Google Shape;2300;p11">
              <a:extLst>
                <a:ext uri="{FF2B5EF4-FFF2-40B4-BE49-F238E27FC236}">
                  <a16:creationId xmlns:a16="http://schemas.microsoft.com/office/drawing/2014/main" id="{8AC7283E-74D0-DC04-1DD4-171A8AB609F0}"/>
                </a:ext>
              </a:extLst>
            </p:cNvPr>
            <p:cNvSpPr/>
            <p:nvPr/>
          </p:nvSpPr>
          <p:spPr>
            <a:xfrm>
              <a:off x="8848158" y="1084712"/>
              <a:ext cx="54315" cy="36116"/>
            </a:xfrm>
            <a:custGeom>
              <a:avLst/>
              <a:gdLst/>
              <a:ahLst/>
              <a:cxnLst/>
              <a:rect l="l" t="t" r="r" b="b"/>
              <a:pathLst>
                <a:path w="8673" h="5767" extrusionOk="0">
                  <a:moveTo>
                    <a:pt x="8628" y="1"/>
                  </a:moveTo>
                  <a:lnTo>
                    <a:pt x="5722" y="179"/>
                  </a:lnTo>
                  <a:lnTo>
                    <a:pt x="4381" y="1342"/>
                  </a:lnTo>
                  <a:lnTo>
                    <a:pt x="2951" y="2638"/>
                  </a:lnTo>
                  <a:lnTo>
                    <a:pt x="1476" y="4158"/>
                  </a:lnTo>
                  <a:lnTo>
                    <a:pt x="1" y="5767"/>
                  </a:lnTo>
                  <a:lnTo>
                    <a:pt x="1029" y="5499"/>
                  </a:lnTo>
                  <a:lnTo>
                    <a:pt x="1968" y="5230"/>
                  </a:lnTo>
                  <a:lnTo>
                    <a:pt x="2862" y="4962"/>
                  </a:lnTo>
                  <a:lnTo>
                    <a:pt x="3666" y="4694"/>
                  </a:lnTo>
                  <a:lnTo>
                    <a:pt x="4381" y="4381"/>
                  </a:lnTo>
                  <a:lnTo>
                    <a:pt x="5052" y="4113"/>
                  </a:lnTo>
                  <a:lnTo>
                    <a:pt x="5633" y="3800"/>
                  </a:lnTo>
                  <a:lnTo>
                    <a:pt x="6169" y="3442"/>
                  </a:lnTo>
                  <a:lnTo>
                    <a:pt x="6661" y="3085"/>
                  </a:lnTo>
                  <a:lnTo>
                    <a:pt x="7108" y="2727"/>
                  </a:lnTo>
                  <a:lnTo>
                    <a:pt x="7466" y="2370"/>
                  </a:lnTo>
                  <a:lnTo>
                    <a:pt x="7778" y="1967"/>
                  </a:lnTo>
                  <a:lnTo>
                    <a:pt x="8091" y="1520"/>
                  </a:lnTo>
                  <a:lnTo>
                    <a:pt x="8315" y="1073"/>
                  </a:lnTo>
                  <a:lnTo>
                    <a:pt x="8538" y="626"/>
                  </a:lnTo>
                  <a:lnTo>
                    <a:pt x="8672" y="135"/>
                  </a:lnTo>
                  <a:lnTo>
                    <a:pt x="8628" y="1"/>
                  </a:lnTo>
                  <a:close/>
                </a:path>
              </a:pathLst>
            </a:custGeom>
            <a:solidFill>
              <a:srgbClr val="BA24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2" name="Google Shape;2301;p11">
              <a:extLst>
                <a:ext uri="{FF2B5EF4-FFF2-40B4-BE49-F238E27FC236}">
                  <a16:creationId xmlns:a16="http://schemas.microsoft.com/office/drawing/2014/main" id="{BA338F58-172C-2723-62B9-48B0EF734708}"/>
                </a:ext>
              </a:extLst>
            </p:cNvPr>
            <p:cNvSpPr/>
            <p:nvPr/>
          </p:nvSpPr>
          <p:spPr>
            <a:xfrm>
              <a:off x="8897707" y="1011372"/>
              <a:ext cx="73628" cy="119532"/>
            </a:xfrm>
            <a:custGeom>
              <a:avLst/>
              <a:gdLst/>
              <a:ahLst/>
              <a:cxnLst/>
              <a:rect l="l" t="t" r="r" b="b"/>
              <a:pathLst>
                <a:path w="11757" h="19087" extrusionOk="0">
                  <a:moveTo>
                    <a:pt x="10728" y="0"/>
                  </a:moveTo>
                  <a:lnTo>
                    <a:pt x="5096" y="179"/>
                  </a:lnTo>
                  <a:lnTo>
                    <a:pt x="3308" y="3353"/>
                  </a:lnTo>
                  <a:lnTo>
                    <a:pt x="3085" y="3576"/>
                  </a:lnTo>
                  <a:lnTo>
                    <a:pt x="2459" y="4202"/>
                  </a:lnTo>
                  <a:lnTo>
                    <a:pt x="2101" y="4649"/>
                  </a:lnTo>
                  <a:lnTo>
                    <a:pt x="1654" y="5141"/>
                  </a:lnTo>
                  <a:lnTo>
                    <a:pt x="1252" y="5722"/>
                  </a:lnTo>
                  <a:lnTo>
                    <a:pt x="850" y="6348"/>
                  </a:lnTo>
                  <a:lnTo>
                    <a:pt x="537" y="7018"/>
                  </a:lnTo>
                  <a:lnTo>
                    <a:pt x="269" y="7733"/>
                  </a:lnTo>
                  <a:lnTo>
                    <a:pt x="45" y="8449"/>
                  </a:lnTo>
                  <a:lnTo>
                    <a:pt x="1" y="8806"/>
                  </a:lnTo>
                  <a:lnTo>
                    <a:pt x="1" y="9208"/>
                  </a:lnTo>
                  <a:lnTo>
                    <a:pt x="1" y="9566"/>
                  </a:lnTo>
                  <a:lnTo>
                    <a:pt x="45" y="9968"/>
                  </a:lnTo>
                  <a:lnTo>
                    <a:pt x="135" y="10326"/>
                  </a:lnTo>
                  <a:lnTo>
                    <a:pt x="269" y="10728"/>
                  </a:lnTo>
                  <a:lnTo>
                    <a:pt x="448" y="11086"/>
                  </a:lnTo>
                  <a:lnTo>
                    <a:pt x="671" y="11443"/>
                  </a:lnTo>
                  <a:lnTo>
                    <a:pt x="939" y="11801"/>
                  </a:lnTo>
                  <a:lnTo>
                    <a:pt x="1297" y="12159"/>
                  </a:lnTo>
                  <a:lnTo>
                    <a:pt x="1833" y="12784"/>
                  </a:lnTo>
                  <a:lnTo>
                    <a:pt x="2370" y="13365"/>
                  </a:lnTo>
                  <a:lnTo>
                    <a:pt x="2861" y="13947"/>
                  </a:lnTo>
                  <a:lnTo>
                    <a:pt x="3264" y="14528"/>
                  </a:lnTo>
                  <a:lnTo>
                    <a:pt x="4024" y="15600"/>
                  </a:lnTo>
                  <a:lnTo>
                    <a:pt x="4649" y="16629"/>
                  </a:lnTo>
                  <a:lnTo>
                    <a:pt x="5186" y="17478"/>
                  </a:lnTo>
                  <a:lnTo>
                    <a:pt x="5677" y="18193"/>
                  </a:lnTo>
                  <a:lnTo>
                    <a:pt x="5946" y="18506"/>
                  </a:lnTo>
                  <a:lnTo>
                    <a:pt x="6169" y="18729"/>
                  </a:lnTo>
                  <a:lnTo>
                    <a:pt x="6393" y="18953"/>
                  </a:lnTo>
                  <a:lnTo>
                    <a:pt x="6661" y="19087"/>
                  </a:lnTo>
                  <a:lnTo>
                    <a:pt x="6705" y="19087"/>
                  </a:lnTo>
                  <a:lnTo>
                    <a:pt x="6750" y="19042"/>
                  </a:lnTo>
                  <a:lnTo>
                    <a:pt x="6840" y="18908"/>
                  </a:lnTo>
                  <a:lnTo>
                    <a:pt x="6884" y="18685"/>
                  </a:lnTo>
                  <a:lnTo>
                    <a:pt x="6974" y="18372"/>
                  </a:lnTo>
                  <a:lnTo>
                    <a:pt x="7063" y="17523"/>
                  </a:lnTo>
                  <a:lnTo>
                    <a:pt x="7152" y="16494"/>
                  </a:lnTo>
                  <a:lnTo>
                    <a:pt x="7197" y="14394"/>
                  </a:lnTo>
                  <a:lnTo>
                    <a:pt x="7152" y="13008"/>
                  </a:lnTo>
                  <a:lnTo>
                    <a:pt x="7063" y="12561"/>
                  </a:lnTo>
                  <a:lnTo>
                    <a:pt x="6929" y="12025"/>
                  </a:lnTo>
                  <a:lnTo>
                    <a:pt x="6616" y="10818"/>
                  </a:lnTo>
                  <a:lnTo>
                    <a:pt x="6482" y="10281"/>
                  </a:lnTo>
                  <a:lnTo>
                    <a:pt x="6437" y="9745"/>
                  </a:lnTo>
                  <a:lnTo>
                    <a:pt x="6437" y="9566"/>
                  </a:lnTo>
                  <a:lnTo>
                    <a:pt x="6527" y="9343"/>
                  </a:lnTo>
                  <a:lnTo>
                    <a:pt x="6571" y="9208"/>
                  </a:lnTo>
                  <a:lnTo>
                    <a:pt x="6705" y="9074"/>
                  </a:lnTo>
                  <a:lnTo>
                    <a:pt x="6884" y="9030"/>
                  </a:lnTo>
                  <a:lnTo>
                    <a:pt x="7063" y="8985"/>
                  </a:lnTo>
                  <a:lnTo>
                    <a:pt x="7242" y="8940"/>
                  </a:lnTo>
                  <a:lnTo>
                    <a:pt x="7465" y="8985"/>
                  </a:lnTo>
                  <a:lnTo>
                    <a:pt x="7823" y="9074"/>
                  </a:lnTo>
                  <a:lnTo>
                    <a:pt x="8225" y="9208"/>
                  </a:lnTo>
                  <a:lnTo>
                    <a:pt x="8940" y="9566"/>
                  </a:lnTo>
                  <a:lnTo>
                    <a:pt x="9209" y="9655"/>
                  </a:lnTo>
                  <a:lnTo>
                    <a:pt x="9432" y="9700"/>
                  </a:lnTo>
                  <a:lnTo>
                    <a:pt x="9566" y="9655"/>
                  </a:lnTo>
                  <a:lnTo>
                    <a:pt x="9700" y="9566"/>
                  </a:lnTo>
                  <a:lnTo>
                    <a:pt x="9790" y="9432"/>
                  </a:lnTo>
                  <a:lnTo>
                    <a:pt x="9879" y="9298"/>
                  </a:lnTo>
                  <a:lnTo>
                    <a:pt x="9969" y="8985"/>
                  </a:lnTo>
                  <a:lnTo>
                    <a:pt x="9969" y="8583"/>
                  </a:lnTo>
                  <a:lnTo>
                    <a:pt x="9969" y="7778"/>
                  </a:lnTo>
                  <a:lnTo>
                    <a:pt x="10013" y="7465"/>
                  </a:lnTo>
                  <a:lnTo>
                    <a:pt x="10058" y="7331"/>
                  </a:lnTo>
                  <a:lnTo>
                    <a:pt x="10103" y="7197"/>
                  </a:lnTo>
                  <a:lnTo>
                    <a:pt x="10281" y="6929"/>
                  </a:lnTo>
                  <a:lnTo>
                    <a:pt x="10281" y="6884"/>
                  </a:lnTo>
                  <a:lnTo>
                    <a:pt x="10237" y="6795"/>
                  </a:lnTo>
                  <a:lnTo>
                    <a:pt x="10147" y="6750"/>
                  </a:lnTo>
                  <a:lnTo>
                    <a:pt x="10013" y="6705"/>
                  </a:lnTo>
                  <a:lnTo>
                    <a:pt x="9924" y="6571"/>
                  </a:lnTo>
                  <a:lnTo>
                    <a:pt x="9879" y="6527"/>
                  </a:lnTo>
                  <a:lnTo>
                    <a:pt x="9879" y="6482"/>
                  </a:lnTo>
                  <a:lnTo>
                    <a:pt x="9924" y="6437"/>
                  </a:lnTo>
                  <a:lnTo>
                    <a:pt x="10371" y="6348"/>
                  </a:lnTo>
                  <a:lnTo>
                    <a:pt x="10505" y="6303"/>
                  </a:lnTo>
                  <a:lnTo>
                    <a:pt x="10594" y="6214"/>
                  </a:lnTo>
                  <a:lnTo>
                    <a:pt x="10639" y="6124"/>
                  </a:lnTo>
                  <a:lnTo>
                    <a:pt x="10639" y="6035"/>
                  </a:lnTo>
                  <a:lnTo>
                    <a:pt x="10594" y="5722"/>
                  </a:lnTo>
                  <a:lnTo>
                    <a:pt x="10550" y="5409"/>
                  </a:lnTo>
                  <a:lnTo>
                    <a:pt x="10594" y="5275"/>
                  </a:lnTo>
                  <a:lnTo>
                    <a:pt x="10684" y="5186"/>
                  </a:lnTo>
                  <a:lnTo>
                    <a:pt x="10862" y="5141"/>
                  </a:lnTo>
                  <a:lnTo>
                    <a:pt x="10997" y="5141"/>
                  </a:lnTo>
                  <a:lnTo>
                    <a:pt x="11399" y="5096"/>
                  </a:lnTo>
                  <a:lnTo>
                    <a:pt x="11578" y="5007"/>
                  </a:lnTo>
                  <a:lnTo>
                    <a:pt x="11712" y="4917"/>
                  </a:lnTo>
                  <a:lnTo>
                    <a:pt x="11756" y="4739"/>
                  </a:lnTo>
                  <a:lnTo>
                    <a:pt x="11756" y="4604"/>
                  </a:lnTo>
                  <a:lnTo>
                    <a:pt x="11712" y="4470"/>
                  </a:lnTo>
                  <a:lnTo>
                    <a:pt x="11578" y="4292"/>
                  </a:lnTo>
                  <a:lnTo>
                    <a:pt x="11220" y="3889"/>
                  </a:lnTo>
                  <a:lnTo>
                    <a:pt x="10997" y="3576"/>
                  </a:lnTo>
                  <a:lnTo>
                    <a:pt x="10818" y="3263"/>
                  </a:lnTo>
                  <a:lnTo>
                    <a:pt x="10594" y="2772"/>
                  </a:lnTo>
                  <a:lnTo>
                    <a:pt x="10550" y="2369"/>
                  </a:lnTo>
                  <a:lnTo>
                    <a:pt x="10550" y="1967"/>
                  </a:lnTo>
                  <a:lnTo>
                    <a:pt x="10594" y="1610"/>
                  </a:lnTo>
                  <a:lnTo>
                    <a:pt x="10728" y="850"/>
                  </a:lnTo>
                  <a:lnTo>
                    <a:pt x="10773" y="447"/>
                  </a:lnTo>
                  <a:lnTo>
                    <a:pt x="10728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3" name="Google Shape;2302;p11">
              <a:extLst>
                <a:ext uri="{FF2B5EF4-FFF2-40B4-BE49-F238E27FC236}">
                  <a16:creationId xmlns:a16="http://schemas.microsoft.com/office/drawing/2014/main" id="{33496512-DFA4-A1F0-A9D4-D42365571393}"/>
                </a:ext>
              </a:extLst>
            </p:cNvPr>
            <p:cNvSpPr/>
            <p:nvPr/>
          </p:nvSpPr>
          <p:spPr>
            <a:xfrm>
              <a:off x="8730311" y="981982"/>
              <a:ext cx="238507" cy="116176"/>
            </a:xfrm>
            <a:custGeom>
              <a:avLst/>
              <a:gdLst/>
              <a:ahLst/>
              <a:cxnLst/>
              <a:rect l="l" t="t" r="r" b="b"/>
              <a:pathLst>
                <a:path w="38085" h="18551" extrusionOk="0">
                  <a:moveTo>
                    <a:pt x="32854" y="0"/>
                  </a:moveTo>
                  <a:lnTo>
                    <a:pt x="31692" y="45"/>
                  </a:lnTo>
                  <a:lnTo>
                    <a:pt x="31290" y="89"/>
                  </a:lnTo>
                  <a:lnTo>
                    <a:pt x="30888" y="179"/>
                  </a:lnTo>
                  <a:lnTo>
                    <a:pt x="30485" y="268"/>
                  </a:lnTo>
                  <a:lnTo>
                    <a:pt x="30128" y="402"/>
                  </a:lnTo>
                  <a:lnTo>
                    <a:pt x="29770" y="581"/>
                  </a:lnTo>
                  <a:lnTo>
                    <a:pt x="29413" y="760"/>
                  </a:lnTo>
                  <a:lnTo>
                    <a:pt x="28742" y="1207"/>
                  </a:lnTo>
                  <a:lnTo>
                    <a:pt x="28161" y="1699"/>
                  </a:lnTo>
                  <a:lnTo>
                    <a:pt x="27580" y="2235"/>
                  </a:lnTo>
                  <a:lnTo>
                    <a:pt x="27043" y="2816"/>
                  </a:lnTo>
                  <a:lnTo>
                    <a:pt x="26552" y="3442"/>
                  </a:lnTo>
                  <a:lnTo>
                    <a:pt x="25658" y="4649"/>
                  </a:lnTo>
                  <a:lnTo>
                    <a:pt x="24943" y="5766"/>
                  </a:lnTo>
                  <a:lnTo>
                    <a:pt x="24317" y="6571"/>
                  </a:lnTo>
                  <a:lnTo>
                    <a:pt x="24093" y="6884"/>
                  </a:lnTo>
                  <a:lnTo>
                    <a:pt x="23825" y="7062"/>
                  </a:lnTo>
                  <a:lnTo>
                    <a:pt x="23602" y="7107"/>
                  </a:lnTo>
                  <a:lnTo>
                    <a:pt x="23423" y="7152"/>
                  </a:lnTo>
                  <a:lnTo>
                    <a:pt x="22976" y="7152"/>
                  </a:lnTo>
                  <a:lnTo>
                    <a:pt x="22529" y="7018"/>
                  </a:lnTo>
                  <a:lnTo>
                    <a:pt x="22037" y="6839"/>
                  </a:lnTo>
                  <a:lnTo>
                    <a:pt x="21456" y="6705"/>
                  </a:lnTo>
                  <a:lnTo>
                    <a:pt x="21143" y="6660"/>
                  </a:lnTo>
                  <a:lnTo>
                    <a:pt x="20741" y="6615"/>
                  </a:lnTo>
                  <a:lnTo>
                    <a:pt x="20339" y="6615"/>
                  </a:lnTo>
                  <a:lnTo>
                    <a:pt x="19892" y="6705"/>
                  </a:lnTo>
                  <a:lnTo>
                    <a:pt x="19400" y="6794"/>
                  </a:lnTo>
                  <a:lnTo>
                    <a:pt x="18864" y="6928"/>
                  </a:lnTo>
                  <a:lnTo>
                    <a:pt x="18238" y="7152"/>
                  </a:lnTo>
                  <a:lnTo>
                    <a:pt x="17657" y="7375"/>
                  </a:lnTo>
                  <a:lnTo>
                    <a:pt x="17210" y="7599"/>
                  </a:lnTo>
                  <a:lnTo>
                    <a:pt x="16807" y="7867"/>
                  </a:lnTo>
                  <a:lnTo>
                    <a:pt x="16450" y="8091"/>
                  </a:lnTo>
                  <a:lnTo>
                    <a:pt x="16137" y="8359"/>
                  </a:lnTo>
                  <a:lnTo>
                    <a:pt x="15645" y="8850"/>
                  </a:lnTo>
                  <a:lnTo>
                    <a:pt x="14975" y="9744"/>
                  </a:lnTo>
                  <a:lnTo>
                    <a:pt x="14617" y="10057"/>
                  </a:lnTo>
                  <a:lnTo>
                    <a:pt x="14438" y="10191"/>
                  </a:lnTo>
                  <a:lnTo>
                    <a:pt x="14215" y="10326"/>
                  </a:lnTo>
                  <a:lnTo>
                    <a:pt x="13991" y="10370"/>
                  </a:lnTo>
                  <a:lnTo>
                    <a:pt x="13768" y="10415"/>
                  </a:lnTo>
                  <a:lnTo>
                    <a:pt x="13231" y="10415"/>
                  </a:lnTo>
                  <a:lnTo>
                    <a:pt x="12650" y="10370"/>
                  </a:lnTo>
                  <a:lnTo>
                    <a:pt x="11980" y="10281"/>
                  </a:lnTo>
                  <a:lnTo>
                    <a:pt x="10505" y="10102"/>
                  </a:lnTo>
                  <a:lnTo>
                    <a:pt x="9655" y="10013"/>
                  </a:lnTo>
                  <a:lnTo>
                    <a:pt x="8002" y="10013"/>
                  </a:lnTo>
                  <a:lnTo>
                    <a:pt x="7152" y="10147"/>
                  </a:lnTo>
                  <a:lnTo>
                    <a:pt x="6303" y="10326"/>
                  </a:lnTo>
                  <a:lnTo>
                    <a:pt x="5454" y="10549"/>
                  </a:lnTo>
                  <a:lnTo>
                    <a:pt x="4604" y="10817"/>
                  </a:lnTo>
                  <a:lnTo>
                    <a:pt x="3800" y="11130"/>
                  </a:lnTo>
                  <a:lnTo>
                    <a:pt x="3040" y="11488"/>
                  </a:lnTo>
                  <a:lnTo>
                    <a:pt x="2325" y="11890"/>
                  </a:lnTo>
                  <a:lnTo>
                    <a:pt x="1654" y="12337"/>
                  </a:lnTo>
                  <a:lnTo>
                    <a:pt x="1073" y="12784"/>
                  </a:lnTo>
                  <a:lnTo>
                    <a:pt x="626" y="13276"/>
                  </a:lnTo>
                  <a:lnTo>
                    <a:pt x="447" y="13499"/>
                  </a:lnTo>
                  <a:lnTo>
                    <a:pt x="269" y="13767"/>
                  </a:lnTo>
                  <a:lnTo>
                    <a:pt x="179" y="13991"/>
                  </a:lnTo>
                  <a:lnTo>
                    <a:pt x="90" y="14259"/>
                  </a:lnTo>
                  <a:lnTo>
                    <a:pt x="45" y="14483"/>
                  </a:lnTo>
                  <a:lnTo>
                    <a:pt x="0" y="14751"/>
                  </a:lnTo>
                  <a:lnTo>
                    <a:pt x="45" y="15019"/>
                  </a:lnTo>
                  <a:lnTo>
                    <a:pt x="135" y="15242"/>
                  </a:lnTo>
                  <a:lnTo>
                    <a:pt x="224" y="15466"/>
                  </a:lnTo>
                  <a:lnTo>
                    <a:pt x="403" y="15734"/>
                  </a:lnTo>
                  <a:lnTo>
                    <a:pt x="537" y="15868"/>
                  </a:lnTo>
                  <a:lnTo>
                    <a:pt x="716" y="15958"/>
                  </a:lnTo>
                  <a:lnTo>
                    <a:pt x="894" y="16047"/>
                  </a:lnTo>
                  <a:lnTo>
                    <a:pt x="1163" y="16047"/>
                  </a:lnTo>
                  <a:lnTo>
                    <a:pt x="1699" y="16092"/>
                  </a:lnTo>
                  <a:lnTo>
                    <a:pt x="2370" y="16002"/>
                  </a:lnTo>
                  <a:lnTo>
                    <a:pt x="3934" y="15689"/>
                  </a:lnTo>
                  <a:lnTo>
                    <a:pt x="4828" y="15511"/>
                  </a:lnTo>
                  <a:lnTo>
                    <a:pt x="5722" y="15377"/>
                  </a:lnTo>
                  <a:lnTo>
                    <a:pt x="6661" y="15242"/>
                  </a:lnTo>
                  <a:lnTo>
                    <a:pt x="7644" y="15198"/>
                  </a:lnTo>
                  <a:lnTo>
                    <a:pt x="8583" y="15198"/>
                  </a:lnTo>
                  <a:lnTo>
                    <a:pt x="9030" y="15287"/>
                  </a:lnTo>
                  <a:lnTo>
                    <a:pt x="9521" y="15332"/>
                  </a:lnTo>
                  <a:lnTo>
                    <a:pt x="9968" y="15466"/>
                  </a:lnTo>
                  <a:lnTo>
                    <a:pt x="10415" y="15645"/>
                  </a:lnTo>
                  <a:lnTo>
                    <a:pt x="10862" y="15824"/>
                  </a:lnTo>
                  <a:lnTo>
                    <a:pt x="11265" y="16047"/>
                  </a:lnTo>
                  <a:lnTo>
                    <a:pt x="11667" y="16315"/>
                  </a:lnTo>
                  <a:lnTo>
                    <a:pt x="12025" y="16673"/>
                  </a:lnTo>
                  <a:lnTo>
                    <a:pt x="12382" y="17030"/>
                  </a:lnTo>
                  <a:lnTo>
                    <a:pt x="12740" y="17477"/>
                  </a:lnTo>
                  <a:lnTo>
                    <a:pt x="13008" y="17790"/>
                  </a:lnTo>
                  <a:lnTo>
                    <a:pt x="13276" y="18058"/>
                  </a:lnTo>
                  <a:lnTo>
                    <a:pt x="13589" y="18237"/>
                  </a:lnTo>
                  <a:lnTo>
                    <a:pt x="13857" y="18327"/>
                  </a:lnTo>
                  <a:lnTo>
                    <a:pt x="14170" y="18416"/>
                  </a:lnTo>
                  <a:lnTo>
                    <a:pt x="14841" y="18416"/>
                  </a:lnTo>
                  <a:lnTo>
                    <a:pt x="15153" y="18327"/>
                  </a:lnTo>
                  <a:lnTo>
                    <a:pt x="15824" y="18148"/>
                  </a:lnTo>
                  <a:lnTo>
                    <a:pt x="16539" y="17969"/>
                  </a:lnTo>
                  <a:lnTo>
                    <a:pt x="17254" y="17746"/>
                  </a:lnTo>
                  <a:lnTo>
                    <a:pt x="17612" y="17656"/>
                  </a:lnTo>
                  <a:lnTo>
                    <a:pt x="17970" y="17611"/>
                  </a:lnTo>
                  <a:lnTo>
                    <a:pt x="18417" y="17611"/>
                  </a:lnTo>
                  <a:lnTo>
                    <a:pt x="18864" y="17701"/>
                  </a:lnTo>
                  <a:lnTo>
                    <a:pt x="19623" y="17924"/>
                  </a:lnTo>
                  <a:lnTo>
                    <a:pt x="20294" y="18148"/>
                  </a:lnTo>
                  <a:lnTo>
                    <a:pt x="20920" y="18327"/>
                  </a:lnTo>
                  <a:lnTo>
                    <a:pt x="21590" y="18505"/>
                  </a:lnTo>
                  <a:lnTo>
                    <a:pt x="21992" y="18505"/>
                  </a:lnTo>
                  <a:lnTo>
                    <a:pt x="22395" y="18550"/>
                  </a:lnTo>
                  <a:lnTo>
                    <a:pt x="23199" y="18505"/>
                  </a:lnTo>
                  <a:lnTo>
                    <a:pt x="24093" y="18371"/>
                  </a:lnTo>
                  <a:lnTo>
                    <a:pt x="25166" y="18193"/>
                  </a:lnTo>
                  <a:lnTo>
                    <a:pt x="25747" y="18014"/>
                  </a:lnTo>
                  <a:lnTo>
                    <a:pt x="26328" y="17790"/>
                  </a:lnTo>
                  <a:lnTo>
                    <a:pt x="26865" y="17522"/>
                  </a:lnTo>
                  <a:lnTo>
                    <a:pt x="27401" y="17165"/>
                  </a:lnTo>
                  <a:lnTo>
                    <a:pt x="27446" y="17120"/>
                  </a:lnTo>
                  <a:lnTo>
                    <a:pt x="27893" y="16762"/>
                  </a:lnTo>
                  <a:lnTo>
                    <a:pt x="28340" y="16360"/>
                  </a:lnTo>
                  <a:lnTo>
                    <a:pt x="28697" y="15913"/>
                  </a:lnTo>
                  <a:lnTo>
                    <a:pt x="29100" y="15466"/>
                  </a:lnTo>
                  <a:lnTo>
                    <a:pt x="29770" y="14572"/>
                  </a:lnTo>
                  <a:lnTo>
                    <a:pt x="30396" y="13633"/>
                  </a:lnTo>
                  <a:lnTo>
                    <a:pt x="30932" y="12739"/>
                  </a:lnTo>
                  <a:lnTo>
                    <a:pt x="31379" y="11890"/>
                  </a:lnTo>
                  <a:lnTo>
                    <a:pt x="31782" y="11175"/>
                  </a:lnTo>
                  <a:lnTo>
                    <a:pt x="32094" y="10638"/>
                  </a:lnTo>
                  <a:lnTo>
                    <a:pt x="32229" y="10326"/>
                  </a:lnTo>
                  <a:lnTo>
                    <a:pt x="32318" y="9923"/>
                  </a:lnTo>
                  <a:lnTo>
                    <a:pt x="32318" y="9521"/>
                  </a:lnTo>
                  <a:lnTo>
                    <a:pt x="32229" y="9342"/>
                  </a:lnTo>
                  <a:lnTo>
                    <a:pt x="32184" y="9163"/>
                  </a:lnTo>
                  <a:lnTo>
                    <a:pt x="31916" y="8761"/>
                  </a:lnTo>
                  <a:lnTo>
                    <a:pt x="31737" y="8269"/>
                  </a:lnTo>
                  <a:lnTo>
                    <a:pt x="31692" y="8046"/>
                  </a:lnTo>
                  <a:lnTo>
                    <a:pt x="31692" y="7822"/>
                  </a:lnTo>
                  <a:lnTo>
                    <a:pt x="31737" y="7599"/>
                  </a:lnTo>
                  <a:lnTo>
                    <a:pt x="31826" y="7420"/>
                  </a:lnTo>
                  <a:lnTo>
                    <a:pt x="32005" y="7241"/>
                  </a:lnTo>
                  <a:lnTo>
                    <a:pt x="32184" y="7152"/>
                  </a:lnTo>
                  <a:lnTo>
                    <a:pt x="32407" y="7107"/>
                  </a:lnTo>
                  <a:lnTo>
                    <a:pt x="32586" y="7107"/>
                  </a:lnTo>
                  <a:lnTo>
                    <a:pt x="32765" y="7152"/>
                  </a:lnTo>
                  <a:lnTo>
                    <a:pt x="32944" y="7241"/>
                  </a:lnTo>
                  <a:lnTo>
                    <a:pt x="33078" y="7375"/>
                  </a:lnTo>
                  <a:lnTo>
                    <a:pt x="33167" y="7509"/>
                  </a:lnTo>
                  <a:lnTo>
                    <a:pt x="33301" y="7867"/>
                  </a:lnTo>
                  <a:lnTo>
                    <a:pt x="33435" y="8135"/>
                  </a:lnTo>
                  <a:lnTo>
                    <a:pt x="33570" y="8359"/>
                  </a:lnTo>
                  <a:lnTo>
                    <a:pt x="33748" y="8448"/>
                  </a:lnTo>
                  <a:lnTo>
                    <a:pt x="33882" y="8448"/>
                  </a:lnTo>
                  <a:lnTo>
                    <a:pt x="34061" y="8314"/>
                  </a:lnTo>
                  <a:lnTo>
                    <a:pt x="34151" y="8046"/>
                  </a:lnTo>
                  <a:lnTo>
                    <a:pt x="34285" y="7644"/>
                  </a:lnTo>
                  <a:lnTo>
                    <a:pt x="34374" y="7286"/>
                  </a:lnTo>
                  <a:lnTo>
                    <a:pt x="34464" y="6973"/>
                  </a:lnTo>
                  <a:lnTo>
                    <a:pt x="34598" y="6705"/>
                  </a:lnTo>
                  <a:lnTo>
                    <a:pt x="34732" y="6437"/>
                  </a:lnTo>
                  <a:lnTo>
                    <a:pt x="35045" y="5990"/>
                  </a:lnTo>
                  <a:lnTo>
                    <a:pt x="35358" y="5722"/>
                  </a:lnTo>
                  <a:lnTo>
                    <a:pt x="35715" y="5498"/>
                  </a:lnTo>
                  <a:lnTo>
                    <a:pt x="36028" y="5364"/>
                  </a:lnTo>
                  <a:lnTo>
                    <a:pt x="36341" y="5275"/>
                  </a:lnTo>
                  <a:lnTo>
                    <a:pt x="36564" y="5230"/>
                  </a:lnTo>
                  <a:lnTo>
                    <a:pt x="36877" y="5230"/>
                  </a:lnTo>
                  <a:lnTo>
                    <a:pt x="37101" y="5185"/>
                  </a:lnTo>
                  <a:lnTo>
                    <a:pt x="37324" y="5096"/>
                  </a:lnTo>
                  <a:lnTo>
                    <a:pt x="37503" y="5006"/>
                  </a:lnTo>
                  <a:lnTo>
                    <a:pt x="37637" y="4872"/>
                  </a:lnTo>
                  <a:lnTo>
                    <a:pt x="37771" y="4783"/>
                  </a:lnTo>
                  <a:lnTo>
                    <a:pt x="37905" y="4470"/>
                  </a:lnTo>
                  <a:lnTo>
                    <a:pt x="38039" y="4157"/>
                  </a:lnTo>
                  <a:lnTo>
                    <a:pt x="38084" y="3844"/>
                  </a:lnTo>
                  <a:lnTo>
                    <a:pt x="38084" y="3531"/>
                  </a:lnTo>
                  <a:lnTo>
                    <a:pt x="38039" y="3218"/>
                  </a:lnTo>
                  <a:lnTo>
                    <a:pt x="37905" y="2727"/>
                  </a:lnTo>
                  <a:lnTo>
                    <a:pt x="37771" y="2324"/>
                  </a:lnTo>
                  <a:lnTo>
                    <a:pt x="37592" y="1967"/>
                  </a:lnTo>
                  <a:lnTo>
                    <a:pt x="37369" y="1654"/>
                  </a:lnTo>
                  <a:lnTo>
                    <a:pt x="37146" y="1341"/>
                  </a:lnTo>
                  <a:lnTo>
                    <a:pt x="36833" y="1073"/>
                  </a:lnTo>
                  <a:lnTo>
                    <a:pt x="36520" y="849"/>
                  </a:lnTo>
                  <a:lnTo>
                    <a:pt x="36162" y="626"/>
                  </a:lnTo>
                  <a:lnTo>
                    <a:pt x="35760" y="492"/>
                  </a:lnTo>
                  <a:lnTo>
                    <a:pt x="35358" y="313"/>
                  </a:lnTo>
                  <a:lnTo>
                    <a:pt x="34866" y="223"/>
                  </a:lnTo>
                  <a:lnTo>
                    <a:pt x="34419" y="134"/>
                  </a:lnTo>
                  <a:lnTo>
                    <a:pt x="33927" y="45"/>
                  </a:lnTo>
                  <a:lnTo>
                    <a:pt x="32854" y="0"/>
                  </a:lnTo>
                  <a:close/>
                </a:path>
              </a:pathLst>
            </a:custGeom>
            <a:solidFill>
              <a:srgbClr val="2E2E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4" name="Google Shape;2303;p11">
              <a:extLst>
                <a:ext uri="{FF2B5EF4-FFF2-40B4-BE49-F238E27FC236}">
                  <a16:creationId xmlns:a16="http://schemas.microsoft.com/office/drawing/2014/main" id="{AF163F1B-CF0F-00B3-3027-1E5AB0D31BD1}"/>
                </a:ext>
              </a:extLst>
            </p:cNvPr>
            <p:cNvSpPr/>
            <p:nvPr/>
          </p:nvSpPr>
          <p:spPr>
            <a:xfrm>
              <a:off x="8384596" y="2050465"/>
              <a:ext cx="62713" cy="70829"/>
            </a:xfrm>
            <a:custGeom>
              <a:avLst/>
              <a:gdLst/>
              <a:ahLst/>
              <a:cxnLst/>
              <a:rect l="l" t="t" r="r" b="b"/>
              <a:pathLst>
                <a:path w="10014" h="11310" extrusionOk="0">
                  <a:moveTo>
                    <a:pt x="4158" y="1"/>
                  </a:moveTo>
                  <a:lnTo>
                    <a:pt x="2996" y="90"/>
                  </a:lnTo>
                  <a:lnTo>
                    <a:pt x="2504" y="180"/>
                  </a:lnTo>
                  <a:lnTo>
                    <a:pt x="2057" y="269"/>
                  </a:lnTo>
                  <a:lnTo>
                    <a:pt x="1655" y="359"/>
                  </a:lnTo>
                  <a:lnTo>
                    <a:pt x="1297" y="493"/>
                  </a:lnTo>
                  <a:lnTo>
                    <a:pt x="984" y="627"/>
                  </a:lnTo>
                  <a:lnTo>
                    <a:pt x="761" y="761"/>
                  </a:lnTo>
                  <a:lnTo>
                    <a:pt x="537" y="940"/>
                  </a:lnTo>
                  <a:lnTo>
                    <a:pt x="358" y="1118"/>
                  </a:lnTo>
                  <a:lnTo>
                    <a:pt x="224" y="1297"/>
                  </a:lnTo>
                  <a:lnTo>
                    <a:pt x="90" y="1476"/>
                  </a:lnTo>
                  <a:lnTo>
                    <a:pt x="46" y="1655"/>
                  </a:lnTo>
                  <a:lnTo>
                    <a:pt x="1" y="1878"/>
                  </a:lnTo>
                  <a:lnTo>
                    <a:pt x="1" y="2057"/>
                  </a:lnTo>
                  <a:lnTo>
                    <a:pt x="1" y="2281"/>
                  </a:lnTo>
                  <a:lnTo>
                    <a:pt x="135" y="2683"/>
                  </a:lnTo>
                  <a:lnTo>
                    <a:pt x="358" y="3085"/>
                  </a:lnTo>
                  <a:lnTo>
                    <a:pt x="627" y="3443"/>
                  </a:lnTo>
                  <a:lnTo>
                    <a:pt x="940" y="3756"/>
                  </a:lnTo>
                  <a:lnTo>
                    <a:pt x="1342" y="4069"/>
                  </a:lnTo>
                  <a:lnTo>
                    <a:pt x="1699" y="4292"/>
                  </a:lnTo>
                  <a:lnTo>
                    <a:pt x="2102" y="4426"/>
                  </a:lnTo>
                  <a:lnTo>
                    <a:pt x="2504" y="4516"/>
                  </a:lnTo>
                  <a:lnTo>
                    <a:pt x="2683" y="4560"/>
                  </a:lnTo>
                  <a:lnTo>
                    <a:pt x="2817" y="4650"/>
                  </a:lnTo>
                  <a:lnTo>
                    <a:pt x="2996" y="4739"/>
                  </a:lnTo>
                  <a:lnTo>
                    <a:pt x="3085" y="4873"/>
                  </a:lnTo>
                  <a:lnTo>
                    <a:pt x="3309" y="5186"/>
                  </a:lnTo>
                  <a:lnTo>
                    <a:pt x="3487" y="5633"/>
                  </a:lnTo>
                  <a:lnTo>
                    <a:pt x="3577" y="6125"/>
                  </a:lnTo>
                  <a:lnTo>
                    <a:pt x="3666" y="6706"/>
                  </a:lnTo>
                  <a:lnTo>
                    <a:pt x="3800" y="7868"/>
                  </a:lnTo>
                  <a:lnTo>
                    <a:pt x="3890" y="9075"/>
                  </a:lnTo>
                  <a:lnTo>
                    <a:pt x="3934" y="9656"/>
                  </a:lnTo>
                  <a:lnTo>
                    <a:pt x="4069" y="10148"/>
                  </a:lnTo>
                  <a:lnTo>
                    <a:pt x="4203" y="10595"/>
                  </a:lnTo>
                  <a:lnTo>
                    <a:pt x="4381" y="10952"/>
                  </a:lnTo>
                  <a:lnTo>
                    <a:pt x="4471" y="11086"/>
                  </a:lnTo>
                  <a:lnTo>
                    <a:pt x="4605" y="11176"/>
                  </a:lnTo>
                  <a:lnTo>
                    <a:pt x="4739" y="11265"/>
                  </a:lnTo>
                  <a:lnTo>
                    <a:pt x="4918" y="11310"/>
                  </a:lnTo>
                  <a:lnTo>
                    <a:pt x="5052" y="11310"/>
                  </a:lnTo>
                  <a:lnTo>
                    <a:pt x="5186" y="11265"/>
                  </a:lnTo>
                  <a:lnTo>
                    <a:pt x="5320" y="11220"/>
                  </a:lnTo>
                  <a:lnTo>
                    <a:pt x="5409" y="11131"/>
                  </a:lnTo>
                  <a:lnTo>
                    <a:pt x="5588" y="10818"/>
                  </a:lnTo>
                  <a:lnTo>
                    <a:pt x="5678" y="10461"/>
                  </a:lnTo>
                  <a:lnTo>
                    <a:pt x="5767" y="10014"/>
                  </a:lnTo>
                  <a:lnTo>
                    <a:pt x="5812" y="9522"/>
                  </a:lnTo>
                  <a:lnTo>
                    <a:pt x="5856" y="8360"/>
                  </a:lnTo>
                  <a:lnTo>
                    <a:pt x="5901" y="7779"/>
                  </a:lnTo>
                  <a:lnTo>
                    <a:pt x="5991" y="7153"/>
                  </a:lnTo>
                  <a:lnTo>
                    <a:pt x="6080" y="6616"/>
                  </a:lnTo>
                  <a:lnTo>
                    <a:pt x="6259" y="6080"/>
                  </a:lnTo>
                  <a:lnTo>
                    <a:pt x="6527" y="5588"/>
                  </a:lnTo>
                  <a:lnTo>
                    <a:pt x="6661" y="5365"/>
                  </a:lnTo>
                  <a:lnTo>
                    <a:pt x="6840" y="5186"/>
                  </a:lnTo>
                  <a:lnTo>
                    <a:pt x="7019" y="5007"/>
                  </a:lnTo>
                  <a:lnTo>
                    <a:pt x="7242" y="4873"/>
                  </a:lnTo>
                  <a:lnTo>
                    <a:pt x="7510" y="4784"/>
                  </a:lnTo>
                  <a:lnTo>
                    <a:pt x="7779" y="4694"/>
                  </a:lnTo>
                  <a:lnTo>
                    <a:pt x="8404" y="4471"/>
                  </a:lnTo>
                  <a:lnTo>
                    <a:pt x="8941" y="4203"/>
                  </a:lnTo>
                  <a:lnTo>
                    <a:pt x="9343" y="3890"/>
                  </a:lnTo>
                  <a:lnTo>
                    <a:pt x="9656" y="3532"/>
                  </a:lnTo>
                  <a:lnTo>
                    <a:pt x="9790" y="3353"/>
                  </a:lnTo>
                  <a:lnTo>
                    <a:pt x="9879" y="3175"/>
                  </a:lnTo>
                  <a:lnTo>
                    <a:pt x="9969" y="2951"/>
                  </a:lnTo>
                  <a:lnTo>
                    <a:pt x="10014" y="2772"/>
                  </a:lnTo>
                  <a:lnTo>
                    <a:pt x="10014" y="2549"/>
                  </a:lnTo>
                  <a:lnTo>
                    <a:pt x="10014" y="2325"/>
                  </a:lnTo>
                  <a:lnTo>
                    <a:pt x="9924" y="2147"/>
                  </a:lnTo>
                  <a:lnTo>
                    <a:pt x="9879" y="1923"/>
                  </a:lnTo>
                  <a:lnTo>
                    <a:pt x="9745" y="1744"/>
                  </a:lnTo>
                  <a:lnTo>
                    <a:pt x="9611" y="1521"/>
                  </a:lnTo>
                  <a:lnTo>
                    <a:pt x="9432" y="1342"/>
                  </a:lnTo>
                  <a:lnTo>
                    <a:pt x="9254" y="1163"/>
                  </a:lnTo>
                  <a:lnTo>
                    <a:pt x="8985" y="984"/>
                  </a:lnTo>
                  <a:lnTo>
                    <a:pt x="8717" y="806"/>
                  </a:lnTo>
                  <a:lnTo>
                    <a:pt x="8091" y="537"/>
                  </a:lnTo>
                  <a:lnTo>
                    <a:pt x="7332" y="314"/>
                  </a:lnTo>
                  <a:lnTo>
                    <a:pt x="6393" y="135"/>
                  </a:lnTo>
                  <a:lnTo>
                    <a:pt x="5365" y="46"/>
                  </a:lnTo>
                  <a:lnTo>
                    <a:pt x="4158" y="1"/>
                  </a:lnTo>
                  <a:close/>
                </a:path>
              </a:pathLst>
            </a:custGeom>
            <a:solidFill>
              <a:srgbClr val="603A3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5" name="Google Shape;2304;p11">
              <a:extLst>
                <a:ext uri="{FF2B5EF4-FFF2-40B4-BE49-F238E27FC236}">
                  <a16:creationId xmlns:a16="http://schemas.microsoft.com/office/drawing/2014/main" id="{A88C02E9-4A85-C028-231F-2D42D03768FC}"/>
                </a:ext>
              </a:extLst>
            </p:cNvPr>
            <p:cNvSpPr/>
            <p:nvPr/>
          </p:nvSpPr>
          <p:spPr>
            <a:xfrm>
              <a:off x="8270950" y="2098054"/>
              <a:ext cx="220308" cy="196235"/>
            </a:xfrm>
            <a:custGeom>
              <a:avLst/>
              <a:gdLst/>
              <a:ahLst/>
              <a:cxnLst/>
              <a:rect l="l" t="t" r="r" b="b"/>
              <a:pathLst>
                <a:path w="35179" h="31335" extrusionOk="0">
                  <a:moveTo>
                    <a:pt x="6213" y="1"/>
                  </a:moveTo>
                  <a:lnTo>
                    <a:pt x="5543" y="46"/>
                  </a:lnTo>
                  <a:lnTo>
                    <a:pt x="4962" y="135"/>
                  </a:lnTo>
                  <a:lnTo>
                    <a:pt x="4336" y="269"/>
                  </a:lnTo>
                  <a:lnTo>
                    <a:pt x="3755" y="448"/>
                  </a:lnTo>
                  <a:lnTo>
                    <a:pt x="3218" y="716"/>
                  </a:lnTo>
                  <a:lnTo>
                    <a:pt x="2727" y="984"/>
                  </a:lnTo>
                  <a:lnTo>
                    <a:pt x="2235" y="1342"/>
                  </a:lnTo>
                  <a:lnTo>
                    <a:pt x="1788" y="1699"/>
                  </a:lnTo>
                  <a:lnTo>
                    <a:pt x="1386" y="2102"/>
                  </a:lnTo>
                  <a:lnTo>
                    <a:pt x="1028" y="2549"/>
                  </a:lnTo>
                  <a:lnTo>
                    <a:pt x="715" y="2996"/>
                  </a:lnTo>
                  <a:lnTo>
                    <a:pt x="492" y="3532"/>
                  </a:lnTo>
                  <a:lnTo>
                    <a:pt x="268" y="4024"/>
                  </a:lnTo>
                  <a:lnTo>
                    <a:pt x="134" y="4605"/>
                  </a:lnTo>
                  <a:lnTo>
                    <a:pt x="0" y="5141"/>
                  </a:lnTo>
                  <a:lnTo>
                    <a:pt x="0" y="5722"/>
                  </a:lnTo>
                  <a:lnTo>
                    <a:pt x="0" y="31335"/>
                  </a:lnTo>
                  <a:lnTo>
                    <a:pt x="35134" y="31335"/>
                  </a:lnTo>
                  <a:lnTo>
                    <a:pt x="35134" y="24898"/>
                  </a:lnTo>
                  <a:lnTo>
                    <a:pt x="35134" y="17612"/>
                  </a:lnTo>
                  <a:lnTo>
                    <a:pt x="35178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6" name="Google Shape;2305;p11">
              <a:extLst>
                <a:ext uri="{FF2B5EF4-FFF2-40B4-BE49-F238E27FC236}">
                  <a16:creationId xmlns:a16="http://schemas.microsoft.com/office/drawing/2014/main" id="{CE31858D-A654-054B-6AC6-9059749630D5}"/>
                </a:ext>
              </a:extLst>
            </p:cNvPr>
            <p:cNvSpPr/>
            <p:nvPr/>
          </p:nvSpPr>
          <p:spPr>
            <a:xfrm>
              <a:off x="8270950" y="2098054"/>
              <a:ext cx="307363" cy="196235"/>
            </a:xfrm>
            <a:custGeom>
              <a:avLst/>
              <a:gdLst/>
              <a:ahLst/>
              <a:cxnLst/>
              <a:rect l="l" t="t" r="r" b="b"/>
              <a:pathLst>
                <a:path w="49080" h="31335" fill="none" extrusionOk="0">
                  <a:moveTo>
                    <a:pt x="35178" y="1"/>
                  </a:moveTo>
                  <a:lnTo>
                    <a:pt x="49080" y="1"/>
                  </a:lnTo>
                  <a:lnTo>
                    <a:pt x="6213" y="1"/>
                  </a:lnTo>
                  <a:lnTo>
                    <a:pt x="6213" y="1"/>
                  </a:lnTo>
                  <a:lnTo>
                    <a:pt x="5543" y="46"/>
                  </a:lnTo>
                  <a:lnTo>
                    <a:pt x="4962" y="135"/>
                  </a:lnTo>
                  <a:lnTo>
                    <a:pt x="4336" y="269"/>
                  </a:lnTo>
                  <a:lnTo>
                    <a:pt x="3755" y="448"/>
                  </a:lnTo>
                  <a:lnTo>
                    <a:pt x="3218" y="716"/>
                  </a:lnTo>
                  <a:lnTo>
                    <a:pt x="2727" y="984"/>
                  </a:lnTo>
                  <a:lnTo>
                    <a:pt x="2235" y="1342"/>
                  </a:lnTo>
                  <a:lnTo>
                    <a:pt x="1788" y="1699"/>
                  </a:lnTo>
                  <a:lnTo>
                    <a:pt x="1386" y="2102"/>
                  </a:lnTo>
                  <a:lnTo>
                    <a:pt x="1028" y="2549"/>
                  </a:lnTo>
                  <a:lnTo>
                    <a:pt x="715" y="2996"/>
                  </a:lnTo>
                  <a:lnTo>
                    <a:pt x="492" y="3532"/>
                  </a:lnTo>
                  <a:lnTo>
                    <a:pt x="268" y="4024"/>
                  </a:lnTo>
                  <a:lnTo>
                    <a:pt x="134" y="4605"/>
                  </a:lnTo>
                  <a:lnTo>
                    <a:pt x="0" y="5141"/>
                  </a:lnTo>
                  <a:lnTo>
                    <a:pt x="0" y="5722"/>
                  </a:lnTo>
                  <a:lnTo>
                    <a:pt x="0" y="31335"/>
                  </a:lnTo>
                  <a:lnTo>
                    <a:pt x="35134" y="31335"/>
                  </a:lnTo>
                  <a:lnTo>
                    <a:pt x="35134" y="31335"/>
                  </a:lnTo>
                  <a:lnTo>
                    <a:pt x="35134" y="24898"/>
                  </a:lnTo>
                  <a:lnTo>
                    <a:pt x="35134" y="17612"/>
                  </a:lnTo>
                  <a:lnTo>
                    <a:pt x="3517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7" name="Google Shape;2306;p11">
              <a:extLst>
                <a:ext uri="{FF2B5EF4-FFF2-40B4-BE49-F238E27FC236}">
                  <a16:creationId xmlns:a16="http://schemas.microsoft.com/office/drawing/2014/main" id="{9FDE911C-9265-B7B9-75EE-3FE1B710EE2A}"/>
                </a:ext>
              </a:extLst>
            </p:cNvPr>
            <p:cNvSpPr/>
            <p:nvPr/>
          </p:nvSpPr>
          <p:spPr>
            <a:xfrm>
              <a:off x="8490971" y="2098054"/>
              <a:ext cx="126252" cy="196235"/>
            </a:xfrm>
            <a:custGeom>
              <a:avLst/>
              <a:gdLst/>
              <a:ahLst/>
              <a:cxnLst/>
              <a:rect l="l" t="t" r="r" b="b"/>
              <a:pathLst>
                <a:path w="20160" h="31335" fill="none" extrusionOk="0">
                  <a:moveTo>
                    <a:pt x="1" y="31335"/>
                  </a:moveTo>
                  <a:lnTo>
                    <a:pt x="20160" y="31335"/>
                  </a:lnTo>
                  <a:lnTo>
                    <a:pt x="20115" y="5722"/>
                  </a:lnTo>
                  <a:lnTo>
                    <a:pt x="20115" y="5722"/>
                  </a:lnTo>
                  <a:lnTo>
                    <a:pt x="20115" y="5141"/>
                  </a:lnTo>
                  <a:lnTo>
                    <a:pt x="20026" y="4560"/>
                  </a:lnTo>
                  <a:lnTo>
                    <a:pt x="19847" y="4024"/>
                  </a:lnTo>
                  <a:lnTo>
                    <a:pt x="19624" y="3487"/>
                  </a:lnTo>
                  <a:lnTo>
                    <a:pt x="19400" y="2996"/>
                  </a:lnTo>
                  <a:lnTo>
                    <a:pt x="19087" y="2504"/>
                  </a:lnTo>
                  <a:lnTo>
                    <a:pt x="18730" y="2057"/>
                  </a:lnTo>
                  <a:lnTo>
                    <a:pt x="18327" y="1655"/>
                  </a:lnTo>
                  <a:lnTo>
                    <a:pt x="17880" y="1297"/>
                  </a:lnTo>
                  <a:lnTo>
                    <a:pt x="17389" y="984"/>
                  </a:lnTo>
                  <a:lnTo>
                    <a:pt x="16897" y="671"/>
                  </a:lnTo>
                  <a:lnTo>
                    <a:pt x="16361" y="448"/>
                  </a:lnTo>
                  <a:lnTo>
                    <a:pt x="15779" y="269"/>
                  </a:lnTo>
                  <a:lnTo>
                    <a:pt x="15154" y="90"/>
                  </a:lnTo>
                  <a:lnTo>
                    <a:pt x="14573" y="1"/>
                  </a:lnTo>
                  <a:lnTo>
                    <a:pt x="13947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1" y="17612"/>
                  </a:lnTo>
                  <a:lnTo>
                    <a:pt x="1" y="24898"/>
                  </a:lnTo>
                  <a:lnTo>
                    <a:pt x="1" y="313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8" name="Google Shape;2307;p11">
              <a:extLst>
                <a:ext uri="{FF2B5EF4-FFF2-40B4-BE49-F238E27FC236}">
                  <a16:creationId xmlns:a16="http://schemas.microsoft.com/office/drawing/2014/main" id="{40D89A3F-FFC9-3405-DF91-3E86D852CA82}"/>
                </a:ext>
              </a:extLst>
            </p:cNvPr>
            <p:cNvSpPr/>
            <p:nvPr/>
          </p:nvSpPr>
          <p:spPr>
            <a:xfrm>
              <a:off x="8490971" y="2098054"/>
              <a:ext cx="126252" cy="196235"/>
            </a:xfrm>
            <a:custGeom>
              <a:avLst/>
              <a:gdLst/>
              <a:ahLst/>
              <a:cxnLst/>
              <a:rect l="l" t="t" r="r" b="b"/>
              <a:pathLst>
                <a:path w="20160" h="31335" extrusionOk="0">
                  <a:moveTo>
                    <a:pt x="45" y="1"/>
                  </a:moveTo>
                  <a:lnTo>
                    <a:pt x="1" y="11265"/>
                  </a:lnTo>
                  <a:lnTo>
                    <a:pt x="1" y="20965"/>
                  </a:lnTo>
                  <a:lnTo>
                    <a:pt x="1" y="31335"/>
                  </a:lnTo>
                  <a:lnTo>
                    <a:pt x="20160" y="31335"/>
                  </a:lnTo>
                  <a:lnTo>
                    <a:pt x="20115" y="5722"/>
                  </a:lnTo>
                  <a:lnTo>
                    <a:pt x="20115" y="5141"/>
                  </a:lnTo>
                  <a:lnTo>
                    <a:pt x="20026" y="4560"/>
                  </a:lnTo>
                  <a:lnTo>
                    <a:pt x="19847" y="4024"/>
                  </a:lnTo>
                  <a:lnTo>
                    <a:pt x="19624" y="3487"/>
                  </a:lnTo>
                  <a:lnTo>
                    <a:pt x="19400" y="2996"/>
                  </a:lnTo>
                  <a:lnTo>
                    <a:pt x="19087" y="2504"/>
                  </a:lnTo>
                  <a:lnTo>
                    <a:pt x="18730" y="2057"/>
                  </a:lnTo>
                  <a:lnTo>
                    <a:pt x="18327" y="1655"/>
                  </a:lnTo>
                  <a:lnTo>
                    <a:pt x="17880" y="1297"/>
                  </a:lnTo>
                  <a:lnTo>
                    <a:pt x="17389" y="984"/>
                  </a:lnTo>
                  <a:lnTo>
                    <a:pt x="16897" y="671"/>
                  </a:lnTo>
                  <a:lnTo>
                    <a:pt x="16361" y="448"/>
                  </a:lnTo>
                  <a:lnTo>
                    <a:pt x="15779" y="269"/>
                  </a:lnTo>
                  <a:lnTo>
                    <a:pt x="15198" y="90"/>
                  </a:lnTo>
                  <a:lnTo>
                    <a:pt x="14573" y="1"/>
                  </a:lnTo>
                  <a:close/>
                </a:path>
              </a:pathLst>
            </a:custGeom>
            <a:solidFill>
              <a:srgbClr val="C877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9" name="Google Shape;2308;p11">
              <a:extLst>
                <a:ext uri="{FF2B5EF4-FFF2-40B4-BE49-F238E27FC236}">
                  <a16:creationId xmlns:a16="http://schemas.microsoft.com/office/drawing/2014/main" id="{390C9ED8-4532-4C40-108C-32AF5CDD8288}"/>
                </a:ext>
              </a:extLst>
            </p:cNvPr>
            <p:cNvSpPr/>
            <p:nvPr/>
          </p:nvSpPr>
          <p:spPr>
            <a:xfrm>
              <a:off x="8490971" y="2098054"/>
              <a:ext cx="126252" cy="196235"/>
            </a:xfrm>
            <a:custGeom>
              <a:avLst/>
              <a:gdLst/>
              <a:ahLst/>
              <a:cxnLst/>
              <a:rect l="l" t="t" r="r" b="b"/>
              <a:pathLst>
                <a:path w="20160" h="31335" fill="none" extrusionOk="0">
                  <a:moveTo>
                    <a:pt x="13947" y="1"/>
                  </a:moveTo>
                  <a:lnTo>
                    <a:pt x="13947" y="1"/>
                  </a:lnTo>
                  <a:lnTo>
                    <a:pt x="13947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1" y="11265"/>
                  </a:lnTo>
                  <a:lnTo>
                    <a:pt x="1" y="20965"/>
                  </a:lnTo>
                  <a:lnTo>
                    <a:pt x="1" y="20965"/>
                  </a:lnTo>
                  <a:lnTo>
                    <a:pt x="1" y="31335"/>
                  </a:lnTo>
                  <a:lnTo>
                    <a:pt x="20160" y="31335"/>
                  </a:lnTo>
                  <a:lnTo>
                    <a:pt x="20115" y="5722"/>
                  </a:lnTo>
                  <a:lnTo>
                    <a:pt x="20115" y="5722"/>
                  </a:lnTo>
                  <a:lnTo>
                    <a:pt x="20115" y="5141"/>
                  </a:lnTo>
                  <a:lnTo>
                    <a:pt x="20026" y="4560"/>
                  </a:lnTo>
                  <a:lnTo>
                    <a:pt x="19847" y="4024"/>
                  </a:lnTo>
                  <a:lnTo>
                    <a:pt x="19624" y="3487"/>
                  </a:lnTo>
                  <a:lnTo>
                    <a:pt x="19400" y="2996"/>
                  </a:lnTo>
                  <a:lnTo>
                    <a:pt x="19087" y="2504"/>
                  </a:lnTo>
                  <a:lnTo>
                    <a:pt x="18730" y="2057"/>
                  </a:lnTo>
                  <a:lnTo>
                    <a:pt x="18327" y="1655"/>
                  </a:lnTo>
                  <a:lnTo>
                    <a:pt x="17880" y="1297"/>
                  </a:lnTo>
                  <a:lnTo>
                    <a:pt x="17389" y="984"/>
                  </a:lnTo>
                  <a:lnTo>
                    <a:pt x="16897" y="671"/>
                  </a:lnTo>
                  <a:lnTo>
                    <a:pt x="16361" y="448"/>
                  </a:lnTo>
                  <a:lnTo>
                    <a:pt x="15779" y="269"/>
                  </a:lnTo>
                  <a:lnTo>
                    <a:pt x="15198" y="90"/>
                  </a:lnTo>
                  <a:lnTo>
                    <a:pt x="14573" y="1"/>
                  </a:lnTo>
                  <a:lnTo>
                    <a:pt x="1394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0" name="Google Shape;2309;p11">
              <a:extLst>
                <a:ext uri="{FF2B5EF4-FFF2-40B4-BE49-F238E27FC236}">
                  <a16:creationId xmlns:a16="http://schemas.microsoft.com/office/drawing/2014/main" id="{5FD58667-9585-CDD9-ED67-49CED3396826}"/>
                </a:ext>
              </a:extLst>
            </p:cNvPr>
            <p:cNvSpPr/>
            <p:nvPr/>
          </p:nvSpPr>
          <p:spPr>
            <a:xfrm>
              <a:off x="9663035" y="1308377"/>
              <a:ext cx="230948" cy="985912"/>
            </a:xfrm>
            <a:custGeom>
              <a:avLst/>
              <a:gdLst/>
              <a:ahLst/>
              <a:cxnLst/>
              <a:rect l="l" t="t" r="r" b="b"/>
              <a:pathLst>
                <a:path w="36878" h="157431" extrusionOk="0">
                  <a:moveTo>
                    <a:pt x="6169" y="0"/>
                  </a:moveTo>
                  <a:lnTo>
                    <a:pt x="5543" y="45"/>
                  </a:lnTo>
                  <a:lnTo>
                    <a:pt x="4917" y="179"/>
                  </a:lnTo>
                  <a:lnTo>
                    <a:pt x="4336" y="358"/>
                  </a:lnTo>
                  <a:lnTo>
                    <a:pt x="3755" y="581"/>
                  </a:lnTo>
                  <a:lnTo>
                    <a:pt x="3219" y="894"/>
                  </a:lnTo>
                  <a:lnTo>
                    <a:pt x="2727" y="1297"/>
                  </a:lnTo>
                  <a:lnTo>
                    <a:pt x="2235" y="1699"/>
                  </a:lnTo>
                  <a:lnTo>
                    <a:pt x="1788" y="2191"/>
                  </a:lnTo>
                  <a:lnTo>
                    <a:pt x="1386" y="2727"/>
                  </a:lnTo>
                  <a:lnTo>
                    <a:pt x="1028" y="3308"/>
                  </a:lnTo>
                  <a:lnTo>
                    <a:pt x="715" y="3889"/>
                  </a:lnTo>
                  <a:lnTo>
                    <a:pt x="447" y="4560"/>
                  </a:lnTo>
                  <a:lnTo>
                    <a:pt x="268" y="5230"/>
                  </a:lnTo>
                  <a:lnTo>
                    <a:pt x="90" y="5945"/>
                  </a:lnTo>
                  <a:lnTo>
                    <a:pt x="0" y="6660"/>
                  </a:lnTo>
                  <a:lnTo>
                    <a:pt x="0" y="7420"/>
                  </a:lnTo>
                  <a:lnTo>
                    <a:pt x="0" y="157431"/>
                  </a:lnTo>
                  <a:lnTo>
                    <a:pt x="36877" y="157431"/>
                  </a:lnTo>
                  <a:lnTo>
                    <a:pt x="36609" y="149251"/>
                  </a:lnTo>
                  <a:lnTo>
                    <a:pt x="36385" y="140803"/>
                  </a:lnTo>
                  <a:lnTo>
                    <a:pt x="36162" y="132042"/>
                  </a:lnTo>
                  <a:lnTo>
                    <a:pt x="35983" y="123057"/>
                  </a:lnTo>
                  <a:lnTo>
                    <a:pt x="35626" y="104328"/>
                  </a:lnTo>
                  <a:lnTo>
                    <a:pt x="35357" y="84750"/>
                  </a:lnTo>
                  <a:lnTo>
                    <a:pt x="35223" y="64412"/>
                  </a:lnTo>
                  <a:lnTo>
                    <a:pt x="35134" y="43448"/>
                  </a:lnTo>
                  <a:lnTo>
                    <a:pt x="35134" y="21948"/>
                  </a:lnTo>
                  <a:lnTo>
                    <a:pt x="35179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1" name="Google Shape;2310;p11">
              <a:extLst>
                <a:ext uri="{FF2B5EF4-FFF2-40B4-BE49-F238E27FC236}">
                  <a16:creationId xmlns:a16="http://schemas.microsoft.com/office/drawing/2014/main" id="{6F077613-F762-07B5-DBA1-A247B1139045}"/>
                </a:ext>
              </a:extLst>
            </p:cNvPr>
            <p:cNvSpPr/>
            <p:nvPr/>
          </p:nvSpPr>
          <p:spPr>
            <a:xfrm>
              <a:off x="9663035" y="1308377"/>
              <a:ext cx="230948" cy="985912"/>
            </a:xfrm>
            <a:custGeom>
              <a:avLst/>
              <a:gdLst/>
              <a:ahLst/>
              <a:cxnLst/>
              <a:rect l="l" t="t" r="r" b="b"/>
              <a:pathLst>
                <a:path w="36878" h="157431" fill="none" extrusionOk="0">
                  <a:moveTo>
                    <a:pt x="35179" y="0"/>
                  </a:moveTo>
                  <a:lnTo>
                    <a:pt x="6169" y="0"/>
                  </a:lnTo>
                  <a:lnTo>
                    <a:pt x="6169" y="0"/>
                  </a:lnTo>
                  <a:lnTo>
                    <a:pt x="5543" y="45"/>
                  </a:lnTo>
                  <a:lnTo>
                    <a:pt x="4917" y="179"/>
                  </a:lnTo>
                  <a:lnTo>
                    <a:pt x="4336" y="358"/>
                  </a:lnTo>
                  <a:lnTo>
                    <a:pt x="3755" y="581"/>
                  </a:lnTo>
                  <a:lnTo>
                    <a:pt x="3219" y="894"/>
                  </a:lnTo>
                  <a:lnTo>
                    <a:pt x="2727" y="1297"/>
                  </a:lnTo>
                  <a:lnTo>
                    <a:pt x="2235" y="1699"/>
                  </a:lnTo>
                  <a:lnTo>
                    <a:pt x="1788" y="2191"/>
                  </a:lnTo>
                  <a:lnTo>
                    <a:pt x="1386" y="2727"/>
                  </a:lnTo>
                  <a:lnTo>
                    <a:pt x="1028" y="3308"/>
                  </a:lnTo>
                  <a:lnTo>
                    <a:pt x="715" y="3889"/>
                  </a:lnTo>
                  <a:lnTo>
                    <a:pt x="447" y="4560"/>
                  </a:lnTo>
                  <a:lnTo>
                    <a:pt x="268" y="5230"/>
                  </a:lnTo>
                  <a:lnTo>
                    <a:pt x="90" y="5945"/>
                  </a:lnTo>
                  <a:lnTo>
                    <a:pt x="0" y="6660"/>
                  </a:lnTo>
                  <a:lnTo>
                    <a:pt x="0" y="7420"/>
                  </a:lnTo>
                  <a:lnTo>
                    <a:pt x="0" y="157431"/>
                  </a:lnTo>
                  <a:lnTo>
                    <a:pt x="36877" y="157431"/>
                  </a:lnTo>
                  <a:lnTo>
                    <a:pt x="36877" y="157431"/>
                  </a:lnTo>
                  <a:lnTo>
                    <a:pt x="36609" y="149251"/>
                  </a:lnTo>
                  <a:lnTo>
                    <a:pt x="36385" y="140803"/>
                  </a:lnTo>
                  <a:lnTo>
                    <a:pt x="36162" y="132042"/>
                  </a:lnTo>
                  <a:lnTo>
                    <a:pt x="35983" y="123057"/>
                  </a:lnTo>
                  <a:lnTo>
                    <a:pt x="35626" y="104328"/>
                  </a:lnTo>
                  <a:lnTo>
                    <a:pt x="35357" y="84750"/>
                  </a:lnTo>
                  <a:lnTo>
                    <a:pt x="35223" y="64412"/>
                  </a:lnTo>
                  <a:lnTo>
                    <a:pt x="35134" y="43448"/>
                  </a:lnTo>
                  <a:lnTo>
                    <a:pt x="35134" y="21948"/>
                  </a:lnTo>
                  <a:lnTo>
                    <a:pt x="3517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2" name="Google Shape;2311;p11">
              <a:extLst>
                <a:ext uri="{FF2B5EF4-FFF2-40B4-BE49-F238E27FC236}">
                  <a16:creationId xmlns:a16="http://schemas.microsoft.com/office/drawing/2014/main" id="{00DD34F1-2926-C0DA-6358-D2512D996F5F}"/>
                </a:ext>
              </a:extLst>
            </p:cNvPr>
            <p:cNvSpPr/>
            <p:nvPr/>
          </p:nvSpPr>
          <p:spPr>
            <a:xfrm>
              <a:off x="9883055" y="1308377"/>
              <a:ext cx="126258" cy="985912"/>
            </a:xfrm>
            <a:custGeom>
              <a:avLst/>
              <a:gdLst/>
              <a:ahLst/>
              <a:cxnLst/>
              <a:rect l="l" t="t" r="r" b="b"/>
              <a:pathLst>
                <a:path w="20161" h="157431" fill="none" extrusionOk="0">
                  <a:moveTo>
                    <a:pt x="1744" y="157431"/>
                  </a:moveTo>
                  <a:lnTo>
                    <a:pt x="20160" y="157431"/>
                  </a:lnTo>
                  <a:lnTo>
                    <a:pt x="20116" y="7420"/>
                  </a:lnTo>
                  <a:lnTo>
                    <a:pt x="20116" y="7420"/>
                  </a:lnTo>
                  <a:lnTo>
                    <a:pt x="20116" y="6660"/>
                  </a:lnTo>
                  <a:lnTo>
                    <a:pt x="19981" y="5901"/>
                  </a:lnTo>
                  <a:lnTo>
                    <a:pt x="19847" y="5185"/>
                  </a:lnTo>
                  <a:lnTo>
                    <a:pt x="19624" y="4515"/>
                  </a:lnTo>
                  <a:lnTo>
                    <a:pt x="19400" y="3889"/>
                  </a:lnTo>
                  <a:lnTo>
                    <a:pt x="19087" y="3263"/>
                  </a:lnTo>
                  <a:lnTo>
                    <a:pt x="18730" y="2682"/>
                  </a:lnTo>
                  <a:lnTo>
                    <a:pt x="18328" y="2146"/>
                  </a:lnTo>
                  <a:lnTo>
                    <a:pt x="17881" y="1699"/>
                  </a:lnTo>
                  <a:lnTo>
                    <a:pt x="17389" y="1252"/>
                  </a:lnTo>
                  <a:lnTo>
                    <a:pt x="16897" y="894"/>
                  </a:lnTo>
                  <a:lnTo>
                    <a:pt x="16316" y="581"/>
                  </a:lnTo>
                  <a:lnTo>
                    <a:pt x="15780" y="313"/>
                  </a:lnTo>
                  <a:lnTo>
                    <a:pt x="15154" y="134"/>
                  </a:lnTo>
                  <a:lnTo>
                    <a:pt x="14573" y="45"/>
                  </a:lnTo>
                  <a:lnTo>
                    <a:pt x="13902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1" y="21948"/>
                  </a:lnTo>
                  <a:lnTo>
                    <a:pt x="1" y="43448"/>
                  </a:lnTo>
                  <a:lnTo>
                    <a:pt x="90" y="64412"/>
                  </a:lnTo>
                  <a:lnTo>
                    <a:pt x="224" y="84750"/>
                  </a:lnTo>
                  <a:lnTo>
                    <a:pt x="493" y="104328"/>
                  </a:lnTo>
                  <a:lnTo>
                    <a:pt x="850" y="123057"/>
                  </a:lnTo>
                  <a:lnTo>
                    <a:pt x="1029" y="132042"/>
                  </a:lnTo>
                  <a:lnTo>
                    <a:pt x="1252" y="140803"/>
                  </a:lnTo>
                  <a:lnTo>
                    <a:pt x="1476" y="149251"/>
                  </a:lnTo>
                  <a:lnTo>
                    <a:pt x="1744" y="15743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3" name="Google Shape;2312;p11">
              <a:extLst>
                <a:ext uri="{FF2B5EF4-FFF2-40B4-BE49-F238E27FC236}">
                  <a16:creationId xmlns:a16="http://schemas.microsoft.com/office/drawing/2014/main" id="{961BD744-55FB-76EF-DB75-9D376A60249F}"/>
                </a:ext>
              </a:extLst>
            </p:cNvPr>
            <p:cNvSpPr/>
            <p:nvPr/>
          </p:nvSpPr>
          <p:spPr>
            <a:xfrm>
              <a:off x="9882780" y="1308377"/>
              <a:ext cx="126534" cy="985912"/>
            </a:xfrm>
            <a:custGeom>
              <a:avLst/>
              <a:gdLst/>
              <a:ahLst/>
              <a:cxnLst/>
              <a:rect l="l" t="t" r="r" b="b"/>
              <a:pathLst>
                <a:path w="20205" h="157431" extrusionOk="0">
                  <a:moveTo>
                    <a:pt x="90" y="0"/>
                  </a:moveTo>
                  <a:lnTo>
                    <a:pt x="45" y="15645"/>
                  </a:lnTo>
                  <a:lnTo>
                    <a:pt x="0" y="31066"/>
                  </a:lnTo>
                  <a:lnTo>
                    <a:pt x="45" y="48633"/>
                  </a:lnTo>
                  <a:lnTo>
                    <a:pt x="134" y="65798"/>
                  </a:lnTo>
                  <a:lnTo>
                    <a:pt x="268" y="82515"/>
                  </a:lnTo>
                  <a:lnTo>
                    <a:pt x="447" y="98741"/>
                  </a:lnTo>
                  <a:lnTo>
                    <a:pt x="715" y="114430"/>
                  </a:lnTo>
                  <a:lnTo>
                    <a:pt x="1028" y="129449"/>
                  </a:lnTo>
                  <a:lnTo>
                    <a:pt x="1386" y="143842"/>
                  </a:lnTo>
                  <a:lnTo>
                    <a:pt x="1788" y="157431"/>
                  </a:lnTo>
                  <a:lnTo>
                    <a:pt x="20204" y="157431"/>
                  </a:lnTo>
                  <a:lnTo>
                    <a:pt x="20160" y="7420"/>
                  </a:lnTo>
                  <a:lnTo>
                    <a:pt x="20160" y="6660"/>
                  </a:lnTo>
                  <a:lnTo>
                    <a:pt x="20025" y="5901"/>
                  </a:lnTo>
                  <a:lnTo>
                    <a:pt x="19891" y="5185"/>
                  </a:lnTo>
                  <a:lnTo>
                    <a:pt x="19668" y="4515"/>
                  </a:lnTo>
                  <a:lnTo>
                    <a:pt x="19444" y="3889"/>
                  </a:lnTo>
                  <a:lnTo>
                    <a:pt x="19131" y="3263"/>
                  </a:lnTo>
                  <a:lnTo>
                    <a:pt x="18774" y="2682"/>
                  </a:lnTo>
                  <a:lnTo>
                    <a:pt x="18372" y="2146"/>
                  </a:lnTo>
                  <a:lnTo>
                    <a:pt x="17925" y="1699"/>
                  </a:lnTo>
                  <a:lnTo>
                    <a:pt x="17433" y="1252"/>
                  </a:lnTo>
                  <a:lnTo>
                    <a:pt x="16941" y="894"/>
                  </a:lnTo>
                  <a:lnTo>
                    <a:pt x="16360" y="581"/>
                  </a:lnTo>
                  <a:lnTo>
                    <a:pt x="15824" y="313"/>
                  </a:lnTo>
                  <a:lnTo>
                    <a:pt x="15198" y="134"/>
                  </a:lnTo>
                  <a:lnTo>
                    <a:pt x="14617" y="45"/>
                  </a:lnTo>
                  <a:lnTo>
                    <a:pt x="13946" y="0"/>
                  </a:lnTo>
                  <a:close/>
                </a:path>
              </a:pathLst>
            </a:custGeom>
            <a:solidFill>
              <a:srgbClr val="C877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4" name="Google Shape;2313;p11">
              <a:extLst>
                <a:ext uri="{FF2B5EF4-FFF2-40B4-BE49-F238E27FC236}">
                  <a16:creationId xmlns:a16="http://schemas.microsoft.com/office/drawing/2014/main" id="{07168660-CF8C-41ED-4709-2E8A6C999C38}"/>
                </a:ext>
              </a:extLst>
            </p:cNvPr>
            <p:cNvSpPr/>
            <p:nvPr/>
          </p:nvSpPr>
          <p:spPr>
            <a:xfrm>
              <a:off x="9882780" y="1308377"/>
              <a:ext cx="126534" cy="985912"/>
            </a:xfrm>
            <a:custGeom>
              <a:avLst/>
              <a:gdLst/>
              <a:ahLst/>
              <a:cxnLst/>
              <a:rect l="l" t="t" r="r" b="b"/>
              <a:pathLst>
                <a:path w="20205" h="157431" fill="none" extrusionOk="0">
                  <a:moveTo>
                    <a:pt x="13946" y="0"/>
                  </a:moveTo>
                  <a:lnTo>
                    <a:pt x="13946" y="0"/>
                  </a:lnTo>
                  <a:lnTo>
                    <a:pt x="13946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45" y="15645"/>
                  </a:lnTo>
                  <a:lnTo>
                    <a:pt x="0" y="31066"/>
                  </a:lnTo>
                  <a:lnTo>
                    <a:pt x="0" y="31066"/>
                  </a:lnTo>
                  <a:lnTo>
                    <a:pt x="45" y="48633"/>
                  </a:lnTo>
                  <a:lnTo>
                    <a:pt x="134" y="65798"/>
                  </a:lnTo>
                  <a:lnTo>
                    <a:pt x="268" y="82515"/>
                  </a:lnTo>
                  <a:lnTo>
                    <a:pt x="447" y="98741"/>
                  </a:lnTo>
                  <a:lnTo>
                    <a:pt x="715" y="114430"/>
                  </a:lnTo>
                  <a:lnTo>
                    <a:pt x="1028" y="129449"/>
                  </a:lnTo>
                  <a:lnTo>
                    <a:pt x="1386" y="143842"/>
                  </a:lnTo>
                  <a:lnTo>
                    <a:pt x="1788" y="157431"/>
                  </a:lnTo>
                  <a:lnTo>
                    <a:pt x="20204" y="157431"/>
                  </a:lnTo>
                  <a:lnTo>
                    <a:pt x="20160" y="7420"/>
                  </a:lnTo>
                  <a:lnTo>
                    <a:pt x="20160" y="7420"/>
                  </a:lnTo>
                  <a:lnTo>
                    <a:pt x="20160" y="6660"/>
                  </a:lnTo>
                  <a:lnTo>
                    <a:pt x="20025" y="5901"/>
                  </a:lnTo>
                  <a:lnTo>
                    <a:pt x="19891" y="5185"/>
                  </a:lnTo>
                  <a:lnTo>
                    <a:pt x="19668" y="4515"/>
                  </a:lnTo>
                  <a:lnTo>
                    <a:pt x="19444" y="3889"/>
                  </a:lnTo>
                  <a:lnTo>
                    <a:pt x="19131" y="3263"/>
                  </a:lnTo>
                  <a:lnTo>
                    <a:pt x="18774" y="2682"/>
                  </a:lnTo>
                  <a:lnTo>
                    <a:pt x="18372" y="2146"/>
                  </a:lnTo>
                  <a:lnTo>
                    <a:pt x="17925" y="1699"/>
                  </a:lnTo>
                  <a:lnTo>
                    <a:pt x="17433" y="1252"/>
                  </a:lnTo>
                  <a:lnTo>
                    <a:pt x="16941" y="894"/>
                  </a:lnTo>
                  <a:lnTo>
                    <a:pt x="16360" y="581"/>
                  </a:lnTo>
                  <a:lnTo>
                    <a:pt x="15824" y="313"/>
                  </a:lnTo>
                  <a:lnTo>
                    <a:pt x="15198" y="134"/>
                  </a:lnTo>
                  <a:lnTo>
                    <a:pt x="14617" y="45"/>
                  </a:lnTo>
                  <a:lnTo>
                    <a:pt x="1394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grpSp>
        <p:nvGrpSpPr>
          <p:cNvPr id="85" name="Google Shape;2314;p11">
            <a:extLst>
              <a:ext uri="{FF2B5EF4-FFF2-40B4-BE49-F238E27FC236}">
                <a16:creationId xmlns:a16="http://schemas.microsoft.com/office/drawing/2014/main" id="{E360A87F-04D6-E5C3-EE8C-3F872EC46B90}"/>
              </a:ext>
            </a:extLst>
          </p:cNvPr>
          <p:cNvGrpSpPr/>
          <p:nvPr/>
        </p:nvGrpSpPr>
        <p:grpSpPr>
          <a:xfrm>
            <a:off x="6858246" y="2320749"/>
            <a:ext cx="825101" cy="662178"/>
            <a:chOff x="546150" y="238125"/>
            <a:chExt cx="6527700" cy="5238750"/>
          </a:xfrm>
        </p:grpSpPr>
        <p:sp>
          <p:nvSpPr>
            <p:cNvPr id="86" name="Google Shape;2315;p11">
              <a:extLst>
                <a:ext uri="{FF2B5EF4-FFF2-40B4-BE49-F238E27FC236}">
                  <a16:creationId xmlns:a16="http://schemas.microsoft.com/office/drawing/2014/main" id="{FDD9799E-0249-9B44-2E8F-157F55E868D2}"/>
                </a:ext>
              </a:extLst>
            </p:cNvPr>
            <p:cNvSpPr/>
            <p:nvPr/>
          </p:nvSpPr>
          <p:spPr>
            <a:xfrm>
              <a:off x="1029075" y="4567175"/>
              <a:ext cx="4062125" cy="145150"/>
            </a:xfrm>
            <a:custGeom>
              <a:avLst/>
              <a:gdLst/>
              <a:ahLst/>
              <a:cxnLst/>
              <a:rect l="l" t="t" r="r" b="b"/>
              <a:pathLst>
                <a:path w="162485" h="5806" extrusionOk="0">
                  <a:moveTo>
                    <a:pt x="3870" y="1451"/>
                  </a:moveTo>
                  <a:lnTo>
                    <a:pt x="2212" y="1693"/>
                  </a:lnTo>
                  <a:lnTo>
                    <a:pt x="1520" y="1832"/>
                  </a:lnTo>
                  <a:lnTo>
                    <a:pt x="968" y="1970"/>
                  </a:lnTo>
                  <a:lnTo>
                    <a:pt x="553" y="2074"/>
                  </a:lnTo>
                  <a:lnTo>
                    <a:pt x="242" y="2212"/>
                  </a:lnTo>
                  <a:lnTo>
                    <a:pt x="35" y="2350"/>
                  </a:lnTo>
                  <a:lnTo>
                    <a:pt x="0" y="2419"/>
                  </a:lnTo>
                  <a:lnTo>
                    <a:pt x="0" y="2488"/>
                  </a:lnTo>
                  <a:lnTo>
                    <a:pt x="0" y="2557"/>
                  </a:lnTo>
                  <a:lnTo>
                    <a:pt x="35" y="2592"/>
                  </a:lnTo>
                  <a:lnTo>
                    <a:pt x="207" y="2730"/>
                  </a:lnTo>
                  <a:lnTo>
                    <a:pt x="518" y="2868"/>
                  </a:lnTo>
                  <a:lnTo>
                    <a:pt x="898" y="2972"/>
                  </a:lnTo>
                  <a:lnTo>
                    <a:pt x="1417" y="3110"/>
                  </a:lnTo>
                  <a:lnTo>
                    <a:pt x="2039" y="3214"/>
                  </a:lnTo>
                  <a:lnTo>
                    <a:pt x="3594" y="3456"/>
                  </a:lnTo>
                  <a:lnTo>
                    <a:pt x="3870" y="1451"/>
                  </a:lnTo>
                  <a:close/>
                  <a:moveTo>
                    <a:pt x="147107" y="0"/>
                  </a:moveTo>
                  <a:lnTo>
                    <a:pt x="146934" y="346"/>
                  </a:lnTo>
                  <a:lnTo>
                    <a:pt x="146830" y="518"/>
                  </a:lnTo>
                  <a:lnTo>
                    <a:pt x="146623" y="657"/>
                  </a:lnTo>
                  <a:lnTo>
                    <a:pt x="146346" y="829"/>
                  </a:lnTo>
                  <a:lnTo>
                    <a:pt x="146001" y="968"/>
                  </a:lnTo>
                  <a:lnTo>
                    <a:pt x="145828" y="2903"/>
                  </a:lnTo>
                  <a:lnTo>
                    <a:pt x="145828" y="3663"/>
                  </a:lnTo>
                  <a:lnTo>
                    <a:pt x="145828" y="4251"/>
                  </a:lnTo>
                  <a:lnTo>
                    <a:pt x="150977" y="3940"/>
                  </a:lnTo>
                  <a:lnTo>
                    <a:pt x="155469" y="3594"/>
                  </a:lnTo>
                  <a:lnTo>
                    <a:pt x="159270" y="3248"/>
                  </a:lnTo>
                  <a:lnTo>
                    <a:pt x="160860" y="3076"/>
                  </a:lnTo>
                  <a:lnTo>
                    <a:pt x="162277" y="2903"/>
                  </a:lnTo>
                  <a:lnTo>
                    <a:pt x="162484" y="899"/>
                  </a:lnTo>
                  <a:lnTo>
                    <a:pt x="161171" y="795"/>
                  </a:lnTo>
                  <a:lnTo>
                    <a:pt x="159650" y="657"/>
                  </a:lnTo>
                  <a:lnTo>
                    <a:pt x="156126" y="415"/>
                  </a:lnTo>
                  <a:lnTo>
                    <a:pt x="151910" y="207"/>
                  </a:lnTo>
                  <a:lnTo>
                    <a:pt x="147107" y="0"/>
                  </a:lnTo>
                  <a:close/>
                  <a:moveTo>
                    <a:pt x="18073" y="380"/>
                  </a:moveTo>
                  <a:lnTo>
                    <a:pt x="12959" y="657"/>
                  </a:lnTo>
                  <a:lnTo>
                    <a:pt x="8605" y="968"/>
                  </a:lnTo>
                  <a:lnTo>
                    <a:pt x="7913" y="3905"/>
                  </a:lnTo>
                  <a:lnTo>
                    <a:pt x="10298" y="4112"/>
                  </a:lnTo>
                  <a:lnTo>
                    <a:pt x="12924" y="4285"/>
                  </a:lnTo>
                  <a:lnTo>
                    <a:pt x="15827" y="4458"/>
                  </a:lnTo>
                  <a:lnTo>
                    <a:pt x="18971" y="4631"/>
                  </a:lnTo>
                  <a:lnTo>
                    <a:pt x="18591" y="2972"/>
                  </a:lnTo>
                  <a:lnTo>
                    <a:pt x="18384" y="2074"/>
                  </a:lnTo>
                  <a:lnTo>
                    <a:pt x="18073" y="380"/>
                  </a:lnTo>
                  <a:close/>
                  <a:moveTo>
                    <a:pt x="137085" y="2454"/>
                  </a:moveTo>
                  <a:lnTo>
                    <a:pt x="133768" y="2730"/>
                  </a:lnTo>
                  <a:lnTo>
                    <a:pt x="130070" y="2972"/>
                  </a:lnTo>
                  <a:lnTo>
                    <a:pt x="129759" y="3663"/>
                  </a:lnTo>
                  <a:lnTo>
                    <a:pt x="129483" y="4285"/>
                  </a:lnTo>
                  <a:lnTo>
                    <a:pt x="129241" y="5011"/>
                  </a:lnTo>
                  <a:lnTo>
                    <a:pt x="137154" y="4700"/>
                  </a:lnTo>
                  <a:lnTo>
                    <a:pt x="137085" y="3663"/>
                  </a:lnTo>
                  <a:lnTo>
                    <a:pt x="137085" y="2454"/>
                  </a:lnTo>
                  <a:close/>
                  <a:moveTo>
                    <a:pt x="25295" y="69"/>
                  </a:moveTo>
                  <a:lnTo>
                    <a:pt x="23913" y="104"/>
                  </a:lnTo>
                  <a:lnTo>
                    <a:pt x="24259" y="4838"/>
                  </a:lnTo>
                  <a:lnTo>
                    <a:pt x="30064" y="5045"/>
                  </a:lnTo>
                  <a:lnTo>
                    <a:pt x="36353" y="5253"/>
                  </a:lnTo>
                  <a:lnTo>
                    <a:pt x="43057" y="5425"/>
                  </a:lnTo>
                  <a:lnTo>
                    <a:pt x="50176" y="5564"/>
                  </a:lnTo>
                  <a:lnTo>
                    <a:pt x="57640" y="5667"/>
                  </a:lnTo>
                  <a:lnTo>
                    <a:pt x="65450" y="5736"/>
                  </a:lnTo>
                  <a:lnTo>
                    <a:pt x="73501" y="5806"/>
                  </a:lnTo>
                  <a:lnTo>
                    <a:pt x="81830" y="5806"/>
                  </a:lnTo>
                  <a:lnTo>
                    <a:pt x="92231" y="5771"/>
                  </a:lnTo>
                  <a:lnTo>
                    <a:pt x="102321" y="5667"/>
                  </a:lnTo>
                  <a:lnTo>
                    <a:pt x="112032" y="5495"/>
                  </a:lnTo>
                  <a:lnTo>
                    <a:pt x="121224" y="5253"/>
                  </a:lnTo>
                  <a:lnTo>
                    <a:pt x="121535" y="3318"/>
                  </a:lnTo>
                  <a:lnTo>
                    <a:pt x="115142" y="3525"/>
                  </a:lnTo>
                  <a:lnTo>
                    <a:pt x="108300" y="3629"/>
                  </a:lnTo>
                  <a:lnTo>
                    <a:pt x="101216" y="3698"/>
                  </a:lnTo>
                  <a:lnTo>
                    <a:pt x="93890" y="3732"/>
                  </a:lnTo>
                  <a:lnTo>
                    <a:pt x="88153" y="3732"/>
                  </a:lnTo>
                  <a:lnTo>
                    <a:pt x="82417" y="3698"/>
                  </a:lnTo>
                  <a:lnTo>
                    <a:pt x="76715" y="3629"/>
                  </a:lnTo>
                  <a:lnTo>
                    <a:pt x="71082" y="3525"/>
                  </a:lnTo>
                  <a:lnTo>
                    <a:pt x="65588" y="3421"/>
                  </a:lnTo>
                  <a:lnTo>
                    <a:pt x="60266" y="3283"/>
                  </a:lnTo>
                  <a:lnTo>
                    <a:pt x="55152" y="3110"/>
                  </a:lnTo>
                  <a:lnTo>
                    <a:pt x="50314" y="2937"/>
                  </a:lnTo>
                  <a:lnTo>
                    <a:pt x="45753" y="2730"/>
                  </a:lnTo>
                  <a:lnTo>
                    <a:pt x="41571" y="2523"/>
                  </a:lnTo>
                  <a:lnTo>
                    <a:pt x="37805" y="2281"/>
                  </a:lnTo>
                  <a:lnTo>
                    <a:pt x="34487" y="2039"/>
                  </a:lnTo>
                  <a:lnTo>
                    <a:pt x="31619" y="1797"/>
                  </a:lnTo>
                  <a:lnTo>
                    <a:pt x="29338" y="1521"/>
                  </a:lnTo>
                  <a:lnTo>
                    <a:pt x="28405" y="1382"/>
                  </a:lnTo>
                  <a:lnTo>
                    <a:pt x="27645" y="1210"/>
                  </a:lnTo>
                  <a:lnTo>
                    <a:pt x="27023" y="1071"/>
                  </a:lnTo>
                  <a:lnTo>
                    <a:pt x="26574" y="933"/>
                  </a:lnTo>
                  <a:lnTo>
                    <a:pt x="26228" y="760"/>
                  </a:lnTo>
                  <a:lnTo>
                    <a:pt x="25883" y="588"/>
                  </a:lnTo>
                  <a:lnTo>
                    <a:pt x="25572" y="346"/>
                  </a:lnTo>
                  <a:lnTo>
                    <a:pt x="25295" y="69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7" name="Google Shape;2316;p11">
              <a:extLst>
                <a:ext uri="{FF2B5EF4-FFF2-40B4-BE49-F238E27FC236}">
                  <a16:creationId xmlns:a16="http://schemas.microsoft.com/office/drawing/2014/main" id="{87C3C04B-3AF3-58D2-14B2-493F666F43DE}"/>
                </a:ext>
              </a:extLst>
            </p:cNvPr>
            <p:cNvSpPr/>
            <p:nvPr/>
          </p:nvSpPr>
          <p:spPr>
            <a:xfrm>
              <a:off x="4260075" y="4628500"/>
              <a:ext cx="197875" cy="63950"/>
            </a:xfrm>
            <a:custGeom>
              <a:avLst/>
              <a:gdLst/>
              <a:ahLst/>
              <a:cxnLst/>
              <a:rect l="l" t="t" r="r" b="b"/>
              <a:pathLst>
                <a:path w="7915" h="2558" fill="none" extrusionOk="0">
                  <a:moveTo>
                    <a:pt x="7845" y="1"/>
                  </a:moveTo>
                  <a:lnTo>
                    <a:pt x="7845" y="1"/>
                  </a:lnTo>
                  <a:lnTo>
                    <a:pt x="4528" y="277"/>
                  </a:lnTo>
                  <a:lnTo>
                    <a:pt x="830" y="519"/>
                  </a:lnTo>
                  <a:lnTo>
                    <a:pt x="830" y="519"/>
                  </a:lnTo>
                  <a:lnTo>
                    <a:pt x="519" y="1210"/>
                  </a:lnTo>
                  <a:lnTo>
                    <a:pt x="519" y="1210"/>
                  </a:lnTo>
                  <a:lnTo>
                    <a:pt x="243" y="1832"/>
                  </a:lnTo>
                  <a:lnTo>
                    <a:pt x="1" y="2558"/>
                  </a:lnTo>
                  <a:lnTo>
                    <a:pt x="1" y="2558"/>
                  </a:lnTo>
                  <a:lnTo>
                    <a:pt x="7914" y="2247"/>
                  </a:lnTo>
                  <a:lnTo>
                    <a:pt x="7914" y="2247"/>
                  </a:lnTo>
                  <a:lnTo>
                    <a:pt x="7845" y="1210"/>
                  </a:lnTo>
                  <a:lnTo>
                    <a:pt x="784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8" name="Google Shape;2317;p11">
              <a:extLst>
                <a:ext uri="{FF2B5EF4-FFF2-40B4-BE49-F238E27FC236}">
                  <a16:creationId xmlns:a16="http://schemas.microsoft.com/office/drawing/2014/main" id="{DC7F74BD-F965-AC36-04C2-CC72E4E96880}"/>
                </a:ext>
              </a:extLst>
            </p:cNvPr>
            <p:cNvSpPr/>
            <p:nvPr/>
          </p:nvSpPr>
          <p:spPr>
            <a:xfrm>
              <a:off x="1029075" y="4603450"/>
              <a:ext cx="96775" cy="50125"/>
            </a:xfrm>
            <a:custGeom>
              <a:avLst/>
              <a:gdLst/>
              <a:ahLst/>
              <a:cxnLst/>
              <a:rect l="l" t="t" r="r" b="b"/>
              <a:pathLst>
                <a:path w="3871" h="2005" fill="none" extrusionOk="0">
                  <a:moveTo>
                    <a:pt x="3870" y="0"/>
                  </a:moveTo>
                  <a:lnTo>
                    <a:pt x="3870" y="0"/>
                  </a:lnTo>
                  <a:lnTo>
                    <a:pt x="2212" y="242"/>
                  </a:lnTo>
                  <a:lnTo>
                    <a:pt x="1520" y="381"/>
                  </a:lnTo>
                  <a:lnTo>
                    <a:pt x="968" y="519"/>
                  </a:lnTo>
                  <a:lnTo>
                    <a:pt x="553" y="623"/>
                  </a:lnTo>
                  <a:lnTo>
                    <a:pt x="242" y="761"/>
                  </a:lnTo>
                  <a:lnTo>
                    <a:pt x="35" y="899"/>
                  </a:lnTo>
                  <a:lnTo>
                    <a:pt x="0" y="968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0" y="1106"/>
                  </a:lnTo>
                  <a:lnTo>
                    <a:pt x="35" y="1141"/>
                  </a:lnTo>
                  <a:lnTo>
                    <a:pt x="207" y="1279"/>
                  </a:lnTo>
                  <a:lnTo>
                    <a:pt x="518" y="1417"/>
                  </a:lnTo>
                  <a:lnTo>
                    <a:pt x="898" y="1521"/>
                  </a:lnTo>
                  <a:lnTo>
                    <a:pt x="1417" y="1659"/>
                  </a:lnTo>
                  <a:lnTo>
                    <a:pt x="2039" y="1763"/>
                  </a:lnTo>
                  <a:lnTo>
                    <a:pt x="3594" y="2005"/>
                  </a:lnTo>
                  <a:lnTo>
                    <a:pt x="3594" y="2005"/>
                  </a:lnTo>
                  <a:lnTo>
                    <a:pt x="387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9" name="Google Shape;2318;p11">
              <a:extLst>
                <a:ext uri="{FF2B5EF4-FFF2-40B4-BE49-F238E27FC236}">
                  <a16:creationId xmlns:a16="http://schemas.microsoft.com/office/drawing/2014/main" id="{7E362295-0E52-CA0C-6CB9-CB3A92D3A93C}"/>
                </a:ext>
              </a:extLst>
            </p:cNvPr>
            <p:cNvSpPr/>
            <p:nvPr/>
          </p:nvSpPr>
          <p:spPr>
            <a:xfrm>
              <a:off x="1226900" y="4576675"/>
              <a:ext cx="276475" cy="106275"/>
            </a:xfrm>
            <a:custGeom>
              <a:avLst/>
              <a:gdLst/>
              <a:ahLst/>
              <a:cxnLst/>
              <a:rect l="l" t="t" r="r" b="b"/>
              <a:pathLst>
                <a:path w="11059" h="4251" fill="none" extrusionOk="0">
                  <a:moveTo>
                    <a:pt x="10160" y="0"/>
                  </a:moveTo>
                  <a:lnTo>
                    <a:pt x="10160" y="0"/>
                  </a:lnTo>
                  <a:lnTo>
                    <a:pt x="5046" y="277"/>
                  </a:lnTo>
                  <a:lnTo>
                    <a:pt x="692" y="588"/>
                  </a:lnTo>
                  <a:lnTo>
                    <a:pt x="692" y="588"/>
                  </a:lnTo>
                  <a:lnTo>
                    <a:pt x="0" y="3525"/>
                  </a:lnTo>
                  <a:lnTo>
                    <a:pt x="0" y="3525"/>
                  </a:lnTo>
                  <a:lnTo>
                    <a:pt x="2385" y="3732"/>
                  </a:lnTo>
                  <a:lnTo>
                    <a:pt x="5011" y="3905"/>
                  </a:lnTo>
                  <a:lnTo>
                    <a:pt x="7914" y="4078"/>
                  </a:lnTo>
                  <a:lnTo>
                    <a:pt x="11058" y="4251"/>
                  </a:lnTo>
                  <a:lnTo>
                    <a:pt x="11058" y="4251"/>
                  </a:lnTo>
                  <a:lnTo>
                    <a:pt x="10678" y="2592"/>
                  </a:lnTo>
                  <a:lnTo>
                    <a:pt x="10678" y="2592"/>
                  </a:lnTo>
                  <a:lnTo>
                    <a:pt x="10471" y="1694"/>
                  </a:lnTo>
                  <a:lnTo>
                    <a:pt x="1016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0" name="Google Shape;2319;p11">
              <a:extLst>
                <a:ext uri="{FF2B5EF4-FFF2-40B4-BE49-F238E27FC236}">
                  <a16:creationId xmlns:a16="http://schemas.microsoft.com/office/drawing/2014/main" id="{550A3287-9F9D-9D6A-B5F3-432046227F6F}"/>
                </a:ext>
              </a:extLst>
            </p:cNvPr>
            <p:cNvSpPr/>
            <p:nvPr/>
          </p:nvSpPr>
          <p:spPr>
            <a:xfrm>
              <a:off x="1626900" y="4568900"/>
              <a:ext cx="2440550" cy="143425"/>
            </a:xfrm>
            <a:custGeom>
              <a:avLst/>
              <a:gdLst/>
              <a:ahLst/>
              <a:cxnLst/>
              <a:rect l="l" t="t" r="r" b="b"/>
              <a:pathLst>
                <a:path w="97622" h="5737" fill="none" extrusionOk="0">
                  <a:moveTo>
                    <a:pt x="1382" y="0"/>
                  </a:moveTo>
                  <a:lnTo>
                    <a:pt x="1382" y="0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346" y="4769"/>
                  </a:lnTo>
                  <a:lnTo>
                    <a:pt x="346" y="4769"/>
                  </a:lnTo>
                  <a:lnTo>
                    <a:pt x="6151" y="4976"/>
                  </a:lnTo>
                  <a:lnTo>
                    <a:pt x="12440" y="5184"/>
                  </a:lnTo>
                  <a:lnTo>
                    <a:pt x="19144" y="5356"/>
                  </a:lnTo>
                  <a:lnTo>
                    <a:pt x="26263" y="5495"/>
                  </a:lnTo>
                  <a:lnTo>
                    <a:pt x="33727" y="5598"/>
                  </a:lnTo>
                  <a:lnTo>
                    <a:pt x="41537" y="5667"/>
                  </a:lnTo>
                  <a:lnTo>
                    <a:pt x="49588" y="5737"/>
                  </a:lnTo>
                  <a:lnTo>
                    <a:pt x="57917" y="5737"/>
                  </a:lnTo>
                  <a:lnTo>
                    <a:pt x="57917" y="5737"/>
                  </a:lnTo>
                  <a:lnTo>
                    <a:pt x="68318" y="5702"/>
                  </a:lnTo>
                  <a:lnTo>
                    <a:pt x="78408" y="5598"/>
                  </a:lnTo>
                  <a:lnTo>
                    <a:pt x="88119" y="5426"/>
                  </a:lnTo>
                  <a:lnTo>
                    <a:pt x="97311" y="5184"/>
                  </a:lnTo>
                  <a:lnTo>
                    <a:pt x="97311" y="5184"/>
                  </a:lnTo>
                  <a:lnTo>
                    <a:pt x="97622" y="3249"/>
                  </a:lnTo>
                  <a:lnTo>
                    <a:pt x="97622" y="3249"/>
                  </a:lnTo>
                  <a:lnTo>
                    <a:pt x="91229" y="3456"/>
                  </a:lnTo>
                  <a:lnTo>
                    <a:pt x="84387" y="3560"/>
                  </a:lnTo>
                  <a:lnTo>
                    <a:pt x="77303" y="3629"/>
                  </a:lnTo>
                  <a:lnTo>
                    <a:pt x="69977" y="3663"/>
                  </a:lnTo>
                  <a:lnTo>
                    <a:pt x="69977" y="3663"/>
                  </a:lnTo>
                  <a:lnTo>
                    <a:pt x="64240" y="3663"/>
                  </a:lnTo>
                  <a:lnTo>
                    <a:pt x="58504" y="3629"/>
                  </a:lnTo>
                  <a:lnTo>
                    <a:pt x="52802" y="3560"/>
                  </a:lnTo>
                  <a:lnTo>
                    <a:pt x="47169" y="3456"/>
                  </a:lnTo>
                  <a:lnTo>
                    <a:pt x="41675" y="3352"/>
                  </a:lnTo>
                  <a:lnTo>
                    <a:pt x="36353" y="3214"/>
                  </a:lnTo>
                  <a:lnTo>
                    <a:pt x="31239" y="3041"/>
                  </a:lnTo>
                  <a:lnTo>
                    <a:pt x="26401" y="2868"/>
                  </a:lnTo>
                  <a:lnTo>
                    <a:pt x="21840" y="2661"/>
                  </a:lnTo>
                  <a:lnTo>
                    <a:pt x="17658" y="2454"/>
                  </a:lnTo>
                  <a:lnTo>
                    <a:pt x="13892" y="2212"/>
                  </a:lnTo>
                  <a:lnTo>
                    <a:pt x="10574" y="1970"/>
                  </a:lnTo>
                  <a:lnTo>
                    <a:pt x="7706" y="1728"/>
                  </a:lnTo>
                  <a:lnTo>
                    <a:pt x="5425" y="1452"/>
                  </a:lnTo>
                  <a:lnTo>
                    <a:pt x="4492" y="1313"/>
                  </a:lnTo>
                  <a:lnTo>
                    <a:pt x="3732" y="1141"/>
                  </a:lnTo>
                  <a:lnTo>
                    <a:pt x="3110" y="1002"/>
                  </a:lnTo>
                  <a:lnTo>
                    <a:pt x="2661" y="864"/>
                  </a:lnTo>
                  <a:lnTo>
                    <a:pt x="2661" y="864"/>
                  </a:lnTo>
                  <a:lnTo>
                    <a:pt x="2315" y="691"/>
                  </a:lnTo>
                  <a:lnTo>
                    <a:pt x="1970" y="519"/>
                  </a:lnTo>
                  <a:lnTo>
                    <a:pt x="1659" y="277"/>
                  </a:lnTo>
                  <a:lnTo>
                    <a:pt x="138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1" name="Google Shape;2320;p11">
              <a:extLst>
                <a:ext uri="{FF2B5EF4-FFF2-40B4-BE49-F238E27FC236}">
                  <a16:creationId xmlns:a16="http://schemas.microsoft.com/office/drawing/2014/main" id="{0A2729A1-7A8F-4017-FD64-DFAD83E0538D}"/>
                </a:ext>
              </a:extLst>
            </p:cNvPr>
            <p:cNvSpPr/>
            <p:nvPr/>
          </p:nvSpPr>
          <p:spPr>
            <a:xfrm>
              <a:off x="4674750" y="4567175"/>
              <a:ext cx="416450" cy="106275"/>
            </a:xfrm>
            <a:custGeom>
              <a:avLst/>
              <a:gdLst/>
              <a:ahLst/>
              <a:cxnLst/>
              <a:rect l="l" t="t" r="r" b="b"/>
              <a:pathLst>
                <a:path w="16658" h="4251" fill="none" extrusionOk="0">
                  <a:moveTo>
                    <a:pt x="1280" y="0"/>
                  </a:moveTo>
                  <a:lnTo>
                    <a:pt x="1280" y="0"/>
                  </a:lnTo>
                  <a:lnTo>
                    <a:pt x="1107" y="346"/>
                  </a:lnTo>
                  <a:lnTo>
                    <a:pt x="1107" y="346"/>
                  </a:lnTo>
                  <a:lnTo>
                    <a:pt x="1003" y="518"/>
                  </a:lnTo>
                  <a:lnTo>
                    <a:pt x="796" y="657"/>
                  </a:lnTo>
                  <a:lnTo>
                    <a:pt x="519" y="829"/>
                  </a:lnTo>
                  <a:lnTo>
                    <a:pt x="174" y="968"/>
                  </a:lnTo>
                  <a:lnTo>
                    <a:pt x="174" y="968"/>
                  </a:lnTo>
                  <a:lnTo>
                    <a:pt x="1" y="2903"/>
                  </a:lnTo>
                  <a:lnTo>
                    <a:pt x="1" y="3663"/>
                  </a:lnTo>
                  <a:lnTo>
                    <a:pt x="1" y="4251"/>
                  </a:lnTo>
                  <a:lnTo>
                    <a:pt x="1" y="4251"/>
                  </a:lnTo>
                  <a:lnTo>
                    <a:pt x="5150" y="3940"/>
                  </a:lnTo>
                  <a:lnTo>
                    <a:pt x="9642" y="3594"/>
                  </a:lnTo>
                  <a:lnTo>
                    <a:pt x="13443" y="3248"/>
                  </a:lnTo>
                  <a:lnTo>
                    <a:pt x="15033" y="3076"/>
                  </a:lnTo>
                  <a:lnTo>
                    <a:pt x="16450" y="2903"/>
                  </a:lnTo>
                  <a:lnTo>
                    <a:pt x="16657" y="899"/>
                  </a:lnTo>
                  <a:lnTo>
                    <a:pt x="16657" y="899"/>
                  </a:lnTo>
                  <a:lnTo>
                    <a:pt x="15344" y="795"/>
                  </a:lnTo>
                  <a:lnTo>
                    <a:pt x="13823" y="657"/>
                  </a:lnTo>
                  <a:lnTo>
                    <a:pt x="10299" y="415"/>
                  </a:lnTo>
                  <a:lnTo>
                    <a:pt x="6083" y="207"/>
                  </a:lnTo>
                  <a:lnTo>
                    <a:pt x="12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2" name="Google Shape;2321;p11">
              <a:extLst>
                <a:ext uri="{FF2B5EF4-FFF2-40B4-BE49-F238E27FC236}">
                  <a16:creationId xmlns:a16="http://schemas.microsoft.com/office/drawing/2014/main" id="{30C7EAB5-51C9-7F7F-8BAA-CF7F731670EB}"/>
                </a:ext>
              </a:extLst>
            </p:cNvPr>
            <p:cNvSpPr/>
            <p:nvPr/>
          </p:nvSpPr>
          <p:spPr>
            <a:xfrm>
              <a:off x="1544825" y="238125"/>
              <a:ext cx="3225000" cy="4422375"/>
            </a:xfrm>
            <a:custGeom>
              <a:avLst/>
              <a:gdLst/>
              <a:ahLst/>
              <a:cxnLst/>
              <a:rect l="l" t="t" r="r" b="b"/>
              <a:pathLst>
                <a:path w="129000" h="176895" extrusionOk="0">
                  <a:moveTo>
                    <a:pt x="61545" y="0"/>
                  </a:moveTo>
                  <a:lnTo>
                    <a:pt x="56051" y="69"/>
                  </a:lnTo>
                  <a:lnTo>
                    <a:pt x="50591" y="173"/>
                  </a:lnTo>
                  <a:lnTo>
                    <a:pt x="45200" y="311"/>
                  </a:lnTo>
                  <a:lnTo>
                    <a:pt x="39913" y="518"/>
                  </a:lnTo>
                  <a:lnTo>
                    <a:pt x="34764" y="795"/>
                  </a:lnTo>
                  <a:lnTo>
                    <a:pt x="29822" y="1106"/>
                  </a:lnTo>
                  <a:lnTo>
                    <a:pt x="27438" y="1313"/>
                  </a:lnTo>
                  <a:lnTo>
                    <a:pt x="25123" y="1520"/>
                  </a:lnTo>
                  <a:lnTo>
                    <a:pt x="22877" y="1728"/>
                  </a:lnTo>
                  <a:lnTo>
                    <a:pt x="20699" y="1970"/>
                  </a:lnTo>
                  <a:lnTo>
                    <a:pt x="18626" y="2246"/>
                  </a:lnTo>
                  <a:lnTo>
                    <a:pt x="16622" y="2523"/>
                  </a:lnTo>
                  <a:lnTo>
                    <a:pt x="14687" y="2799"/>
                  </a:lnTo>
                  <a:lnTo>
                    <a:pt x="12855" y="3145"/>
                  </a:lnTo>
                  <a:lnTo>
                    <a:pt x="11127" y="3456"/>
                  </a:lnTo>
                  <a:lnTo>
                    <a:pt x="9503" y="3836"/>
                  </a:lnTo>
                  <a:lnTo>
                    <a:pt x="7983" y="4181"/>
                  </a:lnTo>
                  <a:lnTo>
                    <a:pt x="6600" y="4596"/>
                  </a:lnTo>
                  <a:lnTo>
                    <a:pt x="5322" y="5011"/>
                  </a:lnTo>
                  <a:lnTo>
                    <a:pt x="4147" y="5460"/>
                  </a:lnTo>
                  <a:lnTo>
                    <a:pt x="3145" y="5909"/>
                  </a:lnTo>
                  <a:lnTo>
                    <a:pt x="2661" y="6151"/>
                  </a:lnTo>
                  <a:lnTo>
                    <a:pt x="2246" y="6393"/>
                  </a:lnTo>
                  <a:lnTo>
                    <a:pt x="1866" y="6669"/>
                  </a:lnTo>
                  <a:lnTo>
                    <a:pt x="1486" y="6911"/>
                  </a:lnTo>
                  <a:lnTo>
                    <a:pt x="1175" y="7188"/>
                  </a:lnTo>
                  <a:lnTo>
                    <a:pt x="899" y="7464"/>
                  </a:lnTo>
                  <a:lnTo>
                    <a:pt x="657" y="7706"/>
                  </a:lnTo>
                  <a:lnTo>
                    <a:pt x="449" y="8017"/>
                  </a:lnTo>
                  <a:lnTo>
                    <a:pt x="277" y="8294"/>
                  </a:lnTo>
                  <a:lnTo>
                    <a:pt x="138" y="8570"/>
                  </a:lnTo>
                  <a:lnTo>
                    <a:pt x="35" y="8881"/>
                  </a:lnTo>
                  <a:lnTo>
                    <a:pt x="0" y="9192"/>
                  </a:lnTo>
                  <a:lnTo>
                    <a:pt x="0" y="9503"/>
                  </a:lnTo>
                  <a:lnTo>
                    <a:pt x="35" y="9814"/>
                  </a:lnTo>
                  <a:lnTo>
                    <a:pt x="553" y="12924"/>
                  </a:lnTo>
                  <a:lnTo>
                    <a:pt x="1037" y="16103"/>
                  </a:lnTo>
                  <a:lnTo>
                    <a:pt x="1452" y="19282"/>
                  </a:lnTo>
                  <a:lnTo>
                    <a:pt x="1866" y="22496"/>
                  </a:lnTo>
                  <a:lnTo>
                    <a:pt x="2212" y="25745"/>
                  </a:lnTo>
                  <a:lnTo>
                    <a:pt x="2523" y="29027"/>
                  </a:lnTo>
                  <a:lnTo>
                    <a:pt x="2799" y="32310"/>
                  </a:lnTo>
                  <a:lnTo>
                    <a:pt x="3041" y="35628"/>
                  </a:lnTo>
                  <a:lnTo>
                    <a:pt x="3248" y="38945"/>
                  </a:lnTo>
                  <a:lnTo>
                    <a:pt x="3421" y="42297"/>
                  </a:lnTo>
                  <a:lnTo>
                    <a:pt x="3594" y="45684"/>
                  </a:lnTo>
                  <a:lnTo>
                    <a:pt x="3698" y="49036"/>
                  </a:lnTo>
                  <a:lnTo>
                    <a:pt x="3801" y="52422"/>
                  </a:lnTo>
                  <a:lnTo>
                    <a:pt x="3870" y="55809"/>
                  </a:lnTo>
                  <a:lnTo>
                    <a:pt x="3905" y="59195"/>
                  </a:lnTo>
                  <a:lnTo>
                    <a:pt x="3940" y="62582"/>
                  </a:lnTo>
                  <a:lnTo>
                    <a:pt x="3940" y="65968"/>
                  </a:lnTo>
                  <a:lnTo>
                    <a:pt x="3905" y="69355"/>
                  </a:lnTo>
                  <a:lnTo>
                    <a:pt x="3801" y="76093"/>
                  </a:lnTo>
                  <a:lnTo>
                    <a:pt x="3663" y="82797"/>
                  </a:lnTo>
                  <a:lnTo>
                    <a:pt x="3421" y="89397"/>
                  </a:lnTo>
                  <a:lnTo>
                    <a:pt x="3179" y="95929"/>
                  </a:lnTo>
                  <a:lnTo>
                    <a:pt x="2903" y="102321"/>
                  </a:lnTo>
                  <a:lnTo>
                    <a:pt x="2281" y="114693"/>
                  </a:lnTo>
                  <a:lnTo>
                    <a:pt x="1693" y="126373"/>
                  </a:lnTo>
                  <a:lnTo>
                    <a:pt x="1452" y="131902"/>
                  </a:lnTo>
                  <a:lnTo>
                    <a:pt x="1210" y="137154"/>
                  </a:lnTo>
                  <a:lnTo>
                    <a:pt x="1071" y="142165"/>
                  </a:lnTo>
                  <a:lnTo>
                    <a:pt x="968" y="146899"/>
                  </a:lnTo>
                  <a:lnTo>
                    <a:pt x="933" y="151322"/>
                  </a:lnTo>
                  <a:lnTo>
                    <a:pt x="933" y="153430"/>
                  </a:lnTo>
                  <a:lnTo>
                    <a:pt x="968" y="155435"/>
                  </a:lnTo>
                  <a:lnTo>
                    <a:pt x="1037" y="157370"/>
                  </a:lnTo>
                  <a:lnTo>
                    <a:pt x="1141" y="159201"/>
                  </a:lnTo>
                  <a:lnTo>
                    <a:pt x="1244" y="160929"/>
                  </a:lnTo>
                  <a:lnTo>
                    <a:pt x="1417" y="162588"/>
                  </a:lnTo>
                  <a:lnTo>
                    <a:pt x="1590" y="164143"/>
                  </a:lnTo>
                  <a:lnTo>
                    <a:pt x="1797" y="165594"/>
                  </a:lnTo>
                  <a:lnTo>
                    <a:pt x="2039" y="166942"/>
                  </a:lnTo>
                  <a:lnTo>
                    <a:pt x="2315" y="168186"/>
                  </a:lnTo>
                  <a:lnTo>
                    <a:pt x="2626" y="169326"/>
                  </a:lnTo>
                  <a:lnTo>
                    <a:pt x="2972" y="170363"/>
                  </a:lnTo>
                  <a:lnTo>
                    <a:pt x="3352" y="171296"/>
                  </a:lnTo>
                  <a:lnTo>
                    <a:pt x="3559" y="171711"/>
                  </a:lnTo>
                  <a:lnTo>
                    <a:pt x="3767" y="172091"/>
                  </a:lnTo>
                  <a:lnTo>
                    <a:pt x="4009" y="172436"/>
                  </a:lnTo>
                  <a:lnTo>
                    <a:pt x="4251" y="172782"/>
                  </a:lnTo>
                  <a:lnTo>
                    <a:pt x="4493" y="173058"/>
                  </a:lnTo>
                  <a:lnTo>
                    <a:pt x="4769" y="173335"/>
                  </a:lnTo>
                  <a:lnTo>
                    <a:pt x="5045" y="173577"/>
                  </a:lnTo>
                  <a:lnTo>
                    <a:pt x="5322" y="173784"/>
                  </a:lnTo>
                  <a:lnTo>
                    <a:pt x="5633" y="173957"/>
                  </a:lnTo>
                  <a:lnTo>
                    <a:pt x="5944" y="174095"/>
                  </a:lnTo>
                  <a:lnTo>
                    <a:pt x="6359" y="174233"/>
                  </a:lnTo>
                  <a:lnTo>
                    <a:pt x="6911" y="174372"/>
                  </a:lnTo>
                  <a:lnTo>
                    <a:pt x="7637" y="174510"/>
                  </a:lnTo>
                  <a:lnTo>
                    <a:pt x="8466" y="174648"/>
                  </a:lnTo>
                  <a:lnTo>
                    <a:pt x="10574" y="174890"/>
                  </a:lnTo>
                  <a:lnTo>
                    <a:pt x="13132" y="175132"/>
                  </a:lnTo>
                  <a:lnTo>
                    <a:pt x="16138" y="175374"/>
                  </a:lnTo>
                  <a:lnTo>
                    <a:pt x="19559" y="175616"/>
                  </a:lnTo>
                  <a:lnTo>
                    <a:pt x="23360" y="175823"/>
                  </a:lnTo>
                  <a:lnTo>
                    <a:pt x="27507" y="175996"/>
                  </a:lnTo>
                  <a:lnTo>
                    <a:pt x="31930" y="176169"/>
                  </a:lnTo>
                  <a:lnTo>
                    <a:pt x="36595" y="176341"/>
                  </a:lnTo>
                  <a:lnTo>
                    <a:pt x="41502" y="176480"/>
                  </a:lnTo>
                  <a:lnTo>
                    <a:pt x="46548" y="176618"/>
                  </a:lnTo>
                  <a:lnTo>
                    <a:pt x="51766" y="176721"/>
                  </a:lnTo>
                  <a:lnTo>
                    <a:pt x="57087" y="176791"/>
                  </a:lnTo>
                  <a:lnTo>
                    <a:pt x="62478" y="176860"/>
                  </a:lnTo>
                  <a:lnTo>
                    <a:pt x="67869" y="176894"/>
                  </a:lnTo>
                  <a:lnTo>
                    <a:pt x="78616" y="176894"/>
                  </a:lnTo>
                  <a:lnTo>
                    <a:pt x="83834" y="176860"/>
                  </a:lnTo>
                  <a:lnTo>
                    <a:pt x="88983" y="176791"/>
                  </a:lnTo>
                  <a:lnTo>
                    <a:pt x="93924" y="176687"/>
                  </a:lnTo>
                  <a:lnTo>
                    <a:pt x="98659" y="176549"/>
                  </a:lnTo>
                  <a:lnTo>
                    <a:pt x="103151" y="176410"/>
                  </a:lnTo>
                  <a:lnTo>
                    <a:pt x="107367" y="176238"/>
                  </a:lnTo>
                  <a:lnTo>
                    <a:pt x="111272" y="175996"/>
                  </a:lnTo>
                  <a:lnTo>
                    <a:pt x="114831" y="175754"/>
                  </a:lnTo>
                  <a:lnTo>
                    <a:pt x="117941" y="175477"/>
                  </a:lnTo>
                  <a:lnTo>
                    <a:pt x="119358" y="175305"/>
                  </a:lnTo>
                  <a:lnTo>
                    <a:pt x="120637" y="175166"/>
                  </a:lnTo>
                  <a:lnTo>
                    <a:pt x="121811" y="174994"/>
                  </a:lnTo>
                  <a:lnTo>
                    <a:pt x="122883" y="174786"/>
                  </a:lnTo>
                  <a:lnTo>
                    <a:pt x="123816" y="174613"/>
                  </a:lnTo>
                  <a:lnTo>
                    <a:pt x="124576" y="174406"/>
                  </a:lnTo>
                  <a:lnTo>
                    <a:pt x="125232" y="174199"/>
                  </a:lnTo>
                  <a:lnTo>
                    <a:pt x="125751" y="173957"/>
                  </a:lnTo>
                  <a:lnTo>
                    <a:pt x="125958" y="173853"/>
                  </a:lnTo>
                  <a:lnTo>
                    <a:pt x="126096" y="173750"/>
                  </a:lnTo>
                  <a:lnTo>
                    <a:pt x="126235" y="173611"/>
                  </a:lnTo>
                  <a:lnTo>
                    <a:pt x="126304" y="173508"/>
                  </a:lnTo>
                  <a:lnTo>
                    <a:pt x="126442" y="173231"/>
                  </a:lnTo>
                  <a:lnTo>
                    <a:pt x="126546" y="172920"/>
                  </a:lnTo>
                  <a:lnTo>
                    <a:pt x="126788" y="172160"/>
                  </a:lnTo>
                  <a:lnTo>
                    <a:pt x="126995" y="171158"/>
                  </a:lnTo>
                  <a:lnTo>
                    <a:pt x="127202" y="169983"/>
                  </a:lnTo>
                  <a:lnTo>
                    <a:pt x="127410" y="168601"/>
                  </a:lnTo>
                  <a:lnTo>
                    <a:pt x="127582" y="167080"/>
                  </a:lnTo>
                  <a:lnTo>
                    <a:pt x="127755" y="165352"/>
                  </a:lnTo>
                  <a:lnTo>
                    <a:pt x="127928" y="163452"/>
                  </a:lnTo>
                  <a:lnTo>
                    <a:pt x="128066" y="161378"/>
                  </a:lnTo>
                  <a:lnTo>
                    <a:pt x="128204" y="159167"/>
                  </a:lnTo>
                  <a:lnTo>
                    <a:pt x="128446" y="154329"/>
                  </a:lnTo>
                  <a:lnTo>
                    <a:pt x="128654" y="148938"/>
                  </a:lnTo>
                  <a:lnTo>
                    <a:pt x="128826" y="143063"/>
                  </a:lnTo>
                  <a:lnTo>
                    <a:pt x="128930" y="136740"/>
                  </a:lnTo>
                  <a:lnTo>
                    <a:pt x="128999" y="130105"/>
                  </a:lnTo>
                  <a:lnTo>
                    <a:pt x="128999" y="123124"/>
                  </a:lnTo>
                  <a:lnTo>
                    <a:pt x="128999" y="115868"/>
                  </a:lnTo>
                  <a:lnTo>
                    <a:pt x="128930" y="108438"/>
                  </a:lnTo>
                  <a:lnTo>
                    <a:pt x="128826" y="100870"/>
                  </a:lnTo>
                  <a:lnTo>
                    <a:pt x="128688" y="93199"/>
                  </a:lnTo>
                  <a:lnTo>
                    <a:pt x="128515" y="85493"/>
                  </a:lnTo>
                  <a:lnTo>
                    <a:pt x="128273" y="77786"/>
                  </a:lnTo>
                  <a:lnTo>
                    <a:pt x="128032" y="70184"/>
                  </a:lnTo>
                  <a:lnTo>
                    <a:pt x="127721" y="62720"/>
                  </a:lnTo>
                  <a:lnTo>
                    <a:pt x="127375" y="55428"/>
                  </a:lnTo>
                  <a:lnTo>
                    <a:pt x="126995" y="48379"/>
                  </a:lnTo>
                  <a:lnTo>
                    <a:pt x="126580" y="41640"/>
                  </a:lnTo>
                  <a:lnTo>
                    <a:pt x="126131" y="35213"/>
                  </a:lnTo>
                  <a:lnTo>
                    <a:pt x="125613" y="29235"/>
                  </a:lnTo>
                  <a:lnTo>
                    <a:pt x="125371" y="26436"/>
                  </a:lnTo>
                  <a:lnTo>
                    <a:pt x="125094" y="23706"/>
                  </a:lnTo>
                  <a:lnTo>
                    <a:pt x="124818" y="21149"/>
                  </a:lnTo>
                  <a:lnTo>
                    <a:pt x="124507" y="18730"/>
                  </a:lnTo>
                  <a:lnTo>
                    <a:pt x="124196" y="16414"/>
                  </a:lnTo>
                  <a:lnTo>
                    <a:pt x="123885" y="14306"/>
                  </a:lnTo>
                  <a:lnTo>
                    <a:pt x="123574" y="12302"/>
                  </a:lnTo>
                  <a:lnTo>
                    <a:pt x="123263" y="10505"/>
                  </a:lnTo>
                  <a:lnTo>
                    <a:pt x="122917" y="8846"/>
                  </a:lnTo>
                  <a:lnTo>
                    <a:pt x="122572" y="7395"/>
                  </a:lnTo>
                  <a:lnTo>
                    <a:pt x="122226" y="6116"/>
                  </a:lnTo>
                  <a:lnTo>
                    <a:pt x="121846" y="5045"/>
                  </a:lnTo>
                  <a:lnTo>
                    <a:pt x="121673" y="4561"/>
                  </a:lnTo>
                  <a:lnTo>
                    <a:pt x="121500" y="4147"/>
                  </a:lnTo>
                  <a:lnTo>
                    <a:pt x="121293" y="3767"/>
                  </a:lnTo>
                  <a:lnTo>
                    <a:pt x="121120" y="3456"/>
                  </a:lnTo>
                  <a:lnTo>
                    <a:pt x="120913" y="3214"/>
                  </a:lnTo>
                  <a:lnTo>
                    <a:pt x="120706" y="3006"/>
                  </a:lnTo>
                  <a:lnTo>
                    <a:pt x="120533" y="2834"/>
                  </a:lnTo>
                  <a:lnTo>
                    <a:pt x="120325" y="2765"/>
                  </a:lnTo>
                  <a:lnTo>
                    <a:pt x="119842" y="2626"/>
                  </a:lnTo>
                  <a:lnTo>
                    <a:pt x="119220" y="2488"/>
                  </a:lnTo>
                  <a:lnTo>
                    <a:pt x="118425" y="2350"/>
                  </a:lnTo>
                  <a:lnTo>
                    <a:pt x="117526" y="2212"/>
                  </a:lnTo>
                  <a:lnTo>
                    <a:pt x="115315" y="1935"/>
                  </a:lnTo>
                  <a:lnTo>
                    <a:pt x="112585" y="1659"/>
                  </a:lnTo>
                  <a:lnTo>
                    <a:pt x="109406" y="1417"/>
                  </a:lnTo>
                  <a:lnTo>
                    <a:pt x="105812" y="1175"/>
                  </a:lnTo>
                  <a:lnTo>
                    <a:pt x="101872" y="933"/>
                  </a:lnTo>
                  <a:lnTo>
                    <a:pt x="97553" y="726"/>
                  </a:lnTo>
                  <a:lnTo>
                    <a:pt x="92957" y="518"/>
                  </a:lnTo>
                  <a:lnTo>
                    <a:pt x="88119" y="346"/>
                  </a:lnTo>
                  <a:lnTo>
                    <a:pt x="83074" y="207"/>
                  </a:lnTo>
                  <a:lnTo>
                    <a:pt x="77856" y="104"/>
                  </a:lnTo>
                  <a:lnTo>
                    <a:pt x="72499" y="35"/>
                  </a:lnTo>
                  <a:lnTo>
                    <a:pt x="67040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3" name="Google Shape;2322;p11">
              <a:extLst>
                <a:ext uri="{FF2B5EF4-FFF2-40B4-BE49-F238E27FC236}">
                  <a16:creationId xmlns:a16="http://schemas.microsoft.com/office/drawing/2014/main" id="{EF0CFB4C-AFB8-8402-B836-022B06ED7133}"/>
                </a:ext>
              </a:extLst>
            </p:cNvPr>
            <p:cNvSpPr/>
            <p:nvPr/>
          </p:nvSpPr>
          <p:spPr>
            <a:xfrm>
              <a:off x="1544825" y="238125"/>
              <a:ext cx="3225000" cy="4422375"/>
            </a:xfrm>
            <a:custGeom>
              <a:avLst/>
              <a:gdLst/>
              <a:ahLst/>
              <a:cxnLst/>
              <a:rect l="l" t="t" r="r" b="b"/>
              <a:pathLst>
                <a:path w="129000" h="176895" fill="none" extrusionOk="0">
                  <a:moveTo>
                    <a:pt x="35" y="9814"/>
                  </a:moveTo>
                  <a:lnTo>
                    <a:pt x="35" y="9814"/>
                  </a:lnTo>
                  <a:lnTo>
                    <a:pt x="553" y="12924"/>
                  </a:lnTo>
                  <a:lnTo>
                    <a:pt x="1037" y="16103"/>
                  </a:lnTo>
                  <a:lnTo>
                    <a:pt x="1452" y="19282"/>
                  </a:lnTo>
                  <a:lnTo>
                    <a:pt x="1866" y="22496"/>
                  </a:lnTo>
                  <a:lnTo>
                    <a:pt x="2212" y="25745"/>
                  </a:lnTo>
                  <a:lnTo>
                    <a:pt x="2523" y="29027"/>
                  </a:lnTo>
                  <a:lnTo>
                    <a:pt x="2799" y="32310"/>
                  </a:lnTo>
                  <a:lnTo>
                    <a:pt x="3041" y="35628"/>
                  </a:lnTo>
                  <a:lnTo>
                    <a:pt x="3248" y="38945"/>
                  </a:lnTo>
                  <a:lnTo>
                    <a:pt x="3421" y="42297"/>
                  </a:lnTo>
                  <a:lnTo>
                    <a:pt x="3594" y="45684"/>
                  </a:lnTo>
                  <a:lnTo>
                    <a:pt x="3698" y="49036"/>
                  </a:lnTo>
                  <a:lnTo>
                    <a:pt x="3801" y="52422"/>
                  </a:lnTo>
                  <a:lnTo>
                    <a:pt x="3870" y="55809"/>
                  </a:lnTo>
                  <a:lnTo>
                    <a:pt x="3905" y="59195"/>
                  </a:lnTo>
                  <a:lnTo>
                    <a:pt x="3940" y="62582"/>
                  </a:lnTo>
                  <a:lnTo>
                    <a:pt x="3940" y="65968"/>
                  </a:lnTo>
                  <a:lnTo>
                    <a:pt x="3905" y="69355"/>
                  </a:lnTo>
                  <a:lnTo>
                    <a:pt x="3801" y="76093"/>
                  </a:lnTo>
                  <a:lnTo>
                    <a:pt x="3663" y="82797"/>
                  </a:lnTo>
                  <a:lnTo>
                    <a:pt x="3421" y="89397"/>
                  </a:lnTo>
                  <a:lnTo>
                    <a:pt x="3179" y="95929"/>
                  </a:lnTo>
                  <a:lnTo>
                    <a:pt x="2903" y="102321"/>
                  </a:lnTo>
                  <a:lnTo>
                    <a:pt x="2281" y="114693"/>
                  </a:lnTo>
                  <a:lnTo>
                    <a:pt x="1693" y="126373"/>
                  </a:lnTo>
                  <a:lnTo>
                    <a:pt x="1452" y="131902"/>
                  </a:lnTo>
                  <a:lnTo>
                    <a:pt x="1210" y="137154"/>
                  </a:lnTo>
                  <a:lnTo>
                    <a:pt x="1071" y="142165"/>
                  </a:lnTo>
                  <a:lnTo>
                    <a:pt x="968" y="146899"/>
                  </a:lnTo>
                  <a:lnTo>
                    <a:pt x="933" y="151322"/>
                  </a:lnTo>
                  <a:lnTo>
                    <a:pt x="933" y="153430"/>
                  </a:lnTo>
                  <a:lnTo>
                    <a:pt x="968" y="155435"/>
                  </a:lnTo>
                  <a:lnTo>
                    <a:pt x="1037" y="157370"/>
                  </a:lnTo>
                  <a:lnTo>
                    <a:pt x="1141" y="159201"/>
                  </a:lnTo>
                  <a:lnTo>
                    <a:pt x="1244" y="160929"/>
                  </a:lnTo>
                  <a:lnTo>
                    <a:pt x="1417" y="162588"/>
                  </a:lnTo>
                  <a:lnTo>
                    <a:pt x="1590" y="164143"/>
                  </a:lnTo>
                  <a:lnTo>
                    <a:pt x="1797" y="165594"/>
                  </a:lnTo>
                  <a:lnTo>
                    <a:pt x="2039" y="166942"/>
                  </a:lnTo>
                  <a:lnTo>
                    <a:pt x="2315" y="168186"/>
                  </a:lnTo>
                  <a:lnTo>
                    <a:pt x="2626" y="169326"/>
                  </a:lnTo>
                  <a:lnTo>
                    <a:pt x="2972" y="170363"/>
                  </a:lnTo>
                  <a:lnTo>
                    <a:pt x="3352" y="171296"/>
                  </a:lnTo>
                  <a:lnTo>
                    <a:pt x="3559" y="171711"/>
                  </a:lnTo>
                  <a:lnTo>
                    <a:pt x="3767" y="172091"/>
                  </a:lnTo>
                  <a:lnTo>
                    <a:pt x="4009" y="172436"/>
                  </a:lnTo>
                  <a:lnTo>
                    <a:pt x="4251" y="172782"/>
                  </a:lnTo>
                  <a:lnTo>
                    <a:pt x="4493" y="173058"/>
                  </a:lnTo>
                  <a:lnTo>
                    <a:pt x="4769" y="173335"/>
                  </a:lnTo>
                  <a:lnTo>
                    <a:pt x="5045" y="173577"/>
                  </a:lnTo>
                  <a:lnTo>
                    <a:pt x="5322" y="173784"/>
                  </a:lnTo>
                  <a:lnTo>
                    <a:pt x="5633" y="173957"/>
                  </a:lnTo>
                  <a:lnTo>
                    <a:pt x="5944" y="174095"/>
                  </a:lnTo>
                  <a:lnTo>
                    <a:pt x="5944" y="174095"/>
                  </a:lnTo>
                  <a:lnTo>
                    <a:pt x="6359" y="174233"/>
                  </a:lnTo>
                  <a:lnTo>
                    <a:pt x="6911" y="174372"/>
                  </a:lnTo>
                  <a:lnTo>
                    <a:pt x="7637" y="174510"/>
                  </a:lnTo>
                  <a:lnTo>
                    <a:pt x="8466" y="174648"/>
                  </a:lnTo>
                  <a:lnTo>
                    <a:pt x="10574" y="174890"/>
                  </a:lnTo>
                  <a:lnTo>
                    <a:pt x="13132" y="175132"/>
                  </a:lnTo>
                  <a:lnTo>
                    <a:pt x="16138" y="175374"/>
                  </a:lnTo>
                  <a:lnTo>
                    <a:pt x="19559" y="175616"/>
                  </a:lnTo>
                  <a:lnTo>
                    <a:pt x="23360" y="175823"/>
                  </a:lnTo>
                  <a:lnTo>
                    <a:pt x="27507" y="175996"/>
                  </a:lnTo>
                  <a:lnTo>
                    <a:pt x="31930" y="176169"/>
                  </a:lnTo>
                  <a:lnTo>
                    <a:pt x="36595" y="176341"/>
                  </a:lnTo>
                  <a:lnTo>
                    <a:pt x="41502" y="176480"/>
                  </a:lnTo>
                  <a:lnTo>
                    <a:pt x="46548" y="176618"/>
                  </a:lnTo>
                  <a:lnTo>
                    <a:pt x="51766" y="176721"/>
                  </a:lnTo>
                  <a:lnTo>
                    <a:pt x="57087" y="176791"/>
                  </a:lnTo>
                  <a:lnTo>
                    <a:pt x="62478" y="176860"/>
                  </a:lnTo>
                  <a:lnTo>
                    <a:pt x="67869" y="176894"/>
                  </a:lnTo>
                  <a:lnTo>
                    <a:pt x="73260" y="176894"/>
                  </a:lnTo>
                  <a:lnTo>
                    <a:pt x="78616" y="176894"/>
                  </a:lnTo>
                  <a:lnTo>
                    <a:pt x="83834" y="176860"/>
                  </a:lnTo>
                  <a:lnTo>
                    <a:pt x="88983" y="176791"/>
                  </a:lnTo>
                  <a:lnTo>
                    <a:pt x="93924" y="176687"/>
                  </a:lnTo>
                  <a:lnTo>
                    <a:pt x="98659" y="176549"/>
                  </a:lnTo>
                  <a:lnTo>
                    <a:pt x="103151" y="176410"/>
                  </a:lnTo>
                  <a:lnTo>
                    <a:pt x="107367" y="176238"/>
                  </a:lnTo>
                  <a:lnTo>
                    <a:pt x="111272" y="175996"/>
                  </a:lnTo>
                  <a:lnTo>
                    <a:pt x="114831" y="175754"/>
                  </a:lnTo>
                  <a:lnTo>
                    <a:pt x="117941" y="175477"/>
                  </a:lnTo>
                  <a:lnTo>
                    <a:pt x="119358" y="175305"/>
                  </a:lnTo>
                  <a:lnTo>
                    <a:pt x="120637" y="175166"/>
                  </a:lnTo>
                  <a:lnTo>
                    <a:pt x="121811" y="174994"/>
                  </a:lnTo>
                  <a:lnTo>
                    <a:pt x="122883" y="174786"/>
                  </a:lnTo>
                  <a:lnTo>
                    <a:pt x="123816" y="174613"/>
                  </a:lnTo>
                  <a:lnTo>
                    <a:pt x="124576" y="174406"/>
                  </a:lnTo>
                  <a:lnTo>
                    <a:pt x="125232" y="174199"/>
                  </a:lnTo>
                  <a:lnTo>
                    <a:pt x="125751" y="173957"/>
                  </a:lnTo>
                  <a:lnTo>
                    <a:pt x="125958" y="173853"/>
                  </a:lnTo>
                  <a:lnTo>
                    <a:pt x="126096" y="173750"/>
                  </a:lnTo>
                  <a:lnTo>
                    <a:pt x="126235" y="173611"/>
                  </a:lnTo>
                  <a:lnTo>
                    <a:pt x="126304" y="173508"/>
                  </a:lnTo>
                  <a:lnTo>
                    <a:pt x="126304" y="173508"/>
                  </a:lnTo>
                  <a:lnTo>
                    <a:pt x="126442" y="173231"/>
                  </a:lnTo>
                  <a:lnTo>
                    <a:pt x="126546" y="172920"/>
                  </a:lnTo>
                  <a:lnTo>
                    <a:pt x="126788" y="172160"/>
                  </a:lnTo>
                  <a:lnTo>
                    <a:pt x="126995" y="171158"/>
                  </a:lnTo>
                  <a:lnTo>
                    <a:pt x="127202" y="169983"/>
                  </a:lnTo>
                  <a:lnTo>
                    <a:pt x="127410" y="168601"/>
                  </a:lnTo>
                  <a:lnTo>
                    <a:pt x="127582" y="167080"/>
                  </a:lnTo>
                  <a:lnTo>
                    <a:pt x="127755" y="165352"/>
                  </a:lnTo>
                  <a:lnTo>
                    <a:pt x="127928" y="163452"/>
                  </a:lnTo>
                  <a:lnTo>
                    <a:pt x="128066" y="161378"/>
                  </a:lnTo>
                  <a:lnTo>
                    <a:pt x="128204" y="159167"/>
                  </a:lnTo>
                  <a:lnTo>
                    <a:pt x="128446" y="154329"/>
                  </a:lnTo>
                  <a:lnTo>
                    <a:pt x="128654" y="148938"/>
                  </a:lnTo>
                  <a:lnTo>
                    <a:pt x="128826" y="143063"/>
                  </a:lnTo>
                  <a:lnTo>
                    <a:pt x="128930" y="136740"/>
                  </a:lnTo>
                  <a:lnTo>
                    <a:pt x="128999" y="130105"/>
                  </a:lnTo>
                  <a:lnTo>
                    <a:pt x="128999" y="123124"/>
                  </a:lnTo>
                  <a:lnTo>
                    <a:pt x="128999" y="115868"/>
                  </a:lnTo>
                  <a:lnTo>
                    <a:pt x="128930" y="108438"/>
                  </a:lnTo>
                  <a:lnTo>
                    <a:pt x="128826" y="100870"/>
                  </a:lnTo>
                  <a:lnTo>
                    <a:pt x="128688" y="93199"/>
                  </a:lnTo>
                  <a:lnTo>
                    <a:pt x="128515" y="85493"/>
                  </a:lnTo>
                  <a:lnTo>
                    <a:pt x="128273" y="77786"/>
                  </a:lnTo>
                  <a:lnTo>
                    <a:pt x="128032" y="70184"/>
                  </a:lnTo>
                  <a:lnTo>
                    <a:pt x="127721" y="62720"/>
                  </a:lnTo>
                  <a:lnTo>
                    <a:pt x="127375" y="55428"/>
                  </a:lnTo>
                  <a:lnTo>
                    <a:pt x="126995" y="48379"/>
                  </a:lnTo>
                  <a:lnTo>
                    <a:pt x="126580" y="41640"/>
                  </a:lnTo>
                  <a:lnTo>
                    <a:pt x="126131" y="35213"/>
                  </a:lnTo>
                  <a:lnTo>
                    <a:pt x="125613" y="29235"/>
                  </a:lnTo>
                  <a:lnTo>
                    <a:pt x="125371" y="26436"/>
                  </a:lnTo>
                  <a:lnTo>
                    <a:pt x="125094" y="23706"/>
                  </a:lnTo>
                  <a:lnTo>
                    <a:pt x="124818" y="21149"/>
                  </a:lnTo>
                  <a:lnTo>
                    <a:pt x="124507" y="18730"/>
                  </a:lnTo>
                  <a:lnTo>
                    <a:pt x="124196" y="16414"/>
                  </a:lnTo>
                  <a:lnTo>
                    <a:pt x="123885" y="14306"/>
                  </a:lnTo>
                  <a:lnTo>
                    <a:pt x="123574" y="12302"/>
                  </a:lnTo>
                  <a:lnTo>
                    <a:pt x="123263" y="10505"/>
                  </a:lnTo>
                  <a:lnTo>
                    <a:pt x="122917" y="8846"/>
                  </a:lnTo>
                  <a:lnTo>
                    <a:pt x="122572" y="7395"/>
                  </a:lnTo>
                  <a:lnTo>
                    <a:pt x="122226" y="6116"/>
                  </a:lnTo>
                  <a:lnTo>
                    <a:pt x="121846" y="5045"/>
                  </a:lnTo>
                  <a:lnTo>
                    <a:pt x="121673" y="4561"/>
                  </a:lnTo>
                  <a:lnTo>
                    <a:pt x="121500" y="4147"/>
                  </a:lnTo>
                  <a:lnTo>
                    <a:pt x="121293" y="3767"/>
                  </a:lnTo>
                  <a:lnTo>
                    <a:pt x="121120" y="3456"/>
                  </a:lnTo>
                  <a:lnTo>
                    <a:pt x="120913" y="3214"/>
                  </a:lnTo>
                  <a:lnTo>
                    <a:pt x="120706" y="3006"/>
                  </a:lnTo>
                  <a:lnTo>
                    <a:pt x="120533" y="2834"/>
                  </a:lnTo>
                  <a:lnTo>
                    <a:pt x="120325" y="2765"/>
                  </a:lnTo>
                  <a:lnTo>
                    <a:pt x="120325" y="2765"/>
                  </a:lnTo>
                  <a:lnTo>
                    <a:pt x="119842" y="2626"/>
                  </a:lnTo>
                  <a:lnTo>
                    <a:pt x="119220" y="2488"/>
                  </a:lnTo>
                  <a:lnTo>
                    <a:pt x="118425" y="2350"/>
                  </a:lnTo>
                  <a:lnTo>
                    <a:pt x="117526" y="2212"/>
                  </a:lnTo>
                  <a:lnTo>
                    <a:pt x="115315" y="1935"/>
                  </a:lnTo>
                  <a:lnTo>
                    <a:pt x="112585" y="1659"/>
                  </a:lnTo>
                  <a:lnTo>
                    <a:pt x="109406" y="1417"/>
                  </a:lnTo>
                  <a:lnTo>
                    <a:pt x="105812" y="1175"/>
                  </a:lnTo>
                  <a:lnTo>
                    <a:pt x="101872" y="933"/>
                  </a:lnTo>
                  <a:lnTo>
                    <a:pt x="97553" y="726"/>
                  </a:lnTo>
                  <a:lnTo>
                    <a:pt x="92957" y="518"/>
                  </a:lnTo>
                  <a:lnTo>
                    <a:pt x="88119" y="346"/>
                  </a:lnTo>
                  <a:lnTo>
                    <a:pt x="83074" y="207"/>
                  </a:lnTo>
                  <a:lnTo>
                    <a:pt x="77856" y="104"/>
                  </a:lnTo>
                  <a:lnTo>
                    <a:pt x="72499" y="35"/>
                  </a:lnTo>
                  <a:lnTo>
                    <a:pt x="67040" y="0"/>
                  </a:lnTo>
                  <a:lnTo>
                    <a:pt x="61545" y="0"/>
                  </a:lnTo>
                  <a:lnTo>
                    <a:pt x="56051" y="69"/>
                  </a:lnTo>
                  <a:lnTo>
                    <a:pt x="50591" y="173"/>
                  </a:lnTo>
                  <a:lnTo>
                    <a:pt x="45200" y="311"/>
                  </a:lnTo>
                  <a:lnTo>
                    <a:pt x="39913" y="518"/>
                  </a:lnTo>
                  <a:lnTo>
                    <a:pt x="34764" y="795"/>
                  </a:lnTo>
                  <a:lnTo>
                    <a:pt x="29822" y="1106"/>
                  </a:lnTo>
                  <a:lnTo>
                    <a:pt x="27438" y="1313"/>
                  </a:lnTo>
                  <a:lnTo>
                    <a:pt x="25123" y="1520"/>
                  </a:lnTo>
                  <a:lnTo>
                    <a:pt x="22877" y="1728"/>
                  </a:lnTo>
                  <a:lnTo>
                    <a:pt x="20699" y="1970"/>
                  </a:lnTo>
                  <a:lnTo>
                    <a:pt x="18626" y="2246"/>
                  </a:lnTo>
                  <a:lnTo>
                    <a:pt x="16622" y="2523"/>
                  </a:lnTo>
                  <a:lnTo>
                    <a:pt x="14687" y="2799"/>
                  </a:lnTo>
                  <a:lnTo>
                    <a:pt x="12855" y="3145"/>
                  </a:lnTo>
                  <a:lnTo>
                    <a:pt x="11127" y="3456"/>
                  </a:lnTo>
                  <a:lnTo>
                    <a:pt x="9503" y="3836"/>
                  </a:lnTo>
                  <a:lnTo>
                    <a:pt x="7983" y="4181"/>
                  </a:lnTo>
                  <a:lnTo>
                    <a:pt x="6600" y="4596"/>
                  </a:lnTo>
                  <a:lnTo>
                    <a:pt x="5322" y="5011"/>
                  </a:lnTo>
                  <a:lnTo>
                    <a:pt x="4147" y="5460"/>
                  </a:lnTo>
                  <a:lnTo>
                    <a:pt x="3145" y="5909"/>
                  </a:lnTo>
                  <a:lnTo>
                    <a:pt x="2661" y="6151"/>
                  </a:lnTo>
                  <a:lnTo>
                    <a:pt x="2246" y="6393"/>
                  </a:lnTo>
                  <a:lnTo>
                    <a:pt x="1866" y="6669"/>
                  </a:lnTo>
                  <a:lnTo>
                    <a:pt x="1486" y="6911"/>
                  </a:lnTo>
                  <a:lnTo>
                    <a:pt x="1175" y="7188"/>
                  </a:lnTo>
                  <a:lnTo>
                    <a:pt x="899" y="7464"/>
                  </a:lnTo>
                  <a:lnTo>
                    <a:pt x="657" y="7706"/>
                  </a:lnTo>
                  <a:lnTo>
                    <a:pt x="449" y="8017"/>
                  </a:lnTo>
                  <a:lnTo>
                    <a:pt x="277" y="8294"/>
                  </a:lnTo>
                  <a:lnTo>
                    <a:pt x="138" y="8570"/>
                  </a:lnTo>
                  <a:lnTo>
                    <a:pt x="35" y="8881"/>
                  </a:lnTo>
                  <a:lnTo>
                    <a:pt x="0" y="9192"/>
                  </a:lnTo>
                  <a:lnTo>
                    <a:pt x="0" y="9503"/>
                  </a:lnTo>
                  <a:lnTo>
                    <a:pt x="35" y="98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4" name="Google Shape;2323;p11">
              <a:extLst>
                <a:ext uri="{FF2B5EF4-FFF2-40B4-BE49-F238E27FC236}">
                  <a16:creationId xmlns:a16="http://schemas.microsoft.com/office/drawing/2014/main" id="{2AF5156A-2D31-29DF-0BFD-71AA46C197A2}"/>
                </a:ext>
              </a:extLst>
            </p:cNvPr>
            <p:cNvSpPr/>
            <p:nvPr/>
          </p:nvSpPr>
          <p:spPr>
            <a:xfrm>
              <a:off x="3648425" y="917150"/>
              <a:ext cx="567625" cy="568475"/>
            </a:xfrm>
            <a:custGeom>
              <a:avLst/>
              <a:gdLst/>
              <a:ahLst/>
              <a:cxnLst/>
              <a:rect l="l" t="t" r="r" b="b"/>
              <a:pathLst>
                <a:path w="22705" h="22739" extrusionOk="0">
                  <a:moveTo>
                    <a:pt x="10748" y="0"/>
                  </a:moveTo>
                  <a:lnTo>
                    <a:pt x="10195" y="35"/>
                  </a:lnTo>
                  <a:lnTo>
                    <a:pt x="9608" y="104"/>
                  </a:lnTo>
                  <a:lnTo>
                    <a:pt x="9055" y="208"/>
                  </a:lnTo>
                  <a:lnTo>
                    <a:pt x="8502" y="346"/>
                  </a:lnTo>
                  <a:lnTo>
                    <a:pt x="7983" y="484"/>
                  </a:lnTo>
                  <a:lnTo>
                    <a:pt x="7431" y="691"/>
                  </a:lnTo>
                  <a:lnTo>
                    <a:pt x="6912" y="899"/>
                  </a:lnTo>
                  <a:lnTo>
                    <a:pt x="6428" y="1106"/>
                  </a:lnTo>
                  <a:lnTo>
                    <a:pt x="5945" y="1348"/>
                  </a:lnTo>
                  <a:lnTo>
                    <a:pt x="5461" y="1624"/>
                  </a:lnTo>
                  <a:lnTo>
                    <a:pt x="5012" y="1935"/>
                  </a:lnTo>
                  <a:lnTo>
                    <a:pt x="4562" y="2246"/>
                  </a:lnTo>
                  <a:lnTo>
                    <a:pt x="4113" y="2592"/>
                  </a:lnTo>
                  <a:lnTo>
                    <a:pt x="3698" y="2938"/>
                  </a:lnTo>
                  <a:lnTo>
                    <a:pt x="3318" y="3318"/>
                  </a:lnTo>
                  <a:lnTo>
                    <a:pt x="2938" y="3732"/>
                  </a:lnTo>
                  <a:lnTo>
                    <a:pt x="2593" y="4147"/>
                  </a:lnTo>
                  <a:lnTo>
                    <a:pt x="2247" y="4562"/>
                  </a:lnTo>
                  <a:lnTo>
                    <a:pt x="1936" y="5011"/>
                  </a:lnTo>
                  <a:lnTo>
                    <a:pt x="1625" y="5460"/>
                  </a:lnTo>
                  <a:lnTo>
                    <a:pt x="1349" y="5944"/>
                  </a:lnTo>
                  <a:lnTo>
                    <a:pt x="1107" y="6428"/>
                  </a:lnTo>
                  <a:lnTo>
                    <a:pt x="899" y="6946"/>
                  </a:lnTo>
                  <a:lnTo>
                    <a:pt x="692" y="7465"/>
                  </a:lnTo>
                  <a:lnTo>
                    <a:pt x="519" y="7983"/>
                  </a:lnTo>
                  <a:lnTo>
                    <a:pt x="347" y="8536"/>
                  </a:lnTo>
                  <a:lnTo>
                    <a:pt x="208" y="9089"/>
                  </a:lnTo>
                  <a:lnTo>
                    <a:pt x="139" y="9642"/>
                  </a:lnTo>
                  <a:lnTo>
                    <a:pt x="36" y="10194"/>
                  </a:lnTo>
                  <a:lnTo>
                    <a:pt x="1" y="10782"/>
                  </a:lnTo>
                  <a:lnTo>
                    <a:pt x="1" y="11369"/>
                  </a:lnTo>
                  <a:lnTo>
                    <a:pt x="1" y="11957"/>
                  </a:lnTo>
                  <a:lnTo>
                    <a:pt x="36" y="12544"/>
                  </a:lnTo>
                  <a:lnTo>
                    <a:pt x="139" y="13097"/>
                  </a:lnTo>
                  <a:lnTo>
                    <a:pt x="208" y="13650"/>
                  </a:lnTo>
                  <a:lnTo>
                    <a:pt x="347" y="14203"/>
                  </a:lnTo>
                  <a:lnTo>
                    <a:pt x="519" y="14756"/>
                  </a:lnTo>
                  <a:lnTo>
                    <a:pt x="692" y="15274"/>
                  </a:lnTo>
                  <a:lnTo>
                    <a:pt x="899" y="15793"/>
                  </a:lnTo>
                  <a:lnTo>
                    <a:pt x="1107" y="16311"/>
                  </a:lnTo>
                  <a:lnTo>
                    <a:pt x="1349" y="16795"/>
                  </a:lnTo>
                  <a:lnTo>
                    <a:pt x="1625" y="17279"/>
                  </a:lnTo>
                  <a:lnTo>
                    <a:pt x="1936" y="17728"/>
                  </a:lnTo>
                  <a:lnTo>
                    <a:pt x="2247" y="18177"/>
                  </a:lnTo>
                  <a:lnTo>
                    <a:pt x="2593" y="18626"/>
                  </a:lnTo>
                  <a:lnTo>
                    <a:pt x="2938" y="19041"/>
                  </a:lnTo>
                  <a:lnTo>
                    <a:pt x="3318" y="19421"/>
                  </a:lnTo>
                  <a:lnTo>
                    <a:pt x="3698" y="19801"/>
                  </a:lnTo>
                  <a:lnTo>
                    <a:pt x="4113" y="20147"/>
                  </a:lnTo>
                  <a:lnTo>
                    <a:pt x="4562" y="20492"/>
                  </a:lnTo>
                  <a:lnTo>
                    <a:pt x="5012" y="20803"/>
                  </a:lnTo>
                  <a:lnTo>
                    <a:pt x="5461" y="21114"/>
                  </a:lnTo>
                  <a:lnTo>
                    <a:pt x="5945" y="21391"/>
                  </a:lnTo>
                  <a:lnTo>
                    <a:pt x="6428" y="21633"/>
                  </a:lnTo>
                  <a:lnTo>
                    <a:pt x="6912" y="21875"/>
                  </a:lnTo>
                  <a:lnTo>
                    <a:pt x="7431" y="22047"/>
                  </a:lnTo>
                  <a:lnTo>
                    <a:pt x="7983" y="22255"/>
                  </a:lnTo>
                  <a:lnTo>
                    <a:pt x="8502" y="22393"/>
                  </a:lnTo>
                  <a:lnTo>
                    <a:pt x="9055" y="22531"/>
                  </a:lnTo>
                  <a:lnTo>
                    <a:pt x="9608" y="22635"/>
                  </a:lnTo>
                  <a:lnTo>
                    <a:pt x="10195" y="22704"/>
                  </a:lnTo>
                  <a:lnTo>
                    <a:pt x="10748" y="22738"/>
                  </a:lnTo>
                  <a:lnTo>
                    <a:pt x="11819" y="22738"/>
                  </a:lnTo>
                  <a:lnTo>
                    <a:pt x="12338" y="22704"/>
                  </a:lnTo>
                  <a:lnTo>
                    <a:pt x="13271" y="22600"/>
                  </a:lnTo>
                  <a:lnTo>
                    <a:pt x="14204" y="22393"/>
                  </a:lnTo>
                  <a:lnTo>
                    <a:pt x="15102" y="22116"/>
                  </a:lnTo>
                  <a:lnTo>
                    <a:pt x="15966" y="21771"/>
                  </a:lnTo>
                  <a:lnTo>
                    <a:pt x="16795" y="21356"/>
                  </a:lnTo>
                  <a:lnTo>
                    <a:pt x="17590" y="20872"/>
                  </a:lnTo>
                  <a:lnTo>
                    <a:pt x="18350" y="20354"/>
                  </a:lnTo>
                  <a:lnTo>
                    <a:pt x="19042" y="19732"/>
                  </a:lnTo>
                  <a:lnTo>
                    <a:pt x="19664" y="19110"/>
                  </a:lnTo>
                  <a:lnTo>
                    <a:pt x="20286" y="18384"/>
                  </a:lnTo>
                  <a:lnTo>
                    <a:pt x="20804" y="17659"/>
                  </a:lnTo>
                  <a:lnTo>
                    <a:pt x="21288" y="16864"/>
                  </a:lnTo>
                  <a:lnTo>
                    <a:pt x="21702" y="16034"/>
                  </a:lnTo>
                  <a:lnTo>
                    <a:pt x="22048" y="15171"/>
                  </a:lnTo>
                  <a:lnTo>
                    <a:pt x="22324" y="14272"/>
                  </a:lnTo>
                  <a:lnTo>
                    <a:pt x="22497" y="13546"/>
                  </a:lnTo>
                  <a:lnTo>
                    <a:pt x="22601" y="12855"/>
                  </a:lnTo>
                  <a:lnTo>
                    <a:pt x="22670" y="12130"/>
                  </a:lnTo>
                  <a:lnTo>
                    <a:pt x="22705" y="11369"/>
                  </a:lnTo>
                  <a:lnTo>
                    <a:pt x="22670" y="10609"/>
                  </a:lnTo>
                  <a:lnTo>
                    <a:pt x="22601" y="9883"/>
                  </a:lnTo>
                  <a:lnTo>
                    <a:pt x="22497" y="9158"/>
                  </a:lnTo>
                  <a:lnTo>
                    <a:pt x="22324" y="8467"/>
                  </a:lnTo>
                  <a:lnTo>
                    <a:pt x="22117" y="7776"/>
                  </a:lnTo>
                  <a:lnTo>
                    <a:pt x="21875" y="7084"/>
                  </a:lnTo>
                  <a:lnTo>
                    <a:pt x="21564" y="6428"/>
                  </a:lnTo>
                  <a:lnTo>
                    <a:pt x="21253" y="5806"/>
                  </a:lnTo>
                  <a:lnTo>
                    <a:pt x="20873" y="5184"/>
                  </a:lnTo>
                  <a:lnTo>
                    <a:pt x="20458" y="4562"/>
                  </a:lnTo>
                  <a:lnTo>
                    <a:pt x="19975" y="3974"/>
                  </a:lnTo>
                  <a:lnTo>
                    <a:pt x="19491" y="3421"/>
                  </a:lnTo>
                  <a:lnTo>
                    <a:pt x="18938" y="2938"/>
                  </a:lnTo>
                  <a:lnTo>
                    <a:pt x="18385" y="2454"/>
                  </a:lnTo>
                  <a:lnTo>
                    <a:pt x="17798" y="2005"/>
                  </a:lnTo>
                  <a:lnTo>
                    <a:pt x="17175" y="1590"/>
                  </a:lnTo>
                  <a:lnTo>
                    <a:pt x="16519" y="1244"/>
                  </a:lnTo>
                  <a:lnTo>
                    <a:pt x="15828" y="899"/>
                  </a:lnTo>
                  <a:lnTo>
                    <a:pt x="15137" y="622"/>
                  </a:lnTo>
                  <a:lnTo>
                    <a:pt x="14411" y="415"/>
                  </a:lnTo>
                  <a:lnTo>
                    <a:pt x="13685" y="242"/>
                  </a:lnTo>
                  <a:lnTo>
                    <a:pt x="12925" y="104"/>
                  </a:lnTo>
                  <a:lnTo>
                    <a:pt x="12130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5" name="Google Shape;2324;p11">
              <a:extLst>
                <a:ext uri="{FF2B5EF4-FFF2-40B4-BE49-F238E27FC236}">
                  <a16:creationId xmlns:a16="http://schemas.microsoft.com/office/drawing/2014/main" id="{AD7E6F55-F8D9-55DD-941E-A90BA17696FD}"/>
                </a:ext>
              </a:extLst>
            </p:cNvPr>
            <p:cNvSpPr/>
            <p:nvPr/>
          </p:nvSpPr>
          <p:spPr>
            <a:xfrm>
              <a:off x="3699400" y="968125"/>
              <a:ext cx="465675" cy="466525"/>
            </a:xfrm>
            <a:custGeom>
              <a:avLst/>
              <a:gdLst/>
              <a:ahLst/>
              <a:cxnLst/>
              <a:rect l="l" t="t" r="r" b="b"/>
              <a:pathLst>
                <a:path w="18627" h="18661" extrusionOk="0">
                  <a:moveTo>
                    <a:pt x="8813" y="0"/>
                  </a:moveTo>
                  <a:lnTo>
                    <a:pt x="8363" y="35"/>
                  </a:lnTo>
                  <a:lnTo>
                    <a:pt x="7880" y="104"/>
                  </a:lnTo>
                  <a:lnTo>
                    <a:pt x="7430" y="173"/>
                  </a:lnTo>
                  <a:lnTo>
                    <a:pt x="6981" y="277"/>
                  </a:lnTo>
                  <a:lnTo>
                    <a:pt x="6532" y="415"/>
                  </a:lnTo>
                  <a:lnTo>
                    <a:pt x="6117" y="553"/>
                  </a:lnTo>
                  <a:lnTo>
                    <a:pt x="5668" y="726"/>
                  </a:lnTo>
                  <a:lnTo>
                    <a:pt x="5253" y="899"/>
                  </a:lnTo>
                  <a:lnTo>
                    <a:pt x="4873" y="1106"/>
                  </a:lnTo>
                  <a:lnTo>
                    <a:pt x="4459" y="1348"/>
                  </a:lnTo>
                  <a:lnTo>
                    <a:pt x="4113" y="1590"/>
                  </a:lnTo>
                  <a:lnTo>
                    <a:pt x="3733" y="1832"/>
                  </a:lnTo>
                  <a:lnTo>
                    <a:pt x="3387" y="2108"/>
                  </a:lnTo>
                  <a:lnTo>
                    <a:pt x="3042" y="2419"/>
                  </a:lnTo>
                  <a:lnTo>
                    <a:pt x="2731" y="2730"/>
                  </a:lnTo>
                  <a:lnTo>
                    <a:pt x="2420" y="3041"/>
                  </a:lnTo>
                  <a:lnTo>
                    <a:pt x="2109" y="3387"/>
                  </a:lnTo>
                  <a:lnTo>
                    <a:pt x="1832" y="3732"/>
                  </a:lnTo>
                  <a:lnTo>
                    <a:pt x="1590" y="4112"/>
                  </a:lnTo>
                  <a:lnTo>
                    <a:pt x="1348" y="4492"/>
                  </a:lnTo>
                  <a:lnTo>
                    <a:pt x="1107" y="4873"/>
                  </a:lnTo>
                  <a:lnTo>
                    <a:pt x="899" y="5287"/>
                  </a:lnTo>
                  <a:lnTo>
                    <a:pt x="726" y="5702"/>
                  </a:lnTo>
                  <a:lnTo>
                    <a:pt x="554" y="6117"/>
                  </a:lnTo>
                  <a:lnTo>
                    <a:pt x="415" y="6566"/>
                  </a:lnTo>
                  <a:lnTo>
                    <a:pt x="277" y="6981"/>
                  </a:lnTo>
                  <a:lnTo>
                    <a:pt x="174" y="7464"/>
                  </a:lnTo>
                  <a:lnTo>
                    <a:pt x="104" y="7914"/>
                  </a:lnTo>
                  <a:lnTo>
                    <a:pt x="35" y="8363"/>
                  </a:lnTo>
                  <a:lnTo>
                    <a:pt x="1" y="8847"/>
                  </a:lnTo>
                  <a:lnTo>
                    <a:pt x="1" y="9330"/>
                  </a:lnTo>
                  <a:lnTo>
                    <a:pt x="1" y="9814"/>
                  </a:lnTo>
                  <a:lnTo>
                    <a:pt x="35" y="10298"/>
                  </a:lnTo>
                  <a:lnTo>
                    <a:pt x="104" y="10747"/>
                  </a:lnTo>
                  <a:lnTo>
                    <a:pt x="174" y="11231"/>
                  </a:lnTo>
                  <a:lnTo>
                    <a:pt x="277" y="11680"/>
                  </a:lnTo>
                  <a:lnTo>
                    <a:pt x="415" y="12095"/>
                  </a:lnTo>
                  <a:lnTo>
                    <a:pt x="554" y="12544"/>
                  </a:lnTo>
                  <a:lnTo>
                    <a:pt x="726" y="12959"/>
                  </a:lnTo>
                  <a:lnTo>
                    <a:pt x="899" y="13373"/>
                  </a:lnTo>
                  <a:lnTo>
                    <a:pt x="1107" y="13788"/>
                  </a:lnTo>
                  <a:lnTo>
                    <a:pt x="1348" y="14168"/>
                  </a:lnTo>
                  <a:lnTo>
                    <a:pt x="1590" y="14548"/>
                  </a:lnTo>
                  <a:lnTo>
                    <a:pt x="1832" y="14929"/>
                  </a:lnTo>
                  <a:lnTo>
                    <a:pt x="2109" y="15274"/>
                  </a:lnTo>
                  <a:lnTo>
                    <a:pt x="2420" y="15620"/>
                  </a:lnTo>
                  <a:lnTo>
                    <a:pt x="2731" y="15931"/>
                  </a:lnTo>
                  <a:lnTo>
                    <a:pt x="3042" y="16242"/>
                  </a:lnTo>
                  <a:lnTo>
                    <a:pt x="3387" y="16553"/>
                  </a:lnTo>
                  <a:lnTo>
                    <a:pt x="3733" y="16829"/>
                  </a:lnTo>
                  <a:lnTo>
                    <a:pt x="4113" y="17071"/>
                  </a:lnTo>
                  <a:lnTo>
                    <a:pt x="4459" y="17313"/>
                  </a:lnTo>
                  <a:lnTo>
                    <a:pt x="4873" y="17555"/>
                  </a:lnTo>
                  <a:lnTo>
                    <a:pt x="5253" y="17762"/>
                  </a:lnTo>
                  <a:lnTo>
                    <a:pt x="5668" y="17935"/>
                  </a:lnTo>
                  <a:lnTo>
                    <a:pt x="6117" y="18108"/>
                  </a:lnTo>
                  <a:lnTo>
                    <a:pt x="6532" y="18246"/>
                  </a:lnTo>
                  <a:lnTo>
                    <a:pt x="6981" y="18384"/>
                  </a:lnTo>
                  <a:lnTo>
                    <a:pt x="7430" y="18488"/>
                  </a:lnTo>
                  <a:lnTo>
                    <a:pt x="7880" y="18557"/>
                  </a:lnTo>
                  <a:lnTo>
                    <a:pt x="8363" y="18626"/>
                  </a:lnTo>
                  <a:lnTo>
                    <a:pt x="8813" y="18661"/>
                  </a:lnTo>
                  <a:lnTo>
                    <a:pt x="9296" y="18661"/>
                  </a:lnTo>
                  <a:lnTo>
                    <a:pt x="10091" y="18626"/>
                  </a:lnTo>
                  <a:lnTo>
                    <a:pt x="10886" y="18522"/>
                  </a:lnTo>
                  <a:lnTo>
                    <a:pt x="11646" y="18384"/>
                  </a:lnTo>
                  <a:lnTo>
                    <a:pt x="12407" y="18142"/>
                  </a:lnTo>
                  <a:lnTo>
                    <a:pt x="13098" y="17866"/>
                  </a:lnTo>
                  <a:lnTo>
                    <a:pt x="13789" y="17520"/>
                  </a:lnTo>
                  <a:lnTo>
                    <a:pt x="14445" y="17140"/>
                  </a:lnTo>
                  <a:lnTo>
                    <a:pt x="15033" y="16691"/>
                  </a:lnTo>
                  <a:lnTo>
                    <a:pt x="15620" y="16207"/>
                  </a:lnTo>
                  <a:lnTo>
                    <a:pt x="16139" y="15689"/>
                  </a:lnTo>
                  <a:lnTo>
                    <a:pt x="16622" y="15101"/>
                  </a:lnTo>
                  <a:lnTo>
                    <a:pt x="17072" y="14479"/>
                  </a:lnTo>
                  <a:lnTo>
                    <a:pt x="17452" y="13823"/>
                  </a:lnTo>
                  <a:lnTo>
                    <a:pt x="17797" y="13166"/>
                  </a:lnTo>
                  <a:lnTo>
                    <a:pt x="18074" y="12440"/>
                  </a:lnTo>
                  <a:lnTo>
                    <a:pt x="18316" y="11715"/>
                  </a:lnTo>
                  <a:lnTo>
                    <a:pt x="18454" y="11127"/>
                  </a:lnTo>
                  <a:lnTo>
                    <a:pt x="18558" y="10540"/>
                  </a:lnTo>
                  <a:lnTo>
                    <a:pt x="18592" y="9952"/>
                  </a:lnTo>
                  <a:lnTo>
                    <a:pt x="18627" y="9330"/>
                  </a:lnTo>
                  <a:lnTo>
                    <a:pt x="18592" y="8708"/>
                  </a:lnTo>
                  <a:lnTo>
                    <a:pt x="18558" y="8121"/>
                  </a:lnTo>
                  <a:lnTo>
                    <a:pt x="18454" y="7499"/>
                  </a:lnTo>
                  <a:lnTo>
                    <a:pt x="18316" y="6946"/>
                  </a:lnTo>
                  <a:lnTo>
                    <a:pt x="18143" y="6359"/>
                  </a:lnTo>
                  <a:lnTo>
                    <a:pt x="17936" y="5806"/>
                  </a:lnTo>
                  <a:lnTo>
                    <a:pt x="17694" y="5287"/>
                  </a:lnTo>
                  <a:lnTo>
                    <a:pt x="17452" y="4769"/>
                  </a:lnTo>
                  <a:lnTo>
                    <a:pt x="17106" y="4251"/>
                  </a:lnTo>
                  <a:lnTo>
                    <a:pt x="16761" y="3732"/>
                  </a:lnTo>
                  <a:lnTo>
                    <a:pt x="16381" y="3283"/>
                  </a:lnTo>
                  <a:lnTo>
                    <a:pt x="16000" y="2834"/>
                  </a:lnTo>
                  <a:lnTo>
                    <a:pt x="15551" y="2385"/>
                  </a:lnTo>
                  <a:lnTo>
                    <a:pt x="15067" y="2004"/>
                  </a:lnTo>
                  <a:lnTo>
                    <a:pt x="14584" y="1624"/>
                  </a:lnTo>
                  <a:lnTo>
                    <a:pt x="14065" y="1313"/>
                  </a:lnTo>
                  <a:lnTo>
                    <a:pt x="13547" y="1002"/>
                  </a:lnTo>
                  <a:lnTo>
                    <a:pt x="12994" y="760"/>
                  </a:lnTo>
                  <a:lnTo>
                    <a:pt x="12407" y="519"/>
                  </a:lnTo>
                  <a:lnTo>
                    <a:pt x="11819" y="346"/>
                  </a:lnTo>
                  <a:lnTo>
                    <a:pt x="11232" y="173"/>
                  </a:lnTo>
                  <a:lnTo>
                    <a:pt x="10575" y="69"/>
                  </a:lnTo>
                  <a:lnTo>
                    <a:pt x="99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6" name="Google Shape;2325;p11">
              <a:extLst>
                <a:ext uri="{FF2B5EF4-FFF2-40B4-BE49-F238E27FC236}">
                  <a16:creationId xmlns:a16="http://schemas.microsoft.com/office/drawing/2014/main" id="{490803E5-808F-8044-65ED-1441E32EA35E}"/>
                </a:ext>
              </a:extLst>
            </p:cNvPr>
            <p:cNvSpPr/>
            <p:nvPr/>
          </p:nvSpPr>
          <p:spPr>
            <a:xfrm>
              <a:off x="3753825" y="1023400"/>
              <a:ext cx="355975" cy="355975"/>
            </a:xfrm>
            <a:custGeom>
              <a:avLst/>
              <a:gdLst/>
              <a:ahLst/>
              <a:cxnLst/>
              <a:rect l="l" t="t" r="r" b="b"/>
              <a:pathLst>
                <a:path w="14239" h="14239" extrusionOk="0">
                  <a:moveTo>
                    <a:pt x="7119" y="1"/>
                  </a:moveTo>
                  <a:lnTo>
                    <a:pt x="6394" y="35"/>
                  </a:lnTo>
                  <a:lnTo>
                    <a:pt x="5703" y="139"/>
                  </a:lnTo>
                  <a:lnTo>
                    <a:pt x="5012" y="312"/>
                  </a:lnTo>
                  <a:lnTo>
                    <a:pt x="4355" y="554"/>
                  </a:lnTo>
                  <a:lnTo>
                    <a:pt x="3733" y="865"/>
                  </a:lnTo>
                  <a:lnTo>
                    <a:pt x="3145" y="1210"/>
                  </a:lnTo>
                  <a:lnTo>
                    <a:pt x="2593" y="1625"/>
                  </a:lnTo>
                  <a:lnTo>
                    <a:pt x="2109" y="2074"/>
                  </a:lnTo>
                  <a:lnTo>
                    <a:pt x="1625" y="2592"/>
                  </a:lnTo>
                  <a:lnTo>
                    <a:pt x="1245" y="3145"/>
                  </a:lnTo>
                  <a:lnTo>
                    <a:pt x="865" y="3733"/>
                  </a:lnTo>
                  <a:lnTo>
                    <a:pt x="588" y="4355"/>
                  </a:lnTo>
                  <a:lnTo>
                    <a:pt x="346" y="5011"/>
                  </a:lnTo>
                  <a:lnTo>
                    <a:pt x="174" y="5668"/>
                  </a:lnTo>
                  <a:lnTo>
                    <a:pt x="70" y="6394"/>
                  </a:lnTo>
                  <a:lnTo>
                    <a:pt x="1" y="7119"/>
                  </a:lnTo>
                  <a:lnTo>
                    <a:pt x="70" y="7845"/>
                  </a:lnTo>
                  <a:lnTo>
                    <a:pt x="174" y="8571"/>
                  </a:lnTo>
                  <a:lnTo>
                    <a:pt x="346" y="9227"/>
                  </a:lnTo>
                  <a:lnTo>
                    <a:pt x="588" y="9884"/>
                  </a:lnTo>
                  <a:lnTo>
                    <a:pt x="865" y="10506"/>
                  </a:lnTo>
                  <a:lnTo>
                    <a:pt x="1245" y="11093"/>
                  </a:lnTo>
                  <a:lnTo>
                    <a:pt x="1625" y="11646"/>
                  </a:lnTo>
                  <a:lnTo>
                    <a:pt x="2109" y="12165"/>
                  </a:lnTo>
                  <a:lnTo>
                    <a:pt x="2593" y="12614"/>
                  </a:lnTo>
                  <a:lnTo>
                    <a:pt x="3145" y="13029"/>
                  </a:lnTo>
                  <a:lnTo>
                    <a:pt x="3733" y="13374"/>
                  </a:lnTo>
                  <a:lnTo>
                    <a:pt x="4355" y="13685"/>
                  </a:lnTo>
                  <a:lnTo>
                    <a:pt x="5012" y="13927"/>
                  </a:lnTo>
                  <a:lnTo>
                    <a:pt x="5703" y="14100"/>
                  </a:lnTo>
                  <a:lnTo>
                    <a:pt x="6394" y="14203"/>
                  </a:lnTo>
                  <a:lnTo>
                    <a:pt x="7119" y="14238"/>
                  </a:lnTo>
                  <a:lnTo>
                    <a:pt x="7845" y="14203"/>
                  </a:lnTo>
                  <a:lnTo>
                    <a:pt x="8571" y="14100"/>
                  </a:lnTo>
                  <a:lnTo>
                    <a:pt x="9227" y="13927"/>
                  </a:lnTo>
                  <a:lnTo>
                    <a:pt x="9884" y="13685"/>
                  </a:lnTo>
                  <a:lnTo>
                    <a:pt x="10506" y="13374"/>
                  </a:lnTo>
                  <a:lnTo>
                    <a:pt x="11093" y="13029"/>
                  </a:lnTo>
                  <a:lnTo>
                    <a:pt x="11646" y="12614"/>
                  </a:lnTo>
                  <a:lnTo>
                    <a:pt x="12165" y="12165"/>
                  </a:lnTo>
                  <a:lnTo>
                    <a:pt x="12614" y="11646"/>
                  </a:lnTo>
                  <a:lnTo>
                    <a:pt x="13029" y="11093"/>
                  </a:lnTo>
                  <a:lnTo>
                    <a:pt x="13374" y="10506"/>
                  </a:lnTo>
                  <a:lnTo>
                    <a:pt x="13685" y="9884"/>
                  </a:lnTo>
                  <a:lnTo>
                    <a:pt x="13927" y="9227"/>
                  </a:lnTo>
                  <a:lnTo>
                    <a:pt x="14100" y="8571"/>
                  </a:lnTo>
                  <a:lnTo>
                    <a:pt x="14204" y="7845"/>
                  </a:lnTo>
                  <a:lnTo>
                    <a:pt x="14238" y="7119"/>
                  </a:lnTo>
                  <a:lnTo>
                    <a:pt x="14204" y="6394"/>
                  </a:lnTo>
                  <a:lnTo>
                    <a:pt x="14100" y="5668"/>
                  </a:lnTo>
                  <a:lnTo>
                    <a:pt x="13927" y="5011"/>
                  </a:lnTo>
                  <a:lnTo>
                    <a:pt x="13685" y="4355"/>
                  </a:lnTo>
                  <a:lnTo>
                    <a:pt x="13374" y="3733"/>
                  </a:lnTo>
                  <a:lnTo>
                    <a:pt x="13029" y="3145"/>
                  </a:lnTo>
                  <a:lnTo>
                    <a:pt x="12614" y="2592"/>
                  </a:lnTo>
                  <a:lnTo>
                    <a:pt x="12165" y="2074"/>
                  </a:lnTo>
                  <a:lnTo>
                    <a:pt x="11646" y="1625"/>
                  </a:lnTo>
                  <a:lnTo>
                    <a:pt x="11093" y="1210"/>
                  </a:lnTo>
                  <a:lnTo>
                    <a:pt x="10506" y="865"/>
                  </a:lnTo>
                  <a:lnTo>
                    <a:pt x="9884" y="554"/>
                  </a:lnTo>
                  <a:lnTo>
                    <a:pt x="9227" y="312"/>
                  </a:lnTo>
                  <a:lnTo>
                    <a:pt x="8571" y="139"/>
                  </a:lnTo>
                  <a:lnTo>
                    <a:pt x="7845" y="35"/>
                  </a:lnTo>
                  <a:lnTo>
                    <a:pt x="7119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7" name="Google Shape;2326;p11">
              <a:extLst>
                <a:ext uri="{FF2B5EF4-FFF2-40B4-BE49-F238E27FC236}">
                  <a16:creationId xmlns:a16="http://schemas.microsoft.com/office/drawing/2014/main" id="{514DD39F-EDB7-1C42-B3C6-B33D01BDF101}"/>
                </a:ext>
              </a:extLst>
            </p:cNvPr>
            <p:cNvSpPr/>
            <p:nvPr/>
          </p:nvSpPr>
          <p:spPr>
            <a:xfrm>
              <a:off x="3809125" y="1077825"/>
              <a:ext cx="246250" cy="247100"/>
            </a:xfrm>
            <a:custGeom>
              <a:avLst/>
              <a:gdLst/>
              <a:ahLst/>
              <a:cxnLst/>
              <a:rect l="l" t="t" r="r" b="b"/>
              <a:pathLst>
                <a:path w="9850" h="9884" extrusionOk="0">
                  <a:moveTo>
                    <a:pt x="4907" y="1"/>
                  </a:moveTo>
                  <a:lnTo>
                    <a:pt x="4424" y="35"/>
                  </a:lnTo>
                  <a:lnTo>
                    <a:pt x="3940" y="104"/>
                  </a:lnTo>
                  <a:lnTo>
                    <a:pt x="3456" y="243"/>
                  </a:lnTo>
                  <a:lnTo>
                    <a:pt x="3007" y="415"/>
                  </a:lnTo>
                  <a:lnTo>
                    <a:pt x="2558" y="623"/>
                  </a:lnTo>
                  <a:lnTo>
                    <a:pt x="2178" y="865"/>
                  </a:lnTo>
                  <a:lnTo>
                    <a:pt x="1797" y="1141"/>
                  </a:lnTo>
                  <a:lnTo>
                    <a:pt x="1452" y="1452"/>
                  </a:lnTo>
                  <a:lnTo>
                    <a:pt x="1106" y="1798"/>
                  </a:lnTo>
                  <a:lnTo>
                    <a:pt x="830" y="2178"/>
                  </a:lnTo>
                  <a:lnTo>
                    <a:pt x="588" y="2593"/>
                  </a:lnTo>
                  <a:lnTo>
                    <a:pt x="381" y="3042"/>
                  </a:lnTo>
                  <a:lnTo>
                    <a:pt x="208" y="3491"/>
                  </a:lnTo>
                  <a:lnTo>
                    <a:pt x="104" y="3940"/>
                  </a:lnTo>
                  <a:lnTo>
                    <a:pt x="35" y="4424"/>
                  </a:lnTo>
                  <a:lnTo>
                    <a:pt x="0" y="4942"/>
                  </a:lnTo>
                  <a:lnTo>
                    <a:pt x="35" y="5461"/>
                  </a:lnTo>
                  <a:lnTo>
                    <a:pt x="104" y="5945"/>
                  </a:lnTo>
                  <a:lnTo>
                    <a:pt x="208" y="6394"/>
                  </a:lnTo>
                  <a:lnTo>
                    <a:pt x="381" y="6878"/>
                  </a:lnTo>
                  <a:lnTo>
                    <a:pt x="588" y="7292"/>
                  </a:lnTo>
                  <a:lnTo>
                    <a:pt x="830" y="7707"/>
                  </a:lnTo>
                  <a:lnTo>
                    <a:pt x="1106" y="8087"/>
                  </a:lnTo>
                  <a:lnTo>
                    <a:pt x="1452" y="8433"/>
                  </a:lnTo>
                  <a:lnTo>
                    <a:pt x="1797" y="8744"/>
                  </a:lnTo>
                  <a:lnTo>
                    <a:pt x="2178" y="9020"/>
                  </a:lnTo>
                  <a:lnTo>
                    <a:pt x="2558" y="9262"/>
                  </a:lnTo>
                  <a:lnTo>
                    <a:pt x="3007" y="9504"/>
                  </a:lnTo>
                  <a:lnTo>
                    <a:pt x="3456" y="9642"/>
                  </a:lnTo>
                  <a:lnTo>
                    <a:pt x="3940" y="9780"/>
                  </a:lnTo>
                  <a:lnTo>
                    <a:pt x="4424" y="9849"/>
                  </a:lnTo>
                  <a:lnTo>
                    <a:pt x="4907" y="9884"/>
                  </a:lnTo>
                  <a:lnTo>
                    <a:pt x="5426" y="9849"/>
                  </a:lnTo>
                  <a:lnTo>
                    <a:pt x="5910" y="9780"/>
                  </a:lnTo>
                  <a:lnTo>
                    <a:pt x="6393" y="9642"/>
                  </a:lnTo>
                  <a:lnTo>
                    <a:pt x="6843" y="9504"/>
                  </a:lnTo>
                  <a:lnTo>
                    <a:pt x="7257" y="9262"/>
                  </a:lnTo>
                  <a:lnTo>
                    <a:pt x="7672" y="9020"/>
                  </a:lnTo>
                  <a:lnTo>
                    <a:pt x="8052" y="8744"/>
                  </a:lnTo>
                  <a:lnTo>
                    <a:pt x="8398" y="8433"/>
                  </a:lnTo>
                  <a:lnTo>
                    <a:pt x="8709" y="8087"/>
                  </a:lnTo>
                  <a:lnTo>
                    <a:pt x="8985" y="7707"/>
                  </a:lnTo>
                  <a:lnTo>
                    <a:pt x="9227" y="7292"/>
                  </a:lnTo>
                  <a:lnTo>
                    <a:pt x="9434" y="6878"/>
                  </a:lnTo>
                  <a:lnTo>
                    <a:pt x="9607" y="6394"/>
                  </a:lnTo>
                  <a:lnTo>
                    <a:pt x="9745" y="5945"/>
                  </a:lnTo>
                  <a:lnTo>
                    <a:pt x="9814" y="5461"/>
                  </a:lnTo>
                  <a:lnTo>
                    <a:pt x="9849" y="4942"/>
                  </a:lnTo>
                  <a:lnTo>
                    <a:pt x="9814" y="4424"/>
                  </a:lnTo>
                  <a:lnTo>
                    <a:pt x="9745" y="3940"/>
                  </a:lnTo>
                  <a:lnTo>
                    <a:pt x="9607" y="3491"/>
                  </a:lnTo>
                  <a:lnTo>
                    <a:pt x="9434" y="3042"/>
                  </a:lnTo>
                  <a:lnTo>
                    <a:pt x="9227" y="2593"/>
                  </a:lnTo>
                  <a:lnTo>
                    <a:pt x="8985" y="2178"/>
                  </a:lnTo>
                  <a:lnTo>
                    <a:pt x="8709" y="1798"/>
                  </a:lnTo>
                  <a:lnTo>
                    <a:pt x="8398" y="1452"/>
                  </a:lnTo>
                  <a:lnTo>
                    <a:pt x="8052" y="1141"/>
                  </a:lnTo>
                  <a:lnTo>
                    <a:pt x="7672" y="865"/>
                  </a:lnTo>
                  <a:lnTo>
                    <a:pt x="7257" y="623"/>
                  </a:lnTo>
                  <a:lnTo>
                    <a:pt x="6843" y="415"/>
                  </a:lnTo>
                  <a:lnTo>
                    <a:pt x="6393" y="243"/>
                  </a:lnTo>
                  <a:lnTo>
                    <a:pt x="5910" y="104"/>
                  </a:lnTo>
                  <a:lnTo>
                    <a:pt x="5426" y="35"/>
                  </a:lnTo>
                  <a:lnTo>
                    <a:pt x="490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8" name="Google Shape;2327;p11">
              <a:extLst>
                <a:ext uri="{FF2B5EF4-FFF2-40B4-BE49-F238E27FC236}">
                  <a16:creationId xmlns:a16="http://schemas.microsoft.com/office/drawing/2014/main" id="{5E3EE7B8-21A1-273F-9DD2-1796789F5618}"/>
                </a:ext>
              </a:extLst>
            </p:cNvPr>
            <p:cNvSpPr/>
            <p:nvPr/>
          </p:nvSpPr>
          <p:spPr>
            <a:xfrm>
              <a:off x="3867875" y="1137450"/>
              <a:ext cx="127875" cy="127875"/>
            </a:xfrm>
            <a:custGeom>
              <a:avLst/>
              <a:gdLst/>
              <a:ahLst/>
              <a:cxnLst/>
              <a:rect l="l" t="t" r="r" b="b"/>
              <a:pathLst>
                <a:path w="5115" h="5115" extrusionOk="0">
                  <a:moveTo>
                    <a:pt x="2316" y="0"/>
                  </a:moveTo>
                  <a:lnTo>
                    <a:pt x="2039" y="35"/>
                  </a:lnTo>
                  <a:lnTo>
                    <a:pt x="1797" y="104"/>
                  </a:lnTo>
                  <a:lnTo>
                    <a:pt x="1555" y="208"/>
                  </a:lnTo>
                  <a:lnTo>
                    <a:pt x="1348" y="311"/>
                  </a:lnTo>
                  <a:lnTo>
                    <a:pt x="1141" y="449"/>
                  </a:lnTo>
                  <a:lnTo>
                    <a:pt x="933" y="588"/>
                  </a:lnTo>
                  <a:lnTo>
                    <a:pt x="761" y="760"/>
                  </a:lnTo>
                  <a:lnTo>
                    <a:pt x="588" y="933"/>
                  </a:lnTo>
                  <a:lnTo>
                    <a:pt x="450" y="1141"/>
                  </a:lnTo>
                  <a:lnTo>
                    <a:pt x="311" y="1348"/>
                  </a:lnTo>
                  <a:lnTo>
                    <a:pt x="208" y="1555"/>
                  </a:lnTo>
                  <a:lnTo>
                    <a:pt x="139" y="1797"/>
                  </a:lnTo>
                  <a:lnTo>
                    <a:pt x="69" y="2039"/>
                  </a:lnTo>
                  <a:lnTo>
                    <a:pt x="35" y="2281"/>
                  </a:lnTo>
                  <a:lnTo>
                    <a:pt x="0" y="2557"/>
                  </a:lnTo>
                  <a:lnTo>
                    <a:pt x="35" y="2834"/>
                  </a:lnTo>
                  <a:lnTo>
                    <a:pt x="69" y="3076"/>
                  </a:lnTo>
                  <a:lnTo>
                    <a:pt x="139" y="3318"/>
                  </a:lnTo>
                  <a:lnTo>
                    <a:pt x="208" y="3560"/>
                  </a:lnTo>
                  <a:lnTo>
                    <a:pt x="311" y="3767"/>
                  </a:lnTo>
                  <a:lnTo>
                    <a:pt x="450" y="4009"/>
                  </a:lnTo>
                  <a:lnTo>
                    <a:pt x="588" y="4182"/>
                  </a:lnTo>
                  <a:lnTo>
                    <a:pt x="761" y="4389"/>
                  </a:lnTo>
                  <a:lnTo>
                    <a:pt x="933" y="4527"/>
                  </a:lnTo>
                  <a:lnTo>
                    <a:pt x="1141" y="4700"/>
                  </a:lnTo>
                  <a:lnTo>
                    <a:pt x="1348" y="4804"/>
                  </a:lnTo>
                  <a:lnTo>
                    <a:pt x="1555" y="4907"/>
                  </a:lnTo>
                  <a:lnTo>
                    <a:pt x="1797" y="5011"/>
                  </a:lnTo>
                  <a:lnTo>
                    <a:pt x="2039" y="5080"/>
                  </a:lnTo>
                  <a:lnTo>
                    <a:pt x="2316" y="5115"/>
                  </a:lnTo>
                  <a:lnTo>
                    <a:pt x="2834" y="5115"/>
                  </a:lnTo>
                  <a:lnTo>
                    <a:pt x="3076" y="5080"/>
                  </a:lnTo>
                  <a:lnTo>
                    <a:pt x="3318" y="5011"/>
                  </a:lnTo>
                  <a:lnTo>
                    <a:pt x="3560" y="4907"/>
                  </a:lnTo>
                  <a:lnTo>
                    <a:pt x="3801" y="4804"/>
                  </a:lnTo>
                  <a:lnTo>
                    <a:pt x="4009" y="4700"/>
                  </a:lnTo>
                  <a:lnTo>
                    <a:pt x="4182" y="4527"/>
                  </a:lnTo>
                  <a:lnTo>
                    <a:pt x="4389" y="4389"/>
                  </a:lnTo>
                  <a:lnTo>
                    <a:pt x="4527" y="4182"/>
                  </a:lnTo>
                  <a:lnTo>
                    <a:pt x="4700" y="4009"/>
                  </a:lnTo>
                  <a:lnTo>
                    <a:pt x="4804" y="3767"/>
                  </a:lnTo>
                  <a:lnTo>
                    <a:pt x="4907" y="3560"/>
                  </a:lnTo>
                  <a:lnTo>
                    <a:pt x="5011" y="3318"/>
                  </a:lnTo>
                  <a:lnTo>
                    <a:pt x="5080" y="3076"/>
                  </a:lnTo>
                  <a:lnTo>
                    <a:pt x="5115" y="2834"/>
                  </a:lnTo>
                  <a:lnTo>
                    <a:pt x="5115" y="2557"/>
                  </a:lnTo>
                  <a:lnTo>
                    <a:pt x="5115" y="2281"/>
                  </a:lnTo>
                  <a:lnTo>
                    <a:pt x="5080" y="2039"/>
                  </a:lnTo>
                  <a:lnTo>
                    <a:pt x="5011" y="1797"/>
                  </a:lnTo>
                  <a:lnTo>
                    <a:pt x="4907" y="1555"/>
                  </a:lnTo>
                  <a:lnTo>
                    <a:pt x="4804" y="1348"/>
                  </a:lnTo>
                  <a:lnTo>
                    <a:pt x="4700" y="1141"/>
                  </a:lnTo>
                  <a:lnTo>
                    <a:pt x="4527" y="933"/>
                  </a:lnTo>
                  <a:lnTo>
                    <a:pt x="4389" y="760"/>
                  </a:lnTo>
                  <a:lnTo>
                    <a:pt x="4182" y="588"/>
                  </a:lnTo>
                  <a:lnTo>
                    <a:pt x="4009" y="449"/>
                  </a:lnTo>
                  <a:lnTo>
                    <a:pt x="3801" y="311"/>
                  </a:lnTo>
                  <a:lnTo>
                    <a:pt x="3560" y="208"/>
                  </a:lnTo>
                  <a:lnTo>
                    <a:pt x="3318" y="104"/>
                  </a:lnTo>
                  <a:lnTo>
                    <a:pt x="3076" y="35"/>
                  </a:lnTo>
                  <a:lnTo>
                    <a:pt x="2834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9" name="Google Shape;2328;p11">
              <a:extLst>
                <a:ext uri="{FF2B5EF4-FFF2-40B4-BE49-F238E27FC236}">
                  <a16:creationId xmlns:a16="http://schemas.microsoft.com/office/drawing/2014/main" id="{89E26F09-A5EC-371F-51C3-8D48CE3436F8}"/>
                </a:ext>
              </a:extLst>
            </p:cNvPr>
            <p:cNvSpPr/>
            <p:nvPr/>
          </p:nvSpPr>
          <p:spPr>
            <a:xfrm>
              <a:off x="2563375" y="2316675"/>
              <a:ext cx="334350" cy="120125"/>
            </a:xfrm>
            <a:custGeom>
              <a:avLst/>
              <a:gdLst/>
              <a:ahLst/>
              <a:cxnLst/>
              <a:rect l="l" t="t" r="r" b="b"/>
              <a:pathLst>
                <a:path w="13374" h="4805" extrusionOk="0">
                  <a:moveTo>
                    <a:pt x="13132" y="1"/>
                  </a:moveTo>
                  <a:lnTo>
                    <a:pt x="13062" y="35"/>
                  </a:lnTo>
                  <a:lnTo>
                    <a:pt x="12337" y="484"/>
                  </a:lnTo>
                  <a:lnTo>
                    <a:pt x="11266" y="1072"/>
                  </a:lnTo>
                  <a:lnTo>
                    <a:pt x="8570" y="2420"/>
                  </a:lnTo>
                  <a:lnTo>
                    <a:pt x="5978" y="3698"/>
                  </a:lnTo>
                  <a:lnTo>
                    <a:pt x="4596" y="4355"/>
                  </a:lnTo>
                  <a:lnTo>
                    <a:pt x="207" y="4355"/>
                  </a:lnTo>
                  <a:lnTo>
                    <a:pt x="104" y="4389"/>
                  </a:lnTo>
                  <a:lnTo>
                    <a:pt x="35" y="4424"/>
                  </a:lnTo>
                  <a:lnTo>
                    <a:pt x="0" y="4493"/>
                  </a:lnTo>
                  <a:lnTo>
                    <a:pt x="0" y="4597"/>
                  </a:lnTo>
                  <a:lnTo>
                    <a:pt x="0" y="4666"/>
                  </a:lnTo>
                  <a:lnTo>
                    <a:pt x="35" y="4735"/>
                  </a:lnTo>
                  <a:lnTo>
                    <a:pt x="104" y="4769"/>
                  </a:lnTo>
                  <a:lnTo>
                    <a:pt x="207" y="4804"/>
                  </a:lnTo>
                  <a:lnTo>
                    <a:pt x="4631" y="4804"/>
                  </a:lnTo>
                  <a:lnTo>
                    <a:pt x="4734" y="4769"/>
                  </a:lnTo>
                  <a:lnTo>
                    <a:pt x="5978" y="4182"/>
                  </a:lnTo>
                  <a:lnTo>
                    <a:pt x="8605" y="2903"/>
                  </a:lnTo>
                  <a:lnTo>
                    <a:pt x="11404" y="1452"/>
                  </a:lnTo>
                  <a:lnTo>
                    <a:pt x="12544" y="865"/>
                  </a:lnTo>
                  <a:lnTo>
                    <a:pt x="13304" y="381"/>
                  </a:lnTo>
                  <a:lnTo>
                    <a:pt x="13339" y="312"/>
                  </a:lnTo>
                  <a:lnTo>
                    <a:pt x="13373" y="243"/>
                  </a:lnTo>
                  <a:lnTo>
                    <a:pt x="13373" y="173"/>
                  </a:lnTo>
                  <a:lnTo>
                    <a:pt x="13339" y="104"/>
                  </a:lnTo>
                  <a:lnTo>
                    <a:pt x="13270" y="35"/>
                  </a:lnTo>
                  <a:lnTo>
                    <a:pt x="1320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0" name="Google Shape;2329;p11">
              <a:extLst>
                <a:ext uri="{FF2B5EF4-FFF2-40B4-BE49-F238E27FC236}">
                  <a16:creationId xmlns:a16="http://schemas.microsoft.com/office/drawing/2014/main" id="{627C0E64-A613-BFFE-26F4-49ECAC63F96A}"/>
                </a:ext>
              </a:extLst>
            </p:cNvPr>
            <p:cNvSpPr/>
            <p:nvPr/>
          </p:nvSpPr>
          <p:spPr>
            <a:xfrm>
              <a:off x="2347400" y="2406525"/>
              <a:ext cx="179700" cy="49275"/>
            </a:xfrm>
            <a:custGeom>
              <a:avLst/>
              <a:gdLst/>
              <a:ahLst/>
              <a:cxnLst/>
              <a:rect l="l" t="t" r="r" b="b"/>
              <a:pathLst>
                <a:path w="7188" h="1971" extrusionOk="0">
                  <a:moveTo>
                    <a:pt x="415" y="1"/>
                  </a:moveTo>
                  <a:lnTo>
                    <a:pt x="242" y="35"/>
                  </a:lnTo>
                  <a:lnTo>
                    <a:pt x="104" y="104"/>
                  </a:lnTo>
                  <a:lnTo>
                    <a:pt x="35" y="242"/>
                  </a:lnTo>
                  <a:lnTo>
                    <a:pt x="0" y="415"/>
                  </a:lnTo>
                  <a:lnTo>
                    <a:pt x="0" y="1590"/>
                  </a:lnTo>
                  <a:lnTo>
                    <a:pt x="35" y="1728"/>
                  </a:lnTo>
                  <a:lnTo>
                    <a:pt x="104" y="1867"/>
                  </a:lnTo>
                  <a:lnTo>
                    <a:pt x="242" y="1936"/>
                  </a:lnTo>
                  <a:lnTo>
                    <a:pt x="415" y="1970"/>
                  </a:lnTo>
                  <a:lnTo>
                    <a:pt x="6773" y="1970"/>
                  </a:lnTo>
                  <a:lnTo>
                    <a:pt x="6946" y="1936"/>
                  </a:lnTo>
                  <a:lnTo>
                    <a:pt x="7084" y="1867"/>
                  </a:lnTo>
                  <a:lnTo>
                    <a:pt x="7153" y="1728"/>
                  </a:lnTo>
                  <a:lnTo>
                    <a:pt x="7188" y="1590"/>
                  </a:lnTo>
                  <a:lnTo>
                    <a:pt x="7188" y="415"/>
                  </a:lnTo>
                  <a:lnTo>
                    <a:pt x="7153" y="242"/>
                  </a:lnTo>
                  <a:lnTo>
                    <a:pt x="7084" y="104"/>
                  </a:lnTo>
                  <a:lnTo>
                    <a:pt x="6946" y="35"/>
                  </a:lnTo>
                  <a:lnTo>
                    <a:pt x="6773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1" name="Google Shape;2330;p11">
              <a:extLst>
                <a:ext uri="{FF2B5EF4-FFF2-40B4-BE49-F238E27FC236}">
                  <a16:creationId xmlns:a16="http://schemas.microsoft.com/office/drawing/2014/main" id="{D3E3A13C-F122-8A25-16DC-141BC96C1376}"/>
                </a:ext>
              </a:extLst>
            </p:cNvPr>
            <p:cNvSpPr/>
            <p:nvPr/>
          </p:nvSpPr>
          <p:spPr>
            <a:xfrm>
              <a:off x="2347400" y="2406525"/>
              <a:ext cx="179700" cy="49275"/>
            </a:xfrm>
            <a:custGeom>
              <a:avLst/>
              <a:gdLst/>
              <a:ahLst/>
              <a:cxnLst/>
              <a:rect l="l" t="t" r="r" b="b"/>
              <a:pathLst>
                <a:path w="7188" h="1971" fill="none" extrusionOk="0">
                  <a:moveTo>
                    <a:pt x="6773" y="1"/>
                  </a:moveTo>
                  <a:lnTo>
                    <a:pt x="415" y="1"/>
                  </a:lnTo>
                  <a:lnTo>
                    <a:pt x="415" y="1"/>
                  </a:lnTo>
                  <a:lnTo>
                    <a:pt x="242" y="35"/>
                  </a:lnTo>
                  <a:lnTo>
                    <a:pt x="104" y="104"/>
                  </a:lnTo>
                  <a:lnTo>
                    <a:pt x="35" y="242"/>
                  </a:lnTo>
                  <a:lnTo>
                    <a:pt x="0" y="415"/>
                  </a:lnTo>
                  <a:lnTo>
                    <a:pt x="0" y="1590"/>
                  </a:lnTo>
                  <a:lnTo>
                    <a:pt x="0" y="1590"/>
                  </a:lnTo>
                  <a:lnTo>
                    <a:pt x="35" y="1728"/>
                  </a:lnTo>
                  <a:lnTo>
                    <a:pt x="104" y="1867"/>
                  </a:lnTo>
                  <a:lnTo>
                    <a:pt x="242" y="1936"/>
                  </a:lnTo>
                  <a:lnTo>
                    <a:pt x="415" y="1970"/>
                  </a:lnTo>
                  <a:lnTo>
                    <a:pt x="6773" y="1970"/>
                  </a:lnTo>
                  <a:lnTo>
                    <a:pt x="6773" y="1970"/>
                  </a:lnTo>
                  <a:lnTo>
                    <a:pt x="6946" y="1936"/>
                  </a:lnTo>
                  <a:lnTo>
                    <a:pt x="7084" y="1867"/>
                  </a:lnTo>
                  <a:lnTo>
                    <a:pt x="7153" y="1728"/>
                  </a:lnTo>
                  <a:lnTo>
                    <a:pt x="7188" y="1590"/>
                  </a:lnTo>
                  <a:lnTo>
                    <a:pt x="7188" y="415"/>
                  </a:lnTo>
                  <a:lnTo>
                    <a:pt x="7188" y="415"/>
                  </a:lnTo>
                  <a:lnTo>
                    <a:pt x="7153" y="242"/>
                  </a:lnTo>
                  <a:lnTo>
                    <a:pt x="7084" y="104"/>
                  </a:lnTo>
                  <a:lnTo>
                    <a:pt x="6946" y="35"/>
                  </a:lnTo>
                  <a:lnTo>
                    <a:pt x="677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2" name="Google Shape;2331;p11">
              <a:extLst>
                <a:ext uri="{FF2B5EF4-FFF2-40B4-BE49-F238E27FC236}">
                  <a16:creationId xmlns:a16="http://schemas.microsoft.com/office/drawing/2014/main" id="{8C475CE7-8C95-B954-C7E5-2F0838785505}"/>
                </a:ext>
              </a:extLst>
            </p:cNvPr>
            <p:cNvSpPr/>
            <p:nvPr/>
          </p:nvSpPr>
          <p:spPr>
            <a:xfrm>
              <a:off x="2078725" y="2406525"/>
              <a:ext cx="109725" cy="49275"/>
            </a:xfrm>
            <a:custGeom>
              <a:avLst/>
              <a:gdLst/>
              <a:ahLst/>
              <a:cxnLst/>
              <a:rect l="l" t="t" r="r" b="b"/>
              <a:pathLst>
                <a:path w="4389" h="1971" extrusionOk="0">
                  <a:moveTo>
                    <a:pt x="242" y="1"/>
                  </a:moveTo>
                  <a:lnTo>
                    <a:pt x="138" y="35"/>
                  </a:lnTo>
                  <a:lnTo>
                    <a:pt x="69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69" y="1867"/>
                  </a:lnTo>
                  <a:lnTo>
                    <a:pt x="138" y="1970"/>
                  </a:lnTo>
                  <a:lnTo>
                    <a:pt x="4250" y="1970"/>
                  </a:lnTo>
                  <a:lnTo>
                    <a:pt x="4320" y="1867"/>
                  </a:lnTo>
                  <a:lnTo>
                    <a:pt x="4354" y="1763"/>
                  </a:lnTo>
                  <a:lnTo>
                    <a:pt x="4389" y="1625"/>
                  </a:lnTo>
                  <a:lnTo>
                    <a:pt x="4389" y="346"/>
                  </a:lnTo>
                  <a:lnTo>
                    <a:pt x="4354" y="208"/>
                  </a:lnTo>
                  <a:lnTo>
                    <a:pt x="4320" y="104"/>
                  </a:lnTo>
                  <a:lnTo>
                    <a:pt x="4250" y="35"/>
                  </a:lnTo>
                  <a:lnTo>
                    <a:pt x="4147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3" name="Google Shape;2332;p11">
              <a:extLst>
                <a:ext uri="{FF2B5EF4-FFF2-40B4-BE49-F238E27FC236}">
                  <a16:creationId xmlns:a16="http://schemas.microsoft.com/office/drawing/2014/main" id="{5DED39A1-816C-590F-4ABD-395C6886D5E5}"/>
                </a:ext>
              </a:extLst>
            </p:cNvPr>
            <p:cNvSpPr/>
            <p:nvPr/>
          </p:nvSpPr>
          <p:spPr>
            <a:xfrm>
              <a:off x="2078725" y="2406525"/>
              <a:ext cx="109725" cy="49275"/>
            </a:xfrm>
            <a:custGeom>
              <a:avLst/>
              <a:gdLst/>
              <a:ahLst/>
              <a:cxnLst/>
              <a:rect l="l" t="t" r="r" b="b"/>
              <a:pathLst>
                <a:path w="4389" h="1971" fill="none" extrusionOk="0">
                  <a:moveTo>
                    <a:pt x="4147" y="1"/>
                  </a:moveTo>
                  <a:lnTo>
                    <a:pt x="242" y="1"/>
                  </a:lnTo>
                  <a:lnTo>
                    <a:pt x="242" y="1"/>
                  </a:lnTo>
                  <a:lnTo>
                    <a:pt x="138" y="35"/>
                  </a:lnTo>
                  <a:lnTo>
                    <a:pt x="69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69" y="1867"/>
                  </a:lnTo>
                  <a:lnTo>
                    <a:pt x="138" y="1970"/>
                  </a:lnTo>
                  <a:lnTo>
                    <a:pt x="242" y="1970"/>
                  </a:lnTo>
                  <a:lnTo>
                    <a:pt x="4147" y="1970"/>
                  </a:lnTo>
                  <a:lnTo>
                    <a:pt x="4147" y="1970"/>
                  </a:lnTo>
                  <a:lnTo>
                    <a:pt x="4250" y="1970"/>
                  </a:lnTo>
                  <a:lnTo>
                    <a:pt x="4320" y="1867"/>
                  </a:lnTo>
                  <a:lnTo>
                    <a:pt x="4354" y="1763"/>
                  </a:lnTo>
                  <a:lnTo>
                    <a:pt x="4389" y="1625"/>
                  </a:lnTo>
                  <a:lnTo>
                    <a:pt x="4389" y="346"/>
                  </a:lnTo>
                  <a:lnTo>
                    <a:pt x="4389" y="346"/>
                  </a:lnTo>
                  <a:lnTo>
                    <a:pt x="4354" y="208"/>
                  </a:lnTo>
                  <a:lnTo>
                    <a:pt x="4320" y="104"/>
                  </a:lnTo>
                  <a:lnTo>
                    <a:pt x="4250" y="35"/>
                  </a:lnTo>
                  <a:lnTo>
                    <a:pt x="414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4" name="Google Shape;2333;p11">
              <a:extLst>
                <a:ext uri="{FF2B5EF4-FFF2-40B4-BE49-F238E27FC236}">
                  <a16:creationId xmlns:a16="http://schemas.microsoft.com/office/drawing/2014/main" id="{4AEDB4DF-EBB4-BE1F-707D-2E1BC0C21B77}"/>
                </a:ext>
              </a:extLst>
            </p:cNvPr>
            <p:cNvSpPr/>
            <p:nvPr/>
          </p:nvSpPr>
          <p:spPr>
            <a:xfrm>
              <a:off x="2210900" y="2406525"/>
              <a:ext cx="102825" cy="49275"/>
            </a:xfrm>
            <a:custGeom>
              <a:avLst/>
              <a:gdLst/>
              <a:ahLst/>
              <a:cxnLst/>
              <a:rect l="l" t="t" r="r" b="b"/>
              <a:pathLst>
                <a:path w="4113" h="1971" extrusionOk="0">
                  <a:moveTo>
                    <a:pt x="380" y="1"/>
                  </a:moveTo>
                  <a:lnTo>
                    <a:pt x="242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104" y="1867"/>
                  </a:lnTo>
                  <a:lnTo>
                    <a:pt x="242" y="1970"/>
                  </a:lnTo>
                  <a:lnTo>
                    <a:pt x="3905" y="1970"/>
                  </a:lnTo>
                  <a:lnTo>
                    <a:pt x="4009" y="1867"/>
                  </a:lnTo>
                  <a:lnTo>
                    <a:pt x="4078" y="1763"/>
                  </a:lnTo>
                  <a:lnTo>
                    <a:pt x="4112" y="1625"/>
                  </a:lnTo>
                  <a:lnTo>
                    <a:pt x="4112" y="346"/>
                  </a:lnTo>
                  <a:lnTo>
                    <a:pt x="4078" y="208"/>
                  </a:lnTo>
                  <a:lnTo>
                    <a:pt x="4009" y="104"/>
                  </a:lnTo>
                  <a:lnTo>
                    <a:pt x="3905" y="35"/>
                  </a:lnTo>
                  <a:lnTo>
                    <a:pt x="3767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5" name="Google Shape;2334;p11">
              <a:extLst>
                <a:ext uri="{FF2B5EF4-FFF2-40B4-BE49-F238E27FC236}">
                  <a16:creationId xmlns:a16="http://schemas.microsoft.com/office/drawing/2014/main" id="{AC921599-AEB7-DAC0-9DBD-88EB59C021C5}"/>
                </a:ext>
              </a:extLst>
            </p:cNvPr>
            <p:cNvSpPr/>
            <p:nvPr/>
          </p:nvSpPr>
          <p:spPr>
            <a:xfrm>
              <a:off x="2210900" y="2406525"/>
              <a:ext cx="102825" cy="49275"/>
            </a:xfrm>
            <a:custGeom>
              <a:avLst/>
              <a:gdLst/>
              <a:ahLst/>
              <a:cxnLst/>
              <a:rect l="l" t="t" r="r" b="b"/>
              <a:pathLst>
                <a:path w="4113" h="1971" fill="none" extrusionOk="0">
                  <a:moveTo>
                    <a:pt x="3767" y="1"/>
                  </a:moveTo>
                  <a:lnTo>
                    <a:pt x="380" y="1"/>
                  </a:lnTo>
                  <a:lnTo>
                    <a:pt x="380" y="1"/>
                  </a:lnTo>
                  <a:lnTo>
                    <a:pt x="242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0" y="346"/>
                  </a:lnTo>
                  <a:lnTo>
                    <a:pt x="0" y="1625"/>
                  </a:lnTo>
                  <a:lnTo>
                    <a:pt x="0" y="1625"/>
                  </a:lnTo>
                  <a:lnTo>
                    <a:pt x="35" y="1763"/>
                  </a:lnTo>
                  <a:lnTo>
                    <a:pt x="104" y="1867"/>
                  </a:lnTo>
                  <a:lnTo>
                    <a:pt x="242" y="1970"/>
                  </a:lnTo>
                  <a:lnTo>
                    <a:pt x="380" y="1970"/>
                  </a:lnTo>
                  <a:lnTo>
                    <a:pt x="3767" y="1970"/>
                  </a:lnTo>
                  <a:lnTo>
                    <a:pt x="3767" y="1970"/>
                  </a:lnTo>
                  <a:lnTo>
                    <a:pt x="3905" y="1970"/>
                  </a:lnTo>
                  <a:lnTo>
                    <a:pt x="4009" y="1867"/>
                  </a:lnTo>
                  <a:lnTo>
                    <a:pt x="4078" y="1763"/>
                  </a:lnTo>
                  <a:lnTo>
                    <a:pt x="4112" y="1625"/>
                  </a:lnTo>
                  <a:lnTo>
                    <a:pt x="4112" y="346"/>
                  </a:lnTo>
                  <a:lnTo>
                    <a:pt x="4112" y="346"/>
                  </a:lnTo>
                  <a:lnTo>
                    <a:pt x="4078" y="208"/>
                  </a:lnTo>
                  <a:lnTo>
                    <a:pt x="4009" y="104"/>
                  </a:lnTo>
                  <a:lnTo>
                    <a:pt x="3905" y="35"/>
                  </a:lnTo>
                  <a:lnTo>
                    <a:pt x="376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6" name="Google Shape;2335;p11">
              <a:extLst>
                <a:ext uri="{FF2B5EF4-FFF2-40B4-BE49-F238E27FC236}">
                  <a16:creationId xmlns:a16="http://schemas.microsoft.com/office/drawing/2014/main" id="{977D8C76-8FF5-C4CD-8CF2-BBB8B57544D2}"/>
                </a:ext>
              </a:extLst>
            </p:cNvPr>
            <p:cNvSpPr/>
            <p:nvPr/>
          </p:nvSpPr>
          <p:spPr>
            <a:xfrm>
              <a:off x="3308050" y="1624700"/>
              <a:ext cx="127900" cy="193525"/>
            </a:xfrm>
            <a:custGeom>
              <a:avLst/>
              <a:gdLst/>
              <a:ahLst/>
              <a:cxnLst/>
              <a:rect l="l" t="t" r="r" b="b"/>
              <a:pathLst>
                <a:path w="5116" h="7741" extrusionOk="0">
                  <a:moveTo>
                    <a:pt x="243" y="0"/>
                  </a:moveTo>
                  <a:lnTo>
                    <a:pt x="139" y="35"/>
                  </a:lnTo>
                  <a:lnTo>
                    <a:pt x="70" y="69"/>
                  </a:lnTo>
                  <a:lnTo>
                    <a:pt x="35" y="138"/>
                  </a:lnTo>
                  <a:lnTo>
                    <a:pt x="1" y="207"/>
                  </a:lnTo>
                  <a:lnTo>
                    <a:pt x="35" y="276"/>
                  </a:lnTo>
                  <a:lnTo>
                    <a:pt x="70" y="346"/>
                  </a:lnTo>
                  <a:lnTo>
                    <a:pt x="139" y="415"/>
                  </a:lnTo>
                  <a:lnTo>
                    <a:pt x="208" y="415"/>
                  </a:lnTo>
                  <a:lnTo>
                    <a:pt x="2696" y="587"/>
                  </a:lnTo>
                  <a:lnTo>
                    <a:pt x="3249" y="2488"/>
                  </a:lnTo>
                  <a:lnTo>
                    <a:pt x="3906" y="4769"/>
                  </a:lnTo>
                  <a:lnTo>
                    <a:pt x="4700" y="7568"/>
                  </a:lnTo>
                  <a:lnTo>
                    <a:pt x="4735" y="7637"/>
                  </a:lnTo>
                  <a:lnTo>
                    <a:pt x="4770" y="7706"/>
                  </a:lnTo>
                  <a:lnTo>
                    <a:pt x="4839" y="7741"/>
                  </a:lnTo>
                  <a:lnTo>
                    <a:pt x="4942" y="7741"/>
                  </a:lnTo>
                  <a:lnTo>
                    <a:pt x="5046" y="7706"/>
                  </a:lnTo>
                  <a:lnTo>
                    <a:pt x="5081" y="7637"/>
                  </a:lnTo>
                  <a:lnTo>
                    <a:pt x="5115" y="7568"/>
                  </a:lnTo>
                  <a:lnTo>
                    <a:pt x="5115" y="7464"/>
                  </a:lnTo>
                  <a:lnTo>
                    <a:pt x="4286" y="4561"/>
                  </a:lnTo>
                  <a:lnTo>
                    <a:pt x="3595" y="2177"/>
                  </a:lnTo>
                  <a:lnTo>
                    <a:pt x="3042" y="311"/>
                  </a:lnTo>
                  <a:lnTo>
                    <a:pt x="2973" y="207"/>
                  </a:lnTo>
                  <a:lnTo>
                    <a:pt x="2834" y="173"/>
                  </a:lnTo>
                  <a:lnTo>
                    <a:pt x="243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7" name="Google Shape;2336;p11">
              <a:extLst>
                <a:ext uri="{FF2B5EF4-FFF2-40B4-BE49-F238E27FC236}">
                  <a16:creationId xmlns:a16="http://schemas.microsoft.com/office/drawing/2014/main" id="{0F427B09-7443-AAAD-EEFB-E092D2F6DD64}"/>
                </a:ext>
              </a:extLst>
            </p:cNvPr>
            <p:cNvSpPr/>
            <p:nvPr/>
          </p:nvSpPr>
          <p:spPr>
            <a:xfrm>
              <a:off x="3462700" y="1795750"/>
              <a:ext cx="85550" cy="41475"/>
            </a:xfrm>
            <a:custGeom>
              <a:avLst/>
              <a:gdLst/>
              <a:ahLst/>
              <a:cxnLst/>
              <a:rect l="l" t="t" r="r" b="b"/>
              <a:pathLst>
                <a:path w="3422" h="1659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35" y="1452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11" y="1659"/>
                  </a:lnTo>
                  <a:lnTo>
                    <a:pt x="3145" y="1659"/>
                  </a:lnTo>
                  <a:lnTo>
                    <a:pt x="3249" y="1624"/>
                  </a:lnTo>
                  <a:lnTo>
                    <a:pt x="3352" y="1555"/>
                  </a:lnTo>
                  <a:lnTo>
                    <a:pt x="3421" y="1452"/>
                  </a:lnTo>
                  <a:lnTo>
                    <a:pt x="3421" y="1348"/>
                  </a:lnTo>
                  <a:lnTo>
                    <a:pt x="3421" y="311"/>
                  </a:lnTo>
                  <a:lnTo>
                    <a:pt x="3421" y="173"/>
                  </a:lnTo>
                  <a:lnTo>
                    <a:pt x="3352" y="69"/>
                  </a:lnTo>
                  <a:lnTo>
                    <a:pt x="3249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8" name="Google Shape;2337;p11">
              <a:extLst>
                <a:ext uri="{FF2B5EF4-FFF2-40B4-BE49-F238E27FC236}">
                  <a16:creationId xmlns:a16="http://schemas.microsoft.com/office/drawing/2014/main" id="{D3C74D92-34F4-1488-72D2-946B95373493}"/>
                </a:ext>
              </a:extLst>
            </p:cNvPr>
            <p:cNvSpPr/>
            <p:nvPr/>
          </p:nvSpPr>
          <p:spPr>
            <a:xfrm>
              <a:off x="3462700" y="1795750"/>
              <a:ext cx="85550" cy="41475"/>
            </a:xfrm>
            <a:custGeom>
              <a:avLst/>
              <a:gdLst/>
              <a:ahLst/>
              <a:cxnLst/>
              <a:rect l="l" t="t" r="r" b="b"/>
              <a:pathLst>
                <a:path w="3422" h="1659" fill="none" extrusionOk="0">
                  <a:moveTo>
                    <a:pt x="3145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0" y="1348"/>
                  </a:lnTo>
                  <a:lnTo>
                    <a:pt x="35" y="1452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11" y="1659"/>
                  </a:lnTo>
                  <a:lnTo>
                    <a:pt x="3145" y="1659"/>
                  </a:lnTo>
                  <a:lnTo>
                    <a:pt x="3145" y="1659"/>
                  </a:lnTo>
                  <a:lnTo>
                    <a:pt x="3249" y="1624"/>
                  </a:lnTo>
                  <a:lnTo>
                    <a:pt x="3352" y="1555"/>
                  </a:lnTo>
                  <a:lnTo>
                    <a:pt x="3421" y="1452"/>
                  </a:lnTo>
                  <a:lnTo>
                    <a:pt x="3421" y="1348"/>
                  </a:lnTo>
                  <a:lnTo>
                    <a:pt x="3421" y="311"/>
                  </a:lnTo>
                  <a:lnTo>
                    <a:pt x="3421" y="311"/>
                  </a:lnTo>
                  <a:lnTo>
                    <a:pt x="3421" y="173"/>
                  </a:lnTo>
                  <a:lnTo>
                    <a:pt x="3352" y="69"/>
                  </a:lnTo>
                  <a:lnTo>
                    <a:pt x="3249" y="0"/>
                  </a:lnTo>
                  <a:lnTo>
                    <a:pt x="314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9" name="Google Shape;2338;p11">
              <a:extLst>
                <a:ext uri="{FF2B5EF4-FFF2-40B4-BE49-F238E27FC236}">
                  <a16:creationId xmlns:a16="http://schemas.microsoft.com/office/drawing/2014/main" id="{9EEB2AA3-30AC-A61D-832F-D7026642F76A}"/>
                </a:ext>
              </a:extLst>
            </p:cNvPr>
            <p:cNvSpPr/>
            <p:nvPr/>
          </p:nvSpPr>
          <p:spPr>
            <a:xfrm>
              <a:off x="3576725" y="1794025"/>
              <a:ext cx="149500" cy="41475"/>
            </a:xfrm>
            <a:custGeom>
              <a:avLst/>
              <a:gdLst/>
              <a:ahLst/>
              <a:cxnLst/>
              <a:rect l="l" t="t" r="r" b="b"/>
              <a:pathLst>
                <a:path w="5980" h="1659" extrusionOk="0">
                  <a:moveTo>
                    <a:pt x="346" y="0"/>
                  </a:moveTo>
                  <a:lnTo>
                    <a:pt x="208" y="35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13"/>
                  </a:lnTo>
                  <a:lnTo>
                    <a:pt x="35" y="1451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46" y="1659"/>
                  </a:lnTo>
                  <a:lnTo>
                    <a:pt x="5633" y="1659"/>
                  </a:lnTo>
                  <a:lnTo>
                    <a:pt x="5772" y="1624"/>
                  </a:lnTo>
                  <a:lnTo>
                    <a:pt x="5875" y="1555"/>
                  </a:lnTo>
                  <a:lnTo>
                    <a:pt x="5944" y="1451"/>
                  </a:lnTo>
                  <a:lnTo>
                    <a:pt x="5979" y="1313"/>
                  </a:lnTo>
                  <a:lnTo>
                    <a:pt x="5979" y="346"/>
                  </a:lnTo>
                  <a:lnTo>
                    <a:pt x="5944" y="207"/>
                  </a:lnTo>
                  <a:lnTo>
                    <a:pt x="5875" y="104"/>
                  </a:lnTo>
                  <a:lnTo>
                    <a:pt x="5772" y="35"/>
                  </a:lnTo>
                  <a:lnTo>
                    <a:pt x="563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0" name="Google Shape;2339;p11">
              <a:extLst>
                <a:ext uri="{FF2B5EF4-FFF2-40B4-BE49-F238E27FC236}">
                  <a16:creationId xmlns:a16="http://schemas.microsoft.com/office/drawing/2014/main" id="{310AA25E-B5CE-3ECA-9956-5B36A6D07372}"/>
                </a:ext>
              </a:extLst>
            </p:cNvPr>
            <p:cNvSpPr/>
            <p:nvPr/>
          </p:nvSpPr>
          <p:spPr>
            <a:xfrm>
              <a:off x="3576725" y="1794025"/>
              <a:ext cx="149500" cy="41475"/>
            </a:xfrm>
            <a:custGeom>
              <a:avLst/>
              <a:gdLst/>
              <a:ahLst/>
              <a:cxnLst/>
              <a:rect l="l" t="t" r="r" b="b"/>
              <a:pathLst>
                <a:path w="5980" h="1659" fill="none" extrusionOk="0">
                  <a:moveTo>
                    <a:pt x="5633" y="0"/>
                  </a:moveTo>
                  <a:lnTo>
                    <a:pt x="346" y="0"/>
                  </a:lnTo>
                  <a:lnTo>
                    <a:pt x="346" y="0"/>
                  </a:lnTo>
                  <a:lnTo>
                    <a:pt x="208" y="35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35" y="1451"/>
                  </a:lnTo>
                  <a:lnTo>
                    <a:pt x="104" y="1555"/>
                  </a:lnTo>
                  <a:lnTo>
                    <a:pt x="208" y="1624"/>
                  </a:lnTo>
                  <a:lnTo>
                    <a:pt x="346" y="1659"/>
                  </a:lnTo>
                  <a:lnTo>
                    <a:pt x="5633" y="1659"/>
                  </a:lnTo>
                  <a:lnTo>
                    <a:pt x="5633" y="1659"/>
                  </a:lnTo>
                  <a:lnTo>
                    <a:pt x="5772" y="1624"/>
                  </a:lnTo>
                  <a:lnTo>
                    <a:pt x="5875" y="1555"/>
                  </a:lnTo>
                  <a:lnTo>
                    <a:pt x="5944" y="1451"/>
                  </a:lnTo>
                  <a:lnTo>
                    <a:pt x="5979" y="1313"/>
                  </a:lnTo>
                  <a:lnTo>
                    <a:pt x="5979" y="346"/>
                  </a:lnTo>
                  <a:lnTo>
                    <a:pt x="5979" y="346"/>
                  </a:lnTo>
                  <a:lnTo>
                    <a:pt x="5944" y="207"/>
                  </a:lnTo>
                  <a:lnTo>
                    <a:pt x="5875" y="104"/>
                  </a:lnTo>
                  <a:lnTo>
                    <a:pt x="5772" y="35"/>
                  </a:lnTo>
                  <a:lnTo>
                    <a:pt x="563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1" name="Google Shape;2340;p11">
              <a:extLst>
                <a:ext uri="{FF2B5EF4-FFF2-40B4-BE49-F238E27FC236}">
                  <a16:creationId xmlns:a16="http://schemas.microsoft.com/office/drawing/2014/main" id="{80C7D2DE-7E91-78A1-2D5F-6321541D0737}"/>
                </a:ext>
              </a:extLst>
            </p:cNvPr>
            <p:cNvSpPr/>
            <p:nvPr/>
          </p:nvSpPr>
          <p:spPr>
            <a:xfrm>
              <a:off x="3784075" y="1794025"/>
              <a:ext cx="137375" cy="41475"/>
            </a:xfrm>
            <a:custGeom>
              <a:avLst/>
              <a:gdLst/>
              <a:ahLst/>
              <a:cxnLst/>
              <a:rect l="l" t="t" r="r" b="b"/>
              <a:pathLst>
                <a:path w="5495" h="1659" extrusionOk="0">
                  <a:moveTo>
                    <a:pt x="311" y="0"/>
                  </a:moveTo>
                  <a:lnTo>
                    <a:pt x="173" y="35"/>
                  </a:lnTo>
                  <a:lnTo>
                    <a:pt x="69" y="104"/>
                  </a:lnTo>
                  <a:lnTo>
                    <a:pt x="35" y="207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35" y="1486"/>
                  </a:lnTo>
                  <a:lnTo>
                    <a:pt x="69" y="1590"/>
                  </a:lnTo>
                  <a:lnTo>
                    <a:pt x="173" y="1624"/>
                  </a:lnTo>
                  <a:lnTo>
                    <a:pt x="311" y="1659"/>
                  </a:lnTo>
                  <a:lnTo>
                    <a:pt x="5218" y="1659"/>
                  </a:lnTo>
                  <a:lnTo>
                    <a:pt x="5322" y="1624"/>
                  </a:lnTo>
                  <a:lnTo>
                    <a:pt x="5426" y="1590"/>
                  </a:lnTo>
                  <a:lnTo>
                    <a:pt x="5495" y="1486"/>
                  </a:lnTo>
                  <a:lnTo>
                    <a:pt x="5495" y="1348"/>
                  </a:lnTo>
                  <a:lnTo>
                    <a:pt x="5495" y="311"/>
                  </a:lnTo>
                  <a:lnTo>
                    <a:pt x="5495" y="207"/>
                  </a:lnTo>
                  <a:lnTo>
                    <a:pt x="5426" y="104"/>
                  </a:lnTo>
                  <a:lnTo>
                    <a:pt x="5322" y="35"/>
                  </a:lnTo>
                  <a:lnTo>
                    <a:pt x="5218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2" name="Google Shape;2341;p11">
              <a:extLst>
                <a:ext uri="{FF2B5EF4-FFF2-40B4-BE49-F238E27FC236}">
                  <a16:creationId xmlns:a16="http://schemas.microsoft.com/office/drawing/2014/main" id="{845CC00A-AC82-D48E-4EB7-5B80114C7328}"/>
                </a:ext>
              </a:extLst>
            </p:cNvPr>
            <p:cNvSpPr/>
            <p:nvPr/>
          </p:nvSpPr>
          <p:spPr>
            <a:xfrm>
              <a:off x="3784075" y="1794025"/>
              <a:ext cx="137375" cy="41475"/>
            </a:xfrm>
            <a:custGeom>
              <a:avLst/>
              <a:gdLst/>
              <a:ahLst/>
              <a:cxnLst/>
              <a:rect l="l" t="t" r="r" b="b"/>
              <a:pathLst>
                <a:path w="5495" h="1659" fill="none" extrusionOk="0">
                  <a:moveTo>
                    <a:pt x="5218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173" y="35"/>
                  </a:lnTo>
                  <a:lnTo>
                    <a:pt x="69" y="104"/>
                  </a:lnTo>
                  <a:lnTo>
                    <a:pt x="35" y="207"/>
                  </a:lnTo>
                  <a:lnTo>
                    <a:pt x="0" y="311"/>
                  </a:lnTo>
                  <a:lnTo>
                    <a:pt x="0" y="1348"/>
                  </a:lnTo>
                  <a:lnTo>
                    <a:pt x="0" y="1348"/>
                  </a:lnTo>
                  <a:lnTo>
                    <a:pt x="35" y="1486"/>
                  </a:lnTo>
                  <a:lnTo>
                    <a:pt x="69" y="1590"/>
                  </a:lnTo>
                  <a:lnTo>
                    <a:pt x="173" y="1624"/>
                  </a:lnTo>
                  <a:lnTo>
                    <a:pt x="311" y="1659"/>
                  </a:lnTo>
                  <a:lnTo>
                    <a:pt x="5218" y="1659"/>
                  </a:lnTo>
                  <a:lnTo>
                    <a:pt x="5218" y="1659"/>
                  </a:lnTo>
                  <a:lnTo>
                    <a:pt x="5322" y="1624"/>
                  </a:lnTo>
                  <a:lnTo>
                    <a:pt x="5426" y="1590"/>
                  </a:lnTo>
                  <a:lnTo>
                    <a:pt x="5495" y="1486"/>
                  </a:lnTo>
                  <a:lnTo>
                    <a:pt x="5495" y="1348"/>
                  </a:lnTo>
                  <a:lnTo>
                    <a:pt x="5495" y="311"/>
                  </a:lnTo>
                  <a:lnTo>
                    <a:pt x="5495" y="311"/>
                  </a:lnTo>
                  <a:lnTo>
                    <a:pt x="5495" y="207"/>
                  </a:lnTo>
                  <a:lnTo>
                    <a:pt x="5426" y="104"/>
                  </a:lnTo>
                  <a:lnTo>
                    <a:pt x="5322" y="35"/>
                  </a:lnTo>
                  <a:lnTo>
                    <a:pt x="521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3" name="Google Shape;2342;p11">
              <a:extLst>
                <a:ext uri="{FF2B5EF4-FFF2-40B4-BE49-F238E27FC236}">
                  <a16:creationId xmlns:a16="http://schemas.microsoft.com/office/drawing/2014/main" id="{6FA8F9BE-247B-2D55-58EE-E2397D89939A}"/>
                </a:ext>
              </a:extLst>
            </p:cNvPr>
            <p:cNvSpPr/>
            <p:nvPr/>
          </p:nvSpPr>
          <p:spPr>
            <a:xfrm>
              <a:off x="2479575" y="3152075"/>
              <a:ext cx="228950" cy="151225"/>
            </a:xfrm>
            <a:custGeom>
              <a:avLst/>
              <a:gdLst/>
              <a:ahLst/>
              <a:cxnLst/>
              <a:rect l="l" t="t" r="r" b="b"/>
              <a:pathLst>
                <a:path w="9158" h="6049" extrusionOk="0">
                  <a:moveTo>
                    <a:pt x="208" y="1"/>
                  </a:moveTo>
                  <a:lnTo>
                    <a:pt x="104" y="35"/>
                  </a:lnTo>
                  <a:lnTo>
                    <a:pt x="35" y="70"/>
                  </a:lnTo>
                  <a:lnTo>
                    <a:pt x="0" y="139"/>
                  </a:lnTo>
                  <a:lnTo>
                    <a:pt x="0" y="208"/>
                  </a:lnTo>
                  <a:lnTo>
                    <a:pt x="0" y="312"/>
                  </a:lnTo>
                  <a:lnTo>
                    <a:pt x="35" y="381"/>
                  </a:lnTo>
                  <a:lnTo>
                    <a:pt x="104" y="415"/>
                  </a:lnTo>
                  <a:lnTo>
                    <a:pt x="5045" y="415"/>
                  </a:lnTo>
                  <a:lnTo>
                    <a:pt x="8778" y="5944"/>
                  </a:lnTo>
                  <a:lnTo>
                    <a:pt x="8881" y="6014"/>
                  </a:lnTo>
                  <a:lnTo>
                    <a:pt x="8950" y="6048"/>
                  </a:lnTo>
                  <a:lnTo>
                    <a:pt x="9089" y="6014"/>
                  </a:lnTo>
                  <a:lnTo>
                    <a:pt x="9158" y="5944"/>
                  </a:lnTo>
                  <a:lnTo>
                    <a:pt x="9158" y="5875"/>
                  </a:lnTo>
                  <a:lnTo>
                    <a:pt x="9158" y="5806"/>
                  </a:lnTo>
                  <a:lnTo>
                    <a:pt x="9158" y="5703"/>
                  </a:lnTo>
                  <a:lnTo>
                    <a:pt x="5356" y="104"/>
                  </a:lnTo>
                  <a:lnTo>
                    <a:pt x="5287" y="35"/>
                  </a:lnTo>
                  <a:lnTo>
                    <a:pt x="518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4" name="Google Shape;2343;p11">
              <a:extLst>
                <a:ext uri="{FF2B5EF4-FFF2-40B4-BE49-F238E27FC236}">
                  <a16:creationId xmlns:a16="http://schemas.microsoft.com/office/drawing/2014/main" id="{B3A45F35-B6AF-C628-690B-5B4F402E4C57}"/>
                </a:ext>
              </a:extLst>
            </p:cNvPr>
            <p:cNvSpPr/>
            <p:nvPr/>
          </p:nvSpPr>
          <p:spPr>
            <a:xfrm>
              <a:off x="2011325" y="3137400"/>
              <a:ext cx="144300" cy="39750"/>
            </a:xfrm>
            <a:custGeom>
              <a:avLst/>
              <a:gdLst/>
              <a:ahLst/>
              <a:cxnLst/>
              <a:rect l="l" t="t" r="r" b="b"/>
              <a:pathLst>
                <a:path w="5772" h="1590" extrusionOk="0">
                  <a:moveTo>
                    <a:pt x="346" y="0"/>
                  </a:moveTo>
                  <a:lnTo>
                    <a:pt x="208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1" y="346"/>
                  </a:lnTo>
                  <a:lnTo>
                    <a:pt x="1" y="1279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208" y="1590"/>
                  </a:lnTo>
                  <a:lnTo>
                    <a:pt x="5564" y="1590"/>
                  </a:lnTo>
                  <a:lnTo>
                    <a:pt x="5668" y="1521"/>
                  </a:lnTo>
                  <a:lnTo>
                    <a:pt x="5737" y="1417"/>
                  </a:lnTo>
                  <a:lnTo>
                    <a:pt x="5772" y="1279"/>
                  </a:lnTo>
                  <a:lnTo>
                    <a:pt x="5772" y="346"/>
                  </a:lnTo>
                  <a:lnTo>
                    <a:pt x="5737" y="208"/>
                  </a:lnTo>
                  <a:lnTo>
                    <a:pt x="5668" y="104"/>
                  </a:lnTo>
                  <a:lnTo>
                    <a:pt x="5564" y="35"/>
                  </a:lnTo>
                  <a:lnTo>
                    <a:pt x="5461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5" name="Google Shape;2344;p11">
              <a:extLst>
                <a:ext uri="{FF2B5EF4-FFF2-40B4-BE49-F238E27FC236}">
                  <a16:creationId xmlns:a16="http://schemas.microsoft.com/office/drawing/2014/main" id="{FCF771B6-68D6-8976-9141-D0542082FE42}"/>
                </a:ext>
              </a:extLst>
            </p:cNvPr>
            <p:cNvSpPr/>
            <p:nvPr/>
          </p:nvSpPr>
          <p:spPr>
            <a:xfrm>
              <a:off x="2011325" y="3137400"/>
              <a:ext cx="144300" cy="39750"/>
            </a:xfrm>
            <a:custGeom>
              <a:avLst/>
              <a:gdLst/>
              <a:ahLst/>
              <a:cxnLst/>
              <a:rect l="l" t="t" r="r" b="b"/>
              <a:pathLst>
                <a:path w="5772" h="1590" fill="none" extrusionOk="0">
                  <a:moveTo>
                    <a:pt x="5461" y="0"/>
                  </a:moveTo>
                  <a:lnTo>
                    <a:pt x="346" y="0"/>
                  </a:lnTo>
                  <a:lnTo>
                    <a:pt x="346" y="0"/>
                  </a:lnTo>
                  <a:lnTo>
                    <a:pt x="208" y="35"/>
                  </a:lnTo>
                  <a:lnTo>
                    <a:pt x="104" y="104"/>
                  </a:lnTo>
                  <a:lnTo>
                    <a:pt x="35" y="208"/>
                  </a:lnTo>
                  <a:lnTo>
                    <a:pt x="1" y="346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208" y="1590"/>
                  </a:lnTo>
                  <a:lnTo>
                    <a:pt x="346" y="1590"/>
                  </a:lnTo>
                  <a:lnTo>
                    <a:pt x="5461" y="1590"/>
                  </a:lnTo>
                  <a:lnTo>
                    <a:pt x="5461" y="1590"/>
                  </a:lnTo>
                  <a:lnTo>
                    <a:pt x="5564" y="1590"/>
                  </a:lnTo>
                  <a:lnTo>
                    <a:pt x="5668" y="1521"/>
                  </a:lnTo>
                  <a:lnTo>
                    <a:pt x="5737" y="1417"/>
                  </a:lnTo>
                  <a:lnTo>
                    <a:pt x="5772" y="1279"/>
                  </a:lnTo>
                  <a:lnTo>
                    <a:pt x="5772" y="346"/>
                  </a:lnTo>
                  <a:lnTo>
                    <a:pt x="5772" y="346"/>
                  </a:lnTo>
                  <a:lnTo>
                    <a:pt x="5737" y="208"/>
                  </a:lnTo>
                  <a:lnTo>
                    <a:pt x="5668" y="104"/>
                  </a:lnTo>
                  <a:lnTo>
                    <a:pt x="5564" y="35"/>
                  </a:lnTo>
                  <a:lnTo>
                    <a:pt x="546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6" name="Google Shape;2345;p11">
              <a:extLst>
                <a:ext uri="{FF2B5EF4-FFF2-40B4-BE49-F238E27FC236}">
                  <a16:creationId xmlns:a16="http://schemas.microsoft.com/office/drawing/2014/main" id="{3591BA3C-25AE-005E-4F8E-3E9EE32819DF}"/>
                </a:ext>
              </a:extLst>
            </p:cNvPr>
            <p:cNvSpPr/>
            <p:nvPr/>
          </p:nvSpPr>
          <p:spPr>
            <a:xfrm>
              <a:off x="2207425" y="3137400"/>
              <a:ext cx="132225" cy="39750"/>
            </a:xfrm>
            <a:custGeom>
              <a:avLst/>
              <a:gdLst/>
              <a:ahLst/>
              <a:cxnLst/>
              <a:rect l="l" t="t" r="r" b="b"/>
              <a:pathLst>
                <a:path w="5289" h="1590" extrusionOk="0">
                  <a:moveTo>
                    <a:pt x="277" y="0"/>
                  </a:moveTo>
                  <a:lnTo>
                    <a:pt x="174" y="35"/>
                  </a:lnTo>
                  <a:lnTo>
                    <a:pt x="70" y="104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417"/>
                  </a:lnTo>
                  <a:lnTo>
                    <a:pt x="70" y="1521"/>
                  </a:lnTo>
                  <a:lnTo>
                    <a:pt x="174" y="1590"/>
                  </a:lnTo>
                  <a:lnTo>
                    <a:pt x="5115" y="1590"/>
                  </a:lnTo>
                  <a:lnTo>
                    <a:pt x="5219" y="1521"/>
                  </a:lnTo>
                  <a:lnTo>
                    <a:pt x="5288" y="1417"/>
                  </a:lnTo>
                  <a:lnTo>
                    <a:pt x="5288" y="1313"/>
                  </a:lnTo>
                  <a:lnTo>
                    <a:pt x="5288" y="311"/>
                  </a:lnTo>
                  <a:lnTo>
                    <a:pt x="5288" y="173"/>
                  </a:lnTo>
                  <a:lnTo>
                    <a:pt x="5219" y="104"/>
                  </a:lnTo>
                  <a:lnTo>
                    <a:pt x="5115" y="35"/>
                  </a:lnTo>
                  <a:lnTo>
                    <a:pt x="5012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7" name="Google Shape;2346;p11">
              <a:extLst>
                <a:ext uri="{FF2B5EF4-FFF2-40B4-BE49-F238E27FC236}">
                  <a16:creationId xmlns:a16="http://schemas.microsoft.com/office/drawing/2014/main" id="{D22F983C-B19E-4124-E8A3-5E179A9505A8}"/>
                </a:ext>
              </a:extLst>
            </p:cNvPr>
            <p:cNvSpPr/>
            <p:nvPr/>
          </p:nvSpPr>
          <p:spPr>
            <a:xfrm>
              <a:off x="2207425" y="3137400"/>
              <a:ext cx="132225" cy="39750"/>
            </a:xfrm>
            <a:custGeom>
              <a:avLst/>
              <a:gdLst/>
              <a:ahLst/>
              <a:cxnLst/>
              <a:rect l="l" t="t" r="r" b="b"/>
              <a:pathLst>
                <a:path w="5289" h="1590" fill="none" extrusionOk="0">
                  <a:moveTo>
                    <a:pt x="5012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4" y="35"/>
                  </a:lnTo>
                  <a:lnTo>
                    <a:pt x="70" y="104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1" y="1417"/>
                  </a:lnTo>
                  <a:lnTo>
                    <a:pt x="70" y="1521"/>
                  </a:lnTo>
                  <a:lnTo>
                    <a:pt x="174" y="1590"/>
                  </a:lnTo>
                  <a:lnTo>
                    <a:pt x="277" y="1590"/>
                  </a:lnTo>
                  <a:lnTo>
                    <a:pt x="5012" y="1590"/>
                  </a:lnTo>
                  <a:lnTo>
                    <a:pt x="5012" y="1590"/>
                  </a:lnTo>
                  <a:lnTo>
                    <a:pt x="5115" y="1590"/>
                  </a:lnTo>
                  <a:lnTo>
                    <a:pt x="5219" y="1521"/>
                  </a:lnTo>
                  <a:lnTo>
                    <a:pt x="5288" y="1417"/>
                  </a:lnTo>
                  <a:lnTo>
                    <a:pt x="5288" y="1313"/>
                  </a:lnTo>
                  <a:lnTo>
                    <a:pt x="5288" y="311"/>
                  </a:lnTo>
                  <a:lnTo>
                    <a:pt x="5288" y="311"/>
                  </a:lnTo>
                  <a:lnTo>
                    <a:pt x="5288" y="173"/>
                  </a:lnTo>
                  <a:lnTo>
                    <a:pt x="5219" y="104"/>
                  </a:lnTo>
                  <a:lnTo>
                    <a:pt x="5115" y="35"/>
                  </a:lnTo>
                  <a:lnTo>
                    <a:pt x="501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8" name="Google Shape;2347;p11">
              <a:extLst>
                <a:ext uri="{FF2B5EF4-FFF2-40B4-BE49-F238E27FC236}">
                  <a16:creationId xmlns:a16="http://schemas.microsoft.com/office/drawing/2014/main" id="{3A101338-DE2C-8738-6BCF-2DB8912B5B06}"/>
                </a:ext>
              </a:extLst>
            </p:cNvPr>
            <p:cNvSpPr/>
            <p:nvPr/>
          </p:nvSpPr>
          <p:spPr>
            <a:xfrm>
              <a:off x="2354300" y="313740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extrusionOk="0">
                  <a:moveTo>
                    <a:pt x="312" y="0"/>
                  </a:moveTo>
                  <a:lnTo>
                    <a:pt x="173" y="35"/>
                  </a:lnTo>
                  <a:lnTo>
                    <a:pt x="104" y="104"/>
                  </a:lnTo>
                  <a:lnTo>
                    <a:pt x="35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173" y="1590"/>
                  </a:lnTo>
                  <a:lnTo>
                    <a:pt x="3111" y="1590"/>
                  </a:lnTo>
                  <a:lnTo>
                    <a:pt x="3214" y="1521"/>
                  </a:lnTo>
                  <a:lnTo>
                    <a:pt x="3283" y="1417"/>
                  </a:lnTo>
                  <a:lnTo>
                    <a:pt x="3318" y="1313"/>
                  </a:lnTo>
                  <a:lnTo>
                    <a:pt x="3318" y="311"/>
                  </a:lnTo>
                  <a:lnTo>
                    <a:pt x="3283" y="173"/>
                  </a:lnTo>
                  <a:lnTo>
                    <a:pt x="3214" y="104"/>
                  </a:lnTo>
                  <a:lnTo>
                    <a:pt x="3111" y="35"/>
                  </a:lnTo>
                  <a:lnTo>
                    <a:pt x="3007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9" name="Google Shape;2348;p11">
              <a:extLst>
                <a:ext uri="{FF2B5EF4-FFF2-40B4-BE49-F238E27FC236}">
                  <a16:creationId xmlns:a16="http://schemas.microsoft.com/office/drawing/2014/main" id="{A23811C3-A1EA-5DC6-30A3-1394CBC0389F}"/>
                </a:ext>
              </a:extLst>
            </p:cNvPr>
            <p:cNvSpPr/>
            <p:nvPr/>
          </p:nvSpPr>
          <p:spPr>
            <a:xfrm>
              <a:off x="2354300" y="313740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fill="none" extrusionOk="0">
                  <a:moveTo>
                    <a:pt x="3007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3" y="35"/>
                  </a:lnTo>
                  <a:lnTo>
                    <a:pt x="104" y="104"/>
                  </a:lnTo>
                  <a:lnTo>
                    <a:pt x="35" y="173"/>
                  </a:lnTo>
                  <a:lnTo>
                    <a:pt x="1" y="311"/>
                  </a:lnTo>
                  <a:lnTo>
                    <a:pt x="1" y="1313"/>
                  </a:lnTo>
                  <a:lnTo>
                    <a:pt x="1" y="1313"/>
                  </a:lnTo>
                  <a:lnTo>
                    <a:pt x="35" y="1417"/>
                  </a:lnTo>
                  <a:lnTo>
                    <a:pt x="104" y="1521"/>
                  </a:lnTo>
                  <a:lnTo>
                    <a:pt x="173" y="1590"/>
                  </a:lnTo>
                  <a:lnTo>
                    <a:pt x="312" y="1590"/>
                  </a:lnTo>
                  <a:lnTo>
                    <a:pt x="3007" y="1590"/>
                  </a:lnTo>
                  <a:lnTo>
                    <a:pt x="3007" y="1590"/>
                  </a:lnTo>
                  <a:lnTo>
                    <a:pt x="3111" y="1590"/>
                  </a:lnTo>
                  <a:lnTo>
                    <a:pt x="3214" y="1521"/>
                  </a:lnTo>
                  <a:lnTo>
                    <a:pt x="3283" y="1417"/>
                  </a:lnTo>
                  <a:lnTo>
                    <a:pt x="3318" y="1313"/>
                  </a:lnTo>
                  <a:lnTo>
                    <a:pt x="3318" y="311"/>
                  </a:lnTo>
                  <a:lnTo>
                    <a:pt x="3318" y="311"/>
                  </a:lnTo>
                  <a:lnTo>
                    <a:pt x="3283" y="173"/>
                  </a:lnTo>
                  <a:lnTo>
                    <a:pt x="3214" y="104"/>
                  </a:lnTo>
                  <a:lnTo>
                    <a:pt x="3111" y="35"/>
                  </a:lnTo>
                  <a:lnTo>
                    <a:pt x="30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0" name="Google Shape;2349;p11">
              <a:extLst>
                <a:ext uri="{FF2B5EF4-FFF2-40B4-BE49-F238E27FC236}">
                  <a16:creationId xmlns:a16="http://schemas.microsoft.com/office/drawing/2014/main" id="{C1E1A776-57A1-7D78-C05A-9827FBBA6E5D}"/>
                </a:ext>
              </a:extLst>
            </p:cNvPr>
            <p:cNvSpPr/>
            <p:nvPr/>
          </p:nvSpPr>
          <p:spPr>
            <a:xfrm>
              <a:off x="3341750" y="3169350"/>
              <a:ext cx="82950" cy="254875"/>
            </a:xfrm>
            <a:custGeom>
              <a:avLst/>
              <a:gdLst/>
              <a:ahLst/>
              <a:cxnLst/>
              <a:rect l="l" t="t" r="r" b="b"/>
              <a:pathLst>
                <a:path w="3318" h="10195" extrusionOk="0">
                  <a:moveTo>
                    <a:pt x="208" y="1"/>
                  </a:moveTo>
                  <a:lnTo>
                    <a:pt x="139" y="35"/>
                  </a:lnTo>
                  <a:lnTo>
                    <a:pt x="70" y="70"/>
                  </a:lnTo>
                  <a:lnTo>
                    <a:pt x="35" y="139"/>
                  </a:lnTo>
                  <a:lnTo>
                    <a:pt x="0" y="243"/>
                  </a:lnTo>
                  <a:lnTo>
                    <a:pt x="70" y="3145"/>
                  </a:lnTo>
                  <a:lnTo>
                    <a:pt x="173" y="6325"/>
                  </a:lnTo>
                  <a:lnTo>
                    <a:pt x="277" y="9988"/>
                  </a:lnTo>
                  <a:lnTo>
                    <a:pt x="311" y="10057"/>
                  </a:lnTo>
                  <a:lnTo>
                    <a:pt x="346" y="10126"/>
                  </a:lnTo>
                  <a:lnTo>
                    <a:pt x="415" y="10160"/>
                  </a:lnTo>
                  <a:lnTo>
                    <a:pt x="519" y="10195"/>
                  </a:lnTo>
                  <a:lnTo>
                    <a:pt x="3111" y="10195"/>
                  </a:lnTo>
                  <a:lnTo>
                    <a:pt x="3180" y="10160"/>
                  </a:lnTo>
                  <a:lnTo>
                    <a:pt x="3249" y="10126"/>
                  </a:lnTo>
                  <a:lnTo>
                    <a:pt x="3318" y="10057"/>
                  </a:lnTo>
                  <a:lnTo>
                    <a:pt x="3318" y="9953"/>
                  </a:lnTo>
                  <a:lnTo>
                    <a:pt x="3318" y="9884"/>
                  </a:lnTo>
                  <a:lnTo>
                    <a:pt x="3249" y="9815"/>
                  </a:lnTo>
                  <a:lnTo>
                    <a:pt x="3180" y="9780"/>
                  </a:lnTo>
                  <a:lnTo>
                    <a:pt x="3111" y="9746"/>
                  </a:lnTo>
                  <a:lnTo>
                    <a:pt x="692" y="9746"/>
                  </a:lnTo>
                  <a:lnTo>
                    <a:pt x="588" y="5703"/>
                  </a:lnTo>
                  <a:lnTo>
                    <a:pt x="450" y="208"/>
                  </a:lnTo>
                  <a:lnTo>
                    <a:pt x="415" y="139"/>
                  </a:lnTo>
                  <a:lnTo>
                    <a:pt x="381" y="70"/>
                  </a:lnTo>
                  <a:lnTo>
                    <a:pt x="311" y="35"/>
                  </a:lnTo>
                  <a:lnTo>
                    <a:pt x="208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1" name="Google Shape;2350;p11">
              <a:extLst>
                <a:ext uri="{FF2B5EF4-FFF2-40B4-BE49-F238E27FC236}">
                  <a16:creationId xmlns:a16="http://schemas.microsoft.com/office/drawing/2014/main" id="{A8FF0624-AEF8-8F0F-45C0-4A4AE06031AE}"/>
                </a:ext>
              </a:extLst>
            </p:cNvPr>
            <p:cNvSpPr/>
            <p:nvPr/>
          </p:nvSpPr>
          <p:spPr>
            <a:xfrm>
              <a:off x="3703725" y="3394850"/>
              <a:ext cx="141700" cy="43200"/>
            </a:xfrm>
            <a:custGeom>
              <a:avLst/>
              <a:gdLst/>
              <a:ahLst/>
              <a:cxnLst/>
              <a:rect l="l" t="t" r="r" b="b"/>
              <a:pathLst>
                <a:path w="5668" h="1728" extrusionOk="0">
                  <a:moveTo>
                    <a:pt x="242" y="0"/>
                  </a:move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48"/>
                  </a:lnTo>
                  <a:lnTo>
                    <a:pt x="35" y="1486"/>
                  </a:lnTo>
                  <a:lnTo>
                    <a:pt x="104" y="1624"/>
                  </a:lnTo>
                  <a:lnTo>
                    <a:pt x="242" y="1693"/>
                  </a:lnTo>
                  <a:lnTo>
                    <a:pt x="381" y="1728"/>
                  </a:lnTo>
                  <a:lnTo>
                    <a:pt x="5668" y="1728"/>
                  </a:lnTo>
                  <a:lnTo>
                    <a:pt x="5322" y="1313"/>
                  </a:lnTo>
                  <a:lnTo>
                    <a:pt x="5011" y="899"/>
                  </a:lnTo>
                  <a:lnTo>
                    <a:pt x="4424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2" name="Google Shape;2351;p11">
              <a:extLst>
                <a:ext uri="{FF2B5EF4-FFF2-40B4-BE49-F238E27FC236}">
                  <a16:creationId xmlns:a16="http://schemas.microsoft.com/office/drawing/2014/main" id="{F324336C-8082-127B-1427-1FF9096259D8}"/>
                </a:ext>
              </a:extLst>
            </p:cNvPr>
            <p:cNvSpPr/>
            <p:nvPr/>
          </p:nvSpPr>
          <p:spPr>
            <a:xfrm>
              <a:off x="3703725" y="3394850"/>
              <a:ext cx="141700" cy="43200"/>
            </a:xfrm>
            <a:custGeom>
              <a:avLst/>
              <a:gdLst/>
              <a:ahLst/>
              <a:cxnLst/>
              <a:rect l="l" t="t" r="r" b="b"/>
              <a:pathLst>
                <a:path w="5668" h="1728" fill="none" extrusionOk="0">
                  <a:moveTo>
                    <a:pt x="4424" y="0"/>
                  </a:moveTo>
                  <a:lnTo>
                    <a:pt x="381" y="0"/>
                  </a:lnTo>
                  <a:lnTo>
                    <a:pt x="381" y="0"/>
                  </a:lnTo>
                  <a:lnTo>
                    <a:pt x="242" y="0"/>
                  </a:lnTo>
                  <a:lnTo>
                    <a:pt x="104" y="104"/>
                  </a:lnTo>
                  <a:lnTo>
                    <a:pt x="35" y="207"/>
                  </a:lnTo>
                  <a:lnTo>
                    <a:pt x="1" y="346"/>
                  </a:lnTo>
                  <a:lnTo>
                    <a:pt x="1" y="1348"/>
                  </a:lnTo>
                  <a:lnTo>
                    <a:pt x="1" y="1348"/>
                  </a:lnTo>
                  <a:lnTo>
                    <a:pt x="35" y="1486"/>
                  </a:lnTo>
                  <a:lnTo>
                    <a:pt x="104" y="1624"/>
                  </a:lnTo>
                  <a:lnTo>
                    <a:pt x="242" y="1693"/>
                  </a:lnTo>
                  <a:lnTo>
                    <a:pt x="381" y="1728"/>
                  </a:lnTo>
                  <a:lnTo>
                    <a:pt x="5668" y="1728"/>
                  </a:lnTo>
                  <a:lnTo>
                    <a:pt x="5668" y="1728"/>
                  </a:lnTo>
                  <a:lnTo>
                    <a:pt x="5322" y="1313"/>
                  </a:lnTo>
                  <a:lnTo>
                    <a:pt x="5011" y="899"/>
                  </a:lnTo>
                  <a:lnTo>
                    <a:pt x="442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3" name="Google Shape;2352;p11">
              <a:extLst>
                <a:ext uri="{FF2B5EF4-FFF2-40B4-BE49-F238E27FC236}">
                  <a16:creationId xmlns:a16="http://schemas.microsoft.com/office/drawing/2014/main" id="{CBAEECBB-51D4-433E-0FC7-850D2E15C8A0}"/>
                </a:ext>
              </a:extLst>
            </p:cNvPr>
            <p:cNvSpPr/>
            <p:nvPr/>
          </p:nvSpPr>
          <p:spPr>
            <a:xfrm>
              <a:off x="3470475" y="3394850"/>
              <a:ext cx="95050" cy="43200"/>
            </a:xfrm>
            <a:custGeom>
              <a:avLst/>
              <a:gdLst/>
              <a:ahLst/>
              <a:cxnLst/>
              <a:rect l="l" t="t" r="r" b="b"/>
              <a:pathLst>
                <a:path w="3802" h="1728" extrusionOk="0">
                  <a:moveTo>
                    <a:pt x="104" y="0"/>
                  </a:moveTo>
                  <a:lnTo>
                    <a:pt x="35" y="69"/>
                  </a:lnTo>
                  <a:lnTo>
                    <a:pt x="0" y="173"/>
                  </a:lnTo>
                  <a:lnTo>
                    <a:pt x="0" y="311"/>
                  </a:lnTo>
                  <a:lnTo>
                    <a:pt x="0" y="1417"/>
                  </a:lnTo>
                  <a:lnTo>
                    <a:pt x="0" y="1521"/>
                  </a:lnTo>
                  <a:lnTo>
                    <a:pt x="35" y="1624"/>
                  </a:lnTo>
                  <a:lnTo>
                    <a:pt x="104" y="1693"/>
                  </a:lnTo>
                  <a:lnTo>
                    <a:pt x="208" y="1728"/>
                  </a:lnTo>
                  <a:lnTo>
                    <a:pt x="3594" y="1728"/>
                  </a:lnTo>
                  <a:lnTo>
                    <a:pt x="3663" y="1693"/>
                  </a:lnTo>
                  <a:lnTo>
                    <a:pt x="3732" y="1624"/>
                  </a:lnTo>
                  <a:lnTo>
                    <a:pt x="3802" y="1521"/>
                  </a:lnTo>
                  <a:lnTo>
                    <a:pt x="3802" y="1417"/>
                  </a:lnTo>
                  <a:lnTo>
                    <a:pt x="3802" y="311"/>
                  </a:lnTo>
                  <a:lnTo>
                    <a:pt x="3802" y="173"/>
                  </a:lnTo>
                  <a:lnTo>
                    <a:pt x="3732" y="69"/>
                  </a:lnTo>
                  <a:lnTo>
                    <a:pt x="366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4" name="Google Shape;2353;p11">
              <a:extLst>
                <a:ext uri="{FF2B5EF4-FFF2-40B4-BE49-F238E27FC236}">
                  <a16:creationId xmlns:a16="http://schemas.microsoft.com/office/drawing/2014/main" id="{A5A6E625-1C69-82E1-ED76-0DE7A36CF069}"/>
                </a:ext>
              </a:extLst>
            </p:cNvPr>
            <p:cNvSpPr/>
            <p:nvPr/>
          </p:nvSpPr>
          <p:spPr>
            <a:xfrm>
              <a:off x="3470475" y="3394850"/>
              <a:ext cx="95050" cy="43200"/>
            </a:xfrm>
            <a:custGeom>
              <a:avLst/>
              <a:gdLst/>
              <a:ahLst/>
              <a:cxnLst/>
              <a:rect l="l" t="t" r="r" b="b"/>
              <a:pathLst>
                <a:path w="3802" h="1728" fill="none" extrusionOk="0">
                  <a:moveTo>
                    <a:pt x="3594" y="0"/>
                  </a:moveTo>
                  <a:lnTo>
                    <a:pt x="208" y="0"/>
                  </a:lnTo>
                  <a:lnTo>
                    <a:pt x="208" y="0"/>
                  </a:lnTo>
                  <a:lnTo>
                    <a:pt x="104" y="0"/>
                  </a:lnTo>
                  <a:lnTo>
                    <a:pt x="35" y="69"/>
                  </a:lnTo>
                  <a:lnTo>
                    <a:pt x="0" y="173"/>
                  </a:lnTo>
                  <a:lnTo>
                    <a:pt x="0" y="311"/>
                  </a:lnTo>
                  <a:lnTo>
                    <a:pt x="0" y="1417"/>
                  </a:lnTo>
                  <a:lnTo>
                    <a:pt x="0" y="1417"/>
                  </a:lnTo>
                  <a:lnTo>
                    <a:pt x="0" y="1521"/>
                  </a:lnTo>
                  <a:lnTo>
                    <a:pt x="35" y="1624"/>
                  </a:lnTo>
                  <a:lnTo>
                    <a:pt x="104" y="1693"/>
                  </a:lnTo>
                  <a:lnTo>
                    <a:pt x="208" y="1728"/>
                  </a:lnTo>
                  <a:lnTo>
                    <a:pt x="3594" y="1728"/>
                  </a:lnTo>
                  <a:lnTo>
                    <a:pt x="3594" y="1728"/>
                  </a:lnTo>
                  <a:lnTo>
                    <a:pt x="3663" y="1693"/>
                  </a:lnTo>
                  <a:lnTo>
                    <a:pt x="3732" y="1624"/>
                  </a:lnTo>
                  <a:lnTo>
                    <a:pt x="3802" y="1521"/>
                  </a:lnTo>
                  <a:lnTo>
                    <a:pt x="3802" y="1417"/>
                  </a:lnTo>
                  <a:lnTo>
                    <a:pt x="3802" y="311"/>
                  </a:lnTo>
                  <a:lnTo>
                    <a:pt x="3802" y="311"/>
                  </a:lnTo>
                  <a:lnTo>
                    <a:pt x="3802" y="173"/>
                  </a:lnTo>
                  <a:lnTo>
                    <a:pt x="3732" y="69"/>
                  </a:lnTo>
                  <a:lnTo>
                    <a:pt x="3663" y="0"/>
                  </a:lnTo>
                  <a:lnTo>
                    <a:pt x="359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5" name="Google Shape;2354;p11">
              <a:extLst>
                <a:ext uri="{FF2B5EF4-FFF2-40B4-BE49-F238E27FC236}">
                  <a16:creationId xmlns:a16="http://schemas.microsoft.com/office/drawing/2014/main" id="{4D949872-B240-85CB-C021-2A23D9B46B4F}"/>
                </a:ext>
              </a:extLst>
            </p:cNvPr>
            <p:cNvSpPr/>
            <p:nvPr/>
          </p:nvSpPr>
          <p:spPr>
            <a:xfrm>
              <a:off x="3585375" y="3394850"/>
              <a:ext cx="89875" cy="43200"/>
            </a:xfrm>
            <a:custGeom>
              <a:avLst/>
              <a:gdLst/>
              <a:ahLst/>
              <a:cxnLst/>
              <a:rect l="l" t="t" r="r" b="b"/>
              <a:pathLst>
                <a:path w="3595" h="1728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82"/>
                  </a:lnTo>
                  <a:lnTo>
                    <a:pt x="35" y="1521"/>
                  </a:lnTo>
                  <a:lnTo>
                    <a:pt x="104" y="1624"/>
                  </a:lnTo>
                  <a:lnTo>
                    <a:pt x="208" y="1693"/>
                  </a:lnTo>
                  <a:lnTo>
                    <a:pt x="311" y="1728"/>
                  </a:lnTo>
                  <a:lnTo>
                    <a:pt x="3249" y="1728"/>
                  </a:lnTo>
                  <a:lnTo>
                    <a:pt x="3387" y="1693"/>
                  </a:lnTo>
                  <a:lnTo>
                    <a:pt x="3491" y="1624"/>
                  </a:lnTo>
                  <a:lnTo>
                    <a:pt x="3560" y="1521"/>
                  </a:lnTo>
                  <a:lnTo>
                    <a:pt x="3594" y="1382"/>
                  </a:lnTo>
                  <a:lnTo>
                    <a:pt x="3594" y="311"/>
                  </a:lnTo>
                  <a:lnTo>
                    <a:pt x="3560" y="173"/>
                  </a:lnTo>
                  <a:lnTo>
                    <a:pt x="3491" y="69"/>
                  </a:lnTo>
                  <a:lnTo>
                    <a:pt x="3387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6" name="Google Shape;2355;p11">
              <a:extLst>
                <a:ext uri="{FF2B5EF4-FFF2-40B4-BE49-F238E27FC236}">
                  <a16:creationId xmlns:a16="http://schemas.microsoft.com/office/drawing/2014/main" id="{5BC1BF11-A107-4BC6-96D6-7C062C7FBAF0}"/>
                </a:ext>
              </a:extLst>
            </p:cNvPr>
            <p:cNvSpPr/>
            <p:nvPr/>
          </p:nvSpPr>
          <p:spPr>
            <a:xfrm>
              <a:off x="3585375" y="3394850"/>
              <a:ext cx="89875" cy="43200"/>
            </a:xfrm>
            <a:custGeom>
              <a:avLst/>
              <a:gdLst/>
              <a:ahLst/>
              <a:cxnLst/>
              <a:rect l="l" t="t" r="r" b="b"/>
              <a:pathLst>
                <a:path w="3595" h="1728" fill="none" extrusionOk="0">
                  <a:moveTo>
                    <a:pt x="3249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311"/>
                  </a:lnTo>
                  <a:lnTo>
                    <a:pt x="0" y="1382"/>
                  </a:lnTo>
                  <a:lnTo>
                    <a:pt x="0" y="1382"/>
                  </a:lnTo>
                  <a:lnTo>
                    <a:pt x="35" y="1521"/>
                  </a:lnTo>
                  <a:lnTo>
                    <a:pt x="104" y="1624"/>
                  </a:lnTo>
                  <a:lnTo>
                    <a:pt x="208" y="1693"/>
                  </a:lnTo>
                  <a:lnTo>
                    <a:pt x="311" y="1728"/>
                  </a:lnTo>
                  <a:lnTo>
                    <a:pt x="3249" y="1728"/>
                  </a:lnTo>
                  <a:lnTo>
                    <a:pt x="3249" y="1728"/>
                  </a:lnTo>
                  <a:lnTo>
                    <a:pt x="3387" y="1693"/>
                  </a:lnTo>
                  <a:lnTo>
                    <a:pt x="3491" y="1624"/>
                  </a:lnTo>
                  <a:lnTo>
                    <a:pt x="3560" y="1521"/>
                  </a:lnTo>
                  <a:lnTo>
                    <a:pt x="3594" y="1382"/>
                  </a:lnTo>
                  <a:lnTo>
                    <a:pt x="3594" y="311"/>
                  </a:lnTo>
                  <a:lnTo>
                    <a:pt x="3594" y="311"/>
                  </a:lnTo>
                  <a:lnTo>
                    <a:pt x="3560" y="173"/>
                  </a:lnTo>
                  <a:lnTo>
                    <a:pt x="3491" y="69"/>
                  </a:lnTo>
                  <a:lnTo>
                    <a:pt x="3387" y="0"/>
                  </a:lnTo>
                  <a:lnTo>
                    <a:pt x="3249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7" name="Google Shape;2356;p11">
              <a:extLst>
                <a:ext uri="{FF2B5EF4-FFF2-40B4-BE49-F238E27FC236}">
                  <a16:creationId xmlns:a16="http://schemas.microsoft.com/office/drawing/2014/main" id="{7793AEF3-5DDB-2DCC-298D-BE9E6E3F0B6E}"/>
                </a:ext>
              </a:extLst>
            </p:cNvPr>
            <p:cNvSpPr/>
            <p:nvPr/>
          </p:nvSpPr>
          <p:spPr>
            <a:xfrm>
              <a:off x="2139175" y="3630675"/>
              <a:ext cx="415575" cy="415575"/>
            </a:xfrm>
            <a:custGeom>
              <a:avLst/>
              <a:gdLst/>
              <a:ahLst/>
              <a:cxnLst/>
              <a:rect l="l" t="t" r="r" b="b"/>
              <a:pathLst>
                <a:path w="16623" h="16623" extrusionOk="0">
                  <a:moveTo>
                    <a:pt x="8294" y="2489"/>
                  </a:moveTo>
                  <a:lnTo>
                    <a:pt x="8882" y="2524"/>
                  </a:lnTo>
                  <a:lnTo>
                    <a:pt x="9469" y="2627"/>
                  </a:lnTo>
                  <a:lnTo>
                    <a:pt x="10022" y="2765"/>
                  </a:lnTo>
                  <a:lnTo>
                    <a:pt x="10575" y="2973"/>
                  </a:lnTo>
                  <a:lnTo>
                    <a:pt x="11059" y="3215"/>
                  </a:lnTo>
                  <a:lnTo>
                    <a:pt x="11543" y="3491"/>
                  </a:lnTo>
                  <a:lnTo>
                    <a:pt x="11992" y="3837"/>
                  </a:lnTo>
                  <a:lnTo>
                    <a:pt x="12407" y="4217"/>
                  </a:lnTo>
                  <a:lnTo>
                    <a:pt x="12787" y="4632"/>
                  </a:lnTo>
                  <a:lnTo>
                    <a:pt x="13132" y="5081"/>
                  </a:lnTo>
                  <a:lnTo>
                    <a:pt x="13409" y="5565"/>
                  </a:lnTo>
                  <a:lnTo>
                    <a:pt x="13651" y="6048"/>
                  </a:lnTo>
                  <a:lnTo>
                    <a:pt x="13858" y="6601"/>
                  </a:lnTo>
                  <a:lnTo>
                    <a:pt x="13996" y="7154"/>
                  </a:lnTo>
                  <a:lnTo>
                    <a:pt x="14065" y="7707"/>
                  </a:lnTo>
                  <a:lnTo>
                    <a:pt x="14100" y="8329"/>
                  </a:lnTo>
                  <a:lnTo>
                    <a:pt x="14065" y="8917"/>
                  </a:lnTo>
                  <a:lnTo>
                    <a:pt x="13996" y="9469"/>
                  </a:lnTo>
                  <a:lnTo>
                    <a:pt x="13858" y="10057"/>
                  </a:lnTo>
                  <a:lnTo>
                    <a:pt x="13651" y="10575"/>
                  </a:lnTo>
                  <a:lnTo>
                    <a:pt x="13409" y="11094"/>
                  </a:lnTo>
                  <a:lnTo>
                    <a:pt x="13132" y="11577"/>
                  </a:lnTo>
                  <a:lnTo>
                    <a:pt x="12787" y="11992"/>
                  </a:lnTo>
                  <a:lnTo>
                    <a:pt x="12407" y="12407"/>
                  </a:lnTo>
                  <a:lnTo>
                    <a:pt x="11992" y="12787"/>
                  </a:lnTo>
                  <a:lnTo>
                    <a:pt x="11543" y="13132"/>
                  </a:lnTo>
                  <a:lnTo>
                    <a:pt x="11059" y="13409"/>
                  </a:lnTo>
                  <a:lnTo>
                    <a:pt x="10575" y="13651"/>
                  </a:lnTo>
                  <a:lnTo>
                    <a:pt x="10022" y="13858"/>
                  </a:lnTo>
                  <a:lnTo>
                    <a:pt x="9469" y="13996"/>
                  </a:lnTo>
                  <a:lnTo>
                    <a:pt x="8882" y="14100"/>
                  </a:lnTo>
                  <a:lnTo>
                    <a:pt x="8294" y="14135"/>
                  </a:lnTo>
                  <a:lnTo>
                    <a:pt x="7707" y="14100"/>
                  </a:lnTo>
                  <a:lnTo>
                    <a:pt x="7120" y="13996"/>
                  </a:lnTo>
                  <a:lnTo>
                    <a:pt x="6567" y="13858"/>
                  </a:lnTo>
                  <a:lnTo>
                    <a:pt x="6048" y="13651"/>
                  </a:lnTo>
                  <a:lnTo>
                    <a:pt x="5530" y="13409"/>
                  </a:lnTo>
                  <a:lnTo>
                    <a:pt x="5046" y="13132"/>
                  </a:lnTo>
                  <a:lnTo>
                    <a:pt x="4597" y="12787"/>
                  </a:lnTo>
                  <a:lnTo>
                    <a:pt x="4182" y="12407"/>
                  </a:lnTo>
                  <a:lnTo>
                    <a:pt x="3837" y="11992"/>
                  </a:lnTo>
                  <a:lnTo>
                    <a:pt x="3491" y="11577"/>
                  </a:lnTo>
                  <a:lnTo>
                    <a:pt x="3180" y="11094"/>
                  </a:lnTo>
                  <a:lnTo>
                    <a:pt x="2938" y="10575"/>
                  </a:lnTo>
                  <a:lnTo>
                    <a:pt x="2765" y="10057"/>
                  </a:lnTo>
                  <a:lnTo>
                    <a:pt x="2627" y="9469"/>
                  </a:lnTo>
                  <a:lnTo>
                    <a:pt x="2524" y="8917"/>
                  </a:lnTo>
                  <a:lnTo>
                    <a:pt x="2489" y="8329"/>
                  </a:lnTo>
                  <a:lnTo>
                    <a:pt x="2524" y="7707"/>
                  </a:lnTo>
                  <a:lnTo>
                    <a:pt x="2627" y="7154"/>
                  </a:lnTo>
                  <a:lnTo>
                    <a:pt x="2765" y="6601"/>
                  </a:lnTo>
                  <a:lnTo>
                    <a:pt x="2938" y="6048"/>
                  </a:lnTo>
                  <a:lnTo>
                    <a:pt x="3180" y="5565"/>
                  </a:lnTo>
                  <a:lnTo>
                    <a:pt x="3491" y="5081"/>
                  </a:lnTo>
                  <a:lnTo>
                    <a:pt x="3837" y="4632"/>
                  </a:lnTo>
                  <a:lnTo>
                    <a:pt x="4182" y="4217"/>
                  </a:lnTo>
                  <a:lnTo>
                    <a:pt x="4597" y="3837"/>
                  </a:lnTo>
                  <a:lnTo>
                    <a:pt x="5046" y="3491"/>
                  </a:lnTo>
                  <a:lnTo>
                    <a:pt x="5530" y="3215"/>
                  </a:lnTo>
                  <a:lnTo>
                    <a:pt x="6048" y="2973"/>
                  </a:lnTo>
                  <a:lnTo>
                    <a:pt x="6567" y="2765"/>
                  </a:lnTo>
                  <a:lnTo>
                    <a:pt x="7120" y="2627"/>
                  </a:lnTo>
                  <a:lnTo>
                    <a:pt x="7707" y="2524"/>
                  </a:lnTo>
                  <a:lnTo>
                    <a:pt x="8294" y="2489"/>
                  </a:lnTo>
                  <a:close/>
                  <a:moveTo>
                    <a:pt x="7880" y="1"/>
                  </a:moveTo>
                  <a:lnTo>
                    <a:pt x="7465" y="36"/>
                  </a:lnTo>
                  <a:lnTo>
                    <a:pt x="7050" y="105"/>
                  </a:lnTo>
                  <a:lnTo>
                    <a:pt x="6636" y="174"/>
                  </a:lnTo>
                  <a:lnTo>
                    <a:pt x="5841" y="381"/>
                  </a:lnTo>
                  <a:lnTo>
                    <a:pt x="5081" y="658"/>
                  </a:lnTo>
                  <a:lnTo>
                    <a:pt x="4355" y="1003"/>
                  </a:lnTo>
                  <a:lnTo>
                    <a:pt x="3664" y="1418"/>
                  </a:lnTo>
                  <a:lnTo>
                    <a:pt x="3007" y="1902"/>
                  </a:lnTo>
                  <a:lnTo>
                    <a:pt x="2420" y="2454"/>
                  </a:lnTo>
                  <a:lnTo>
                    <a:pt x="1902" y="3042"/>
                  </a:lnTo>
                  <a:lnTo>
                    <a:pt x="1418" y="3664"/>
                  </a:lnTo>
                  <a:lnTo>
                    <a:pt x="1003" y="4355"/>
                  </a:lnTo>
                  <a:lnTo>
                    <a:pt x="658" y="5081"/>
                  </a:lnTo>
                  <a:lnTo>
                    <a:pt x="381" y="5841"/>
                  </a:lnTo>
                  <a:lnTo>
                    <a:pt x="174" y="6636"/>
                  </a:lnTo>
                  <a:lnTo>
                    <a:pt x="105" y="7050"/>
                  </a:lnTo>
                  <a:lnTo>
                    <a:pt x="36" y="7465"/>
                  </a:lnTo>
                  <a:lnTo>
                    <a:pt x="1" y="7880"/>
                  </a:lnTo>
                  <a:lnTo>
                    <a:pt x="1" y="8329"/>
                  </a:lnTo>
                  <a:lnTo>
                    <a:pt x="1" y="8744"/>
                  </a:lnTo>
                  <a:lnTo>
                    <a:pt x="36" y="9158"/>
                  </a:lnTo>
                  <a:lnTo>
                    <a:pt x="105" y="9573"/>
                  </a:lnTo>
                  <a:lnTo>
                    <a:pt x="174" y="9988"/>
                  </a:lnTo>
                  <a:lnTo>
                    <a:pt x="381" y="10783"/>
                  </a:lnTo>
                  <a:lnTo>
                    <a:pt x="658" y="11543"/>
                  </a:lnTo>
                  <a:lnTo>
                    <a:pt x="1003" y="12269"/>
                  </a:lnTo>
                  <a:lnTo>
                    <a:pt x="1418" y="12960"/>
                  </a:lnTo>
                  <a:lnTo>
                    <a:pt x="1902" y="13582"/>
                  </a:lnTo>
                  <a:lnTo>
                    <a:pt x="2420" y="14204"/>
                  </a:lnTo>
                  <a:lnTo>
                    <a:pt x="3007" y="14722"/>
                  </a:lnTo>
                  <a:lnTo>
                    <a:pt x="3664" y="15206"/>
                  </a:lnTo>
                  <a:lnTo>
                    <a:pt x="4355" y="15620"/>
                  </a:lnTo>
                  <a:lnTo>
                    <a:pt x="5081" y="15966"/>
                  </a:lnTo>
                  <a:lnTo>
                    <a:pt x="5841" y="16242"/>
                  </a:lnTo>
                  <a:lnTo>
                    <a:pt x="6636" y="16450"/>
                  </a:lnTo>
                  <a:lnTo>
                    <a:pt x="7050" y="16519"/>
                  </a:lnTo>
                  <a:lnTo>
                    <a:pt x="7465" y="16588"/>
                  </a:lnTo>
                  <a:lnTo>
                    <a:pt x="7880" y="16623"/>
                  </a:lnTo>
                  <a:lnTo>
                    <a:pt x="8744" y="16623"/>
                  </a:lnTo>
                  <a:lnTo>
                    <a:pt x="9158" y="16588"/>
                  </a:lnTo>
                  <a:lnTo>
                    <a:pt x="9573" y="16519"/>
                  </a:lnTo>
                  <a:lnTo>
                    <a:pt x="9988" y="16450"/>
                  </a:lnTo>
                  <a:lnTo>
                    <a:pt x="10783" y="16242"/>
                  </a:lnTo>
                  <a:lnTo>
                    <a:pt x="11543" y="15966"/>
                  </a:lnTo>
                  <a:lnTo>
                    <a:pt x="12268" y="15620"/>
                  </a:lnTo>
                  <a:lnTo>
                    <a:pt x="12960" y="15206"/>
                  </a:lnTo>
                  <a:lnTo>
                    <a:pt x="13582" y="14722"/>
                  </a:lnTo>
                  <a:lnTo>
                    <a:pt x="14169" y="14204"/>
                  </a:lnTo>
                  <a:lnTo>
                    <a:pt x="14722" y="13582"/>
                  </a:lnTo>
                  <a:lnTo>
                    <a:pt x="15206" y="12960"/>
                  </a:lnTo>
                  <a:lnTo>
                    <a:pt x="15620" y="12269"/>
                  </a:lnTo>
                  <a:lnTo>
                    <a:pt x="15966" y="11543"/>
                  </a:lnTo>
                  <a:lnTo>
                    <a:pt x="16242" y="10783"/>
                  </a:lnTo>
                  <a:lnTo>
                    <a:pt x="16450" y="9988"/>
                  </a:lnTo>
                  <a:lnTo>
                    <a:pt x="16519" y="9573"/>
                  </a:lnTo>
                  <a:lnTo>
                    <a:pt x="16553" y="9158"/>
                  </a:lnTo>
                  <a:lnTo>
                    <a:pt x="16588" y="8744"/>
                  </a:lnTo>
                  <a:lnTo>
                    <a:pt x="16623" y="8329"/>
                  </a:lnTo>
                  <a:lnTo>
                    <a:pt x="16588" y="7880"/>
                  </a:lnTo>
                  <a:lnTo>
                    <a:pt x="16553" y="7465"/>
                  </a:lnTo>
                  <a:lnTo>
                    <a:pt x="16519" y="7050"/>
                  </a:lnTo>
                  <a:lnTo>
                    <a:pt x="16450" y="6636"/>
                  </a:lnTo>
                  <a:lnTo>
                    <a:pt x="16242" y="5841"/>
                  </a:lnTo>
                  <a:lnTo>
                    <a:pt x="15966" y="5081"/>
                  </a:lnTo>
                  <a:lnTo>
                    <a:pt x="15620" y="4355"/>
                  </a:lnTo>
                  <a:lnTo>
                    <a:pt x="15206" y="3664"/>
                  </a:lnTo>
                  <a:lnTo>
                    <a:pt x="14722" y="3042"/>
                  </a:lnTo>
                  <a:lnTo>
                    <a:pt x="14169" y="2454"/>
                  </a:lnTo>
                  <a:lnTo>
                    <a:pt x="13582" y="1902"/>
                  </a:lnTo>
                  <a:lnTo>
                    <a:pt x="12960" y="1418"/>
                  </a:lnTo>
                  <a:lnTo>
                    <a:pt x="12268" y="1003"/>
                  </a:lnTo>
                  <a:lnTo>
                    <a:pt x="11543" y="658"/>
                  </a:lnTo>
                  <a:lnTo>
                    <a:pt x="10783" y="381"/>
                  </a:lnTo>
                  <a:lnTo>
                    <a:pt x="9988" y="174"/>
                  </a:lnTo>
                  <a:lnTo>
                    <a:pt x="9573" y="105"/>
                  </a:lnTo>
                  <a:lnTo>
                    <a:pt x="9158" y="36"/>
                  </a:lnTo>
                  <a:lnTo>
                    <a:pt x="8744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8" name="Google Shape;2357;p11">
              <a:extLst>
                <a:ext uri="{FF2B5EF4-FFF2-40B4-BE49-F238E27FC236}">
                  <a16:creationId xmlns:a16="http://schemas.microsoft.com/office/drawing/2014/main" id="{0E3E64D9-AEB0-5F25-7885-C57CC69E9C72}"/>
                </a:ext>
              </a:extLst>
            </p:cNvPr>
            <p:cNvSpPr/>
            <p:nvPr/>
          </p:nvSpPr>
          <p:spPr>
            <a:xfrm>
              <a:off x="2614325" y="1158175"/>
              <a:ext cx="958100" cy="2681600"/>
            </a:xfrm>
            <a:custGeom>
              <a:avLst/>
              <a:gdLst/>
              <a:ahLst/>
              <a:cxnLst/>
              <a:rect l="l" t="t" r="r" b="b"/>
              <a:pathLst>
                <a:path w="38324" h="107264" extrusionOk="0">
                  <a:moveTo>
                    <a:pt x="29996" y="1"/>
                  </a:moveTo>
                  <a:lnTo>
                    <a:pt x="28026" y="70"/>
                  </a:lnTo>
                  <a:lnTo>
                    <a:pt x="26195" y="208"/>
                  </a:lnTo>
                  <a:lnTo>
                    <a:pt x="24467" y="381"/>
                  </a:lnTo>
                  <a:lnTo>
                    <a:pt x="22808" y="588"/>
                  </a:lnTo>
                  <a:lnTo>
                    <a:pt x="21288" y="899"/>
                  </a:lnTo>
                  <a:lnTo>
                    <a:pt x="19836" y="1245"/>
                  </a:lnTo>
                  <a:lnTo>
                    <a:pt x="18489" y="1659"/>
                  </a:lnTo>
                  <a:lnTo>
                    <a:pt x="17832" y="1867"/>
                  </a:lnTo>
                  <a:lnTo>
                    <a:pt x="17210" y="2109"/>
                  </a:lnTo>
                  <a:lnTo>
                    <a:pt x="16623" y="2350"/>
                  </a:lnTo>
                  <a:lnTo>
                    <a:pt x="16035" y="2627"/>
                  </a:lnTo>
                  <a:lnTo>
                    <a:pt x="15482" y="2903"/>
                  </a:lnTo>
                  <a:lnTo>
                    <a:pt x="14964" y="3214"/>
                  </a:lnTo>
                  <a:lnTo>
                    <a:pt x="14446" y="3525"/>
                  </a:lnTo>
                  <a:lnTo>
                    <a:pt x="13927" y="3871"/>
                  </a:lnTo>
                  <a:lnTo>
                    <a:pt x="13478" y="4216"/>
                  </a:lnTo>
                  <a:lnTo>
                    <a:pt x="13029" y="4562"/>
                  </a:lnTo>
                  <a:lnTo>
                    <a:pt x="12579" y="4942"/>
                  </a:lnTo>
                  <a:lnTo>
                    <a:pt x="12165" y="5322"/>
                  </a:lnTo>
                  <a:lnTo>
                    <a:pt x="11577" y="5910"/>
                  </a:lnTo>
                  <a:lnTo>
                    <a:pt x="11059" y="6532"/>
                  </a:lnTo>
                  <a:lnTo>
                    <a:pt x="10575" y="7188"/>
                  </a:lnTo>
                  <a:lnTo>
                    <a:pt x="10126" y="7879"/>
                  </a:lnTo>
                  <a:lnTo>
                    <a:pt x="9711" y="8605"/>
                  </a:lnTo>
                  <a:lnTo>
                    <a:pt x="9331" y="9365"/>
                  </a:lnTo>
                  <a:lnTo>
                    <a:pt x="8986" y="10160"/>
                  </a:lnTo>
                  <a:lnTo>
                    <a:pt x="8709" y="10990"/>
                  </a:lnTo>
                  <a:lnTo>
                    <a:pt x="8433" y="11853"/>
                  </a:lnTo>
                  <a:lnTo>
                    <a:pt x="8225" y="12752"/>
                  </a:lnTo>
                  <a:lnTo>
                    <a:pt x="8053" y="13685"/>
                  </a:lnTo>
                  <a:lnTo>
                    <a:pt x="7914" y="14652"/>
                  </a:lnTo>
                  <a:lnTo>
                    <a:pt x="7811" y="15655"/>
                  </a:lnTo>
                  <a:lnTo>
                    <a:pt x="7742" y="16691"/>
                  </a:lnTo>
                  <a:lnTo>
                    <a:pt x="7707" y="17763"/>
                  </a:lnTo>
                  <a:lnTo>
                    <a:pt x="7742" y="18868"/>
                  </a:lnTo>
                  <a:lnTo>
                    <a:pt x="7776" y="19559"/>
                  </a:lnTo>
                  <a:lnTo>
                    <a:pt x="7845" y="20216"/>
                  </a:lnTo>
                  <a:lnTo>
                    <a:pt x="7983" y="20873"/>
                  </a:lnTo>
                  <a:lnTo>
                    <a:pt x="8122" y="21495"/>
                  </a:lnTo>
                  <a:lnTo>
                    <a:pt x="8329" y="22117"/>
                  </a:lnTo>
                  <a:lnTo>
                    <a:pt x="8536" y="22704"/>
                  </a:lnTo>
                  <a:lnTo>
                    <a:pt x="8813" y="23292"/>
                  </a:lnTo>
                  <a:lnTo>
                    <a:pt x="9089" y="23879"/>
                  </a:lnTo>
                  <a:lnTo>
                    <a:pt x="9435" y="24432"/>
                  </a:lnTo>
                  <a:lnTo>
                    <a:pt x="9780" y="24950"/>
                  </a:lnTo>
                  <a:lnTo>
                    <a:pt x="10161" y="25503"/>
                  </a:lnTo>
                  <a:lnTo>
                    <a:pt x="10575" y="25987"/>
                  </a:lnTo>
                  <a:lnTo>
                    <a:pt x="11024" y="26505"/>
                  </a:lnTo>
                  <a:lnTo>
                    <a:pt x="11474" y="26989"/>
                  </a:lnTo>
                  <a:lnTo>
                    <a:pt x="11957" y="27473"/>
                  </a:lnTo>
                  <a:lnTo>
                    <a:pt x="12476" y="27922"/>
                  </a:lnTo>
                  <a:lnTo>
                    <a:pt x="13547" y="28855"/>
                  </a:lnTo>
                  <a:lnTo>
                    <a:pt x="14687" y="29719"/>
                  </a:lnTo>
                  <a:lnTo>
                    <a:pt x="15897" y="30548"/>
                  </a:lnTo>
                  <a:lnTo>
                    <a:pt x="17141" y="31378"/>
                  </a:lnTo>
                  <a:lnTo>
                    <a:pt x="18420" y="32138"/>
                  </a:lnTo>
                  <a:lnTo>
                    <a:pt x="19733" y="32933"/>
                  </a:lnTo>
                  <a:lnTo>
                    <a:pt x="22394" y="34453"/>
                  </a:lnTo>
                  <a:lnTo>
                    <a:pt x="25193" y="36043"/>
                  </a:lnTo>
                  <a:lnTo>
                    <a:pt x="26540" y="36838"/>
                  </a:lnTo>
                  <a:lnTo>
                    <a:pt x="27853" y="37667"/>
                  </a:lnTo>
                  <a:lnTo>
                    <a:pt x="29132" y="38496"/>
                  </a:lnTo>
                  <a:lnTo>
                    <a:pt x="30307" y="39326"/>
                  </a:lnTo>
                  <a:lnTo>
                    <a:pt x="31413" y="40224"/>
                  </a:lnTo>
                  <a:lnTo>
                    <a:pt x="31897" y="40673"/>
                  </a:lnTo>
                  <a:lnTo>
                    <a:pt x="32415" y="41123"/>
                  </a:lnTo>
                  <a:lnTo>
                    <a:pt x="32864" y="41572"/>
                  </a:lnTo>
                  <a:lnTo>
                    <a:pt x="33313" y="42056"/>
                  </a:lnTo>
                  <a:lnTo>
                    <a:pt x="33728" y="42539"/>
                  </a:lnTo>
                  <a:lnTo>
                    <a:pt x="34074" y="43058"/>
                  </a:lnTo>
                  <a:lnTo>
                    <a:pt x="34419" y="43542"/>
                  </a:lnTo>
                  <a:lnTo>
                    <a:pt x="34730" y="44095"/>
                  </a:lnTo>
                  <a:lnTo>
                    <a:pt x="35007" y="44613"/>
                  </a:lnTo>
                  <a:lnTo>
                    <a:pt x="35248" y="45166"/>
                  </a:lnTo>
                  <a:lnTo>
                    <a:pt x="35456" y="45719"/>
                  </a:lnTo>
                  <a:lnTo>
                    <a:pt x="35594" y="46306"/>
                  </a:lnTo>
                  <a:lnTo>
                    <a:pt x="35732" y="46928"/>
                  </a:lnTo>
                  <a:lnTo>
                    <a:pt x="35801" y="47516"/>
                  </a:lnTo>
                  <a:lnTo>
                    <a:pt x="35836" y="48138"/>
                  </a:lnTo>
                  <a:lnTo>
                    <a:pt x="35801" y="48794"/>
                  </a:lnTo>
                  <a:lnTo>
                    <a:pt x="35767" y="49485"/>
                  </a:lnTo>
                  <a:lnTo>
                    <a:pt x="35629" y="50142"/>
                  </a:lnTo>
                  <a:lnTo>
                    <a:pt x="35525" y="50591"/>
                  </a:lnTo>
                  <a:lnTo>
                    <a:pt x="35387" y="50971"/>
                  </a:lnTo>
                  <a:lnTo>
                    <a:pt x="35248" y="51386"/>
                  </a:lnTo>
                  <a:lnTo>
                    <a:pt x="35041" y="51731"/>
                  </a:lnTo>
                  <a:lnTo>
                    <a:pt x="34834" y="52112"/>
                  </a:lnTo>
                  <a:lnTo>
                    <a:pt x="34557" y="52457"/>
                  </a:lnTo>
                  <a:lnTo>
                    <a:pt x="34281" y="52768"/>
                  </a:lnTo>
                  <a:lnTo>
                    <a:pt x="34004" y="53114"/>
                  </a:lnTo>
                  <a:lnTo>
                    <a:pt x="33659" y="53390"/>
                  </a:lnTo>
                  <a:lnTo>
                    <a:pt x="33313" y="53701"/>
                  </a:lnTo>
                  <a:lnTo>
                    <a:pt x="32933" y="53978"/>
                  </a:lnTo>
                  <a:lnTo>
                    <a:pt x="32519" y="54254"/>
                  </a:lnTo>
                  <a:lnTo>
                    <a:pt x="31655" y="54772"/>
                  </a:lnTo>
                  <a:lnTo>
                    <a:pt x="30722" y="55222"/>
                  </a:lnTo>
                  <a:lnTo>
                    <a:pt x="29719" y="55671"/>
                  </a:lnTo>
                  <a:lnTo>
                    <a:pt x="28648" y="56086"/>
                  </a:lnTo>
                  <a:lnTo>
                    <a:pt x="27508" y="56466"/>
                  </a:lnTo>
                  <a:lnTo>
                    <a:pt x="26333" y="56811"/>
                  </a:lnTo>
                  <a:lnTo>
                    <a:pt x="25123" y="57157"/>
                  </a:lnTo>
                  <a:lnTo>
                    <a:pt x="23879" y="57502"/>
                  </a:lnTo>
                  <a:lnTo>
                    <a:pt x="21322" y="58159"/>
                  </a:lnTo>
                  <a:lnTo>
                    <a:pt x="18454" y="58919"/>
                  </a:lnTo>
                  <a:lnTo>
                    <a:pt x="17037" y="59299"/>
                  </a:lnTo>
                  <a:lnTo>
                    <a:pt x="15620" y="59714"/>
                  </a:lnTo>
                  <a:lnTo>
                    <a:pt x="14273" y="60163"/>
                  </a:lnTo>
                  <a:lnTo>
                    <a:pt x="12925" y="60647"/>
                  </a:lnTo>
                  <a:lnTo>
                    <a:pt x="11646" y="61165"/>
                  </a:lnTo>
                  <a:lnTo>
                    <a:pt x="10437" y="61718"/>
                  </a:lnTo>
                  <a:lnTo>
                    <a:pt x="9746" y="62098"/>
                  </a:lnTo>
                  <a:lnTo>
                    <a:pt x="9089" y="62479"/>
                  </a:lnTo>
                  <a:lnTo>
                    <a:pt x="8502" y="62859"/>
                  </a:lnTo>
                  <a:lnTo>
                    <a:pt x="7914" y="63273"/>
                  </a:lnTo>
                  <a:lnTo>
                    <a:pt x="7396" y="63688"/>
                  </a:lnTo>
                  <a:lnTo>
                    <a:pt x="6878" y="64137"/>
                  </a:lnTo>
                  <a:lnTo>
                    <a:pt x="6428" y="64586"/>
                  </a:lnTo>
                  <a:lnTo>
                    <a:pt x="6014" y="65070"/>
                  </a:lnTo>
                  <a:lnTo>
                    <a:pt x="5634" y="65554"/>
                  </a:lnTo>
                  <a:lnTo>
                    <a:pt x="5288" y="66038"/>
                  </a:lnTo>
                  <a:lnTo>
                    <a:pt x="4977" y="66556"/>
                  </a:lnTo>
                  <a:lnTo>
                    <a:pt x="4701" y="67075"/>
                  </a:lnTo>
                  <a:lnTo>
                    <a:pt x="4459" y="67627"/>
                  </a:lnTo>
                  <a:lnTo>
                    <a:pt x="4286" y="68215"/>
                  </a:lnTo>
                  <a:lnTo>
                    <a:pt x="4113" y="68768"/>
                  </a:lnTo>
                  <a:lnTo>
                    <a:pt x="3975" y="69390"/>
                  </a:lnTo>
                  <a:lnTo>
                    <a:pt x="3906" y="69908"/>
                  </a:lnTo>
                  <a:lnTo>
                    <a:pt x="3871" y="70461"/>
                  </a:lnTo>
                  <a:lnTo>
                    <a:pt x="3837" y="70979"/>
                  </a:lnTo>
                  <a:lnTo>
                    <a:pt x="3837" y="71498"/>
                  </a:lnTo>
                  <a:lnTo>
                    <a:pt x="3871" y="72051"/>
                  </a:lnTo>
                  <a:lnTo>
                    <a:pt x="3940" y="72569"/>
                  </a:lnTo>
                  <a:lnTo>
                    <a:pt x="4044" y="73053"/>
                  </a:lnTo>
                  <a:lnTo>
                    <a:pt x="4148" y="73571"/>
                  </a:lnTo>
                  <a:lnTo>
                    <a:pt x="4321" y="74089"/>
                  </a:lnTo>
                  <a:lnTo>
                    <a:pt x="4493" y="74608"/>
                  </a:lnTo>
                  <a:lnTo>
                    <a:pt x="4701" y="75092"/>
                  </a:lnTo>
                  <a:lnTo>
                    <a:pt x="4943" y="75610"/>
                  </a:lnTo>
                  <a:lnTo>
                    <a:pt x="5219" y="76094"/>
                  </a:lnTo>
                  <a:lnTo>
                    <a:pt x="5530" y="76578"/>
                  </a:lnTo>
                  <a:lnTo>
                    <a:pt x="5841" y="77096"/>
                  </a:lnTo>
                  <a:lnTo>
                    <a:pt x="6221" y="77580"/>
                  </a:lnTo>
                  <a:lnTo>
                    <a:pt x="6878" y="78374"/>
                  </a:lnTo>
                  <a:lnTo>
                    <a:pt x="7569" y="79169"/>
                  </a:lnTo>
                  <a:lnTo>
                    <a:pt x="8329" y="79930"/>
                  </a:lnTo>
                  <a:lnTo>
                    <a:pt x="9124" y="80690"/>
                  </a:lnTo>
                  <a:lnTo>
                    <a:pt x="9953" y="81415"/>
                  </a:lnTo>
                  <a:lnTo>
                    <a:pt x="10817" y="82107"/>
                  </a:lnTo>
                  <a:lnTo>
                    <a:pt x="12510" y="83523"/>
                  </a:lnTo>
                  <a:lnTo>
                    <a:pt x="13962" y="84698"/>
                  </a:lnTo>
                  <a:lnTo>
                    <a:pt x="15344" y="85839"/>
                  </a:lnTo>
                  <a:lnTo>
                    <a:pt x="16001" y="86426"/>
                  </a:lnTo>
                  <a:lnTo>
                    <a:pt x="16623" y="87014"/>
                  </a:lnTo>
                  <a:lnTo>
                    <a:pt x="17210" y="87636"/>
                  </a:lnTo>
                  <a:lnTo>
                    <a:pt x="17763" y="88223"/>
                  </a:lnTo>
                  <a:lnTo>
                    <a:pt x="18281" y="88845"/>
                  </a:lnTo>
                  <a:lnTo>
                    <a:pt x="18731" y="89467"/>
                  </a:lnTo>
                  <a:lnTo>
                    <a:pt x="19111" y="90124"/>
                  </a:lnTo>
                  <a:lnTo>
                    <a:pt x="19456" y="90780"/>
                  </a:lnTo>
                  <a:lnTo>
                    <a:pt x="19733" y="91437"/>
                  </a:lnTo>
                  <a:lnTo>
                    <a:pt x="19940" y="92162"/>
                  </a:lnTo>
                  <a:lnTo>
                    <a:pt x="20044" y="92854"/>
                  </a:lnTo>
                  <a:lnTo>
                    <a:pt x="20078" y="93234"/>
                  </a:lnTo>
                  <a:lnTo>
                    <a:pt x="20078" y="93579"/>
                  </a:lnTo>
                  <a:lnTo>
                    <a:pt x="20078" y="94063"/>
                  </a:lnTo>
                  <a:lnTo>
                    <a:pt x="20044" y="94547"/>
                  </a:lnTo>
                  <a:lnTo>
                    <a:pt x="19975" y="94996"/>
                  </a:lnTo>
                  <a:lnTo>
                    <a:pt x="19905" y="95445"/>
                  </a:lnTo>
                  <a:lnTo>
                    <a:pt x="19802" y="95895"/>
                  </a:lnTo>
                  <a:lnTo>
                    <a:pt x="19664" y="96344"/>
                  </a:lnTo>
                  <a:lnTo>
                    <a:pt x="19491" y="96758"/>
                  </a:lnTo>
                  <a:lnTo>
                    <a:pt x="19318" y="97173"/>
                  </a:lnTo>
                  <a:lnTo>
                    <a:pt x="19111" y="97588"/>
                  </a:lnTo>
                  <a:lnTo>
                    <a:pt x="18869" y="97968"/>
                  </a:lnTo>
                  <a:lnTo>
                    <a:pt x="18627" y="98383"/>
                  </a:lnTo>
                  <a:lnTo>
                    <a:pt x="18350" y="98763"/>
                  </a:lnTo>
                  <a:lnTo>
                    <a:pt x="18039" y="99143"/>
                  </a:lnTo>
                  <a:lnTo>
                    <a:pt x="17728" y="99488"/>
                  </a:lnTo>
                  <a:lnTo>
                    <a:pt x="17383" y="99869"/>
                  </a:lnTo>
                  <a:lnTo>
                    <a:pt x="17003" y="100214"/>
                  </a:lnTo>
                  <a:lnTo>
                    <a:pt x="16208" y="100871"/>
                  </a:lnTo>
                  <a:lnTo>
                    <a:pt x="15379" y="101458"/>
                  </a:lnTo>
                  <a:lnTo>
                    <a:pt x="14480" y="102011"/>
                  </a:lnTo>
                  <a:lnTo>
                    <a:pt x="13513" y="102495"/>
                  </a:lnTo>
                  <a:lnTo>
                    <a:pt x="12545" y="102944"/>
                  </a:lnTo>
                  <a:lnTo>
                    <a:pt x="11508" y="103324"/>
                  </a:lnTo>
                  <a:lnTo>
                    <a:pt x="10472" y="103670"/>
                  </a:lnTo>
                  <a:lnTo>
                    <a:pt x="9400" y="103981"/>
                  </a:lnTo>
                  <a:lnTo>
                    <a:pt x="8364" y="104223"/>
                  </a:lnTo>
                  <a:lnTo>
                    <a:pt x="7292" y="104430"/>
                  </a:lnTo>
                  <a:lnTo>
                    <a:pt x="6256" y="104568"/>
                  </a:lnTo>
                  <a:lnTo>
                    <a:pt x="5219" y="104706"/>
                  </a:lnTo>
                  <a:lnTo>
                    <a:pt x="4182" y="104741"/>
                  </a:lnTo>
                  <a:lnTo>
                    <a:pt x="3215" y="104776"/>
                  </a:lnTo>
                  <a:lnTo>
                    <a:pt x="2282" y="104741"/>
                  </a:lnTo>
                  <a:lnTo>
                    <a:pt x="1383" y="104672"/>
                  </a:lnTo>
                  <a:lnTo>
                    <a:pt x="1141" y="104672"/>
                  </a:lnTo>
                  <a:lnTo>
                    <a:pt x="899" y="104706"/>
                  </a:lnTo>
                  <a:lnTo>
                    <a:pt x="692" y="104810"/>
                  </a:lnTo>
                  <a:lnTo>
                    <a:pt x="485" y="104948"/>
                  </a:lnTo>
                  <a:lnTo>
                    <a:pt x="312" y="105121"/>
                  </a:lnTo>
                  <a:lnTo>
                    <a:pt x="174" y="105294"/>
                  </a:lnTo>
                  <a:lnTo>
                    <a:pt x="70" y="105536"/>
                  </a:lnTo>
                  <a:lnTo>
                    <a:pt x="1" y="105778"/>
                  </a:lnTo>
                  <a:lnTo>
                    <a:pt x="1" y="106020"/>
                  </a:lnTo>
                  <a:lnTo>
                    <a:pt x="70" y="106261"/>
                  </a:lnTo>
                  <a:lnTo>
                    <a:pt x="139" y="106503"/>
                  </a:lnTo>
                  <a:lnTo>
                    <a:pt x="277" y="106711"/>
                  </a:lnTo>
                  <a:lnTo>
                    <a:pt x="450" y="106884"/>
                  </a:lnTo>
                  <a:lnTo>
                    <a:pt x="658" y="107022"/>
                  </a:lnTo>
                  <a:lnTo>
                    <a:pt x="865" y="107091"/>
                  </a:lnTo>
                  <a:lnTo>
                    <a:pt x="1107" y="107160"/>
                  </a:lnTo>
                  <a:lnTo>
                    <a:pt x="2213" y="107229"/>
                  </a:lnTo>
                  <a:lnTo>
                    <a:pt x="3353" y="107264"/>
                  </a:lnTo>
                  <a:lnTo>
                    <a:pt x="4321" y="107264"/>
                  </a:lnTo>
                  <a:lnTo>
                    <a:pt x="5288" y="107195"/>
                  </a:lnTo>
                  <a:lnTo>
                    <a:pt x="6290" y="107091"/>
                  </a:lnTo>
                  <a:lnTo>
                    <a:pt x="7327" y="106953"/>
                  </a:lnTo>
                  <a:lnTo>
                    <a:pt x="8329" y="106780"/>
                  </a:lnTo>
                  <a:lnTo>
                    <a:pt x="9366" y="106573"/>
                  </a:lnTo>
                  <a:lnTo>
                    <a:pt x="10402" y="106296"/>
                  </a:lnTo>
                  <a:lnTo>
                    <a:pt x="11405" y="106020"/>
                  </a:lnTo>
                  <a:lnTo>
                    <a:pt x="12407" y="105674"/>
                  </a:lnTo>
                  <a:lnTo>
                    <a:pt x="13409" y="105294"/>
                  </a:lnTo>
                  <a:lnTo>
                    <a:pt x="14376" y="104845"/>
                  </a:lnTo>
                  <a:lnTo>
                    <a:pt x="15309" y="104395"/>
                  </a:lnTo>
                  <a:lnTo>
                    <a:pt x="16208" y="103877"/>
                  </a:lnTo>
                  <a:lnTo>
                    <a:pt x="17072" y="103324"/>
                  </a:lnTo>
                  <a:lnTo>
                    <a:pt x="17901" y="102702"/>
                  </a:lnTo>
                  <a:lnTo>
                    <a:pt x="18661" y="102080"/>
                  </a:lnTo>
                  <a:lnTo>
                    <a:pt x="19145" y="101631"/>
                  </a:lnTo>
                  <a:lnTo>
                    <a:pt x="19594" y="101182"/>
                  </a:lnTo>
                  <a:lnTo>
                    <a:pt x="20009" y="100698"/>
                  </a:lnTo>
                  <a:lnTo>
                    <a:pt x="20389" y="100214"/>
                  </a:lnTo>
                  <a:lnTo>
                    <a:pt x="20735" y="99730"/>
                  </a:lnTo>
                  <a:lnTo>
                    <a:pt x="21046" y="99247"/>
                  </a:lnTo>
                  <a:lnTo>
                    <a:pt x="21357" y="98728"/>
                  </a:lnTo>
                  <a:lnTo>
                    <a:pt x="21599" y="98210"/>
                  </a:lnTo>
                  <a:lnTo>
                    <a:pt x="21841" y="97657"/>
                  </a:lnTo>
                  <a:lnTo>
                    <a:pt x="22048" y="97104"/>
                  </a:lnTo>
                  <a:lnTo>
                    <a:pt x="22221" y="96551"/>
                  </a:lnTo>
                  <a:lnTo>
                    <a:pt x="22359" y="95998"/>
                  </a:lnTo>
                  <a:lnTo>
                    <a:pt x="22463" y="95411"/>
                  </a:lnTo>
                  <a:lnTo>
                    <a:pt x="22532" y="94823"/>
                  </a:lnTo>
                  <a:lnTo>
                    <a:pt x="22566" y="94201"/>
                  </a:lnTo>
                  <a:lnTo>
                    <a:pt x="22601" y="93579"/>
                  </a:lnTo>
                  <a:lnTo>
                    <a:pt x="22566" y="93130"/>
                  </a:lnTo>
                  <a:lnTo>
                    <a:pt x="22532" y="92646"/>
                  </a:lnTo>
                  <a:lnTo>
                    <a:pt x="22463" y="92197"/>
                  </a:lnTo>
                  <a:lnTo>
                    <a:pt x="22394" y="91713"/>
                  </a:lnTo>
                  <a:lnTo>
                    <a:pt x="22290" y="91299"/>
                  </a:lnTo>
                  <a:lnTo>
                    <a:pt x="22152" y="90849"/>
                  </a:lnTo>
                  <a:lnTo>
                    <a:pt x="22013" y="90435"/>
                  </a:lnTo>
                  <a:lnTo>
                    <a:pt x="21841" y="89985"/>
                  </a:lnTo>
                  <a:lnTo>
                    <a:pt x="21460" y="89191"/>
                  </a:lnTo>
                  <a:lnTo>
                    <a:pt x="21011" y="88396"/>
                  </a:lnTo>
                  <a:lnTo>
                    <a:pt x="20493" y="87636"/>
                  </a:lnTo>
                  <a:lnTo>
                    <a:pt x="19905" y="86910"/>
                  </a:lnTo>
                  <a:lnTo>
                    <a:pt x="19283" y="86184"/>
                  </a:lnTo>
                  <a:lnTo>
                    <a:pt x="18627" y="85493"/>
                  </a:lnTo>
                  <a:lnTo>
                    <a:pt x="17901" y="84802"/>
                  </a:lnTo>
                  <a:lnTo>
                    <a:pt x="17175" y="84145"/>
                  </a:lnTo>
                  <a:lnTo>
                    <a:pt x="15655" y="82832"/>
                  </a:lnTo>
                  <a:lnTo>
                    <a:pt x="14100" y="81554"/>
                  </a:lnTo>
                  <a:lnTo>
                    <a:pt x="12476" y="80241"/>
                  </a:lnTo>
                  <a:lnTo>
                    <a:pt x="11681" y="79584"/>
                  </a:lnTo>
                  <a:lnTo>
                    <a:pt x="10921" y="78927"/>
                  </a:lnTo>
                  <a:lnTo>
                    <a:pt x="10195" y="78271"/>
                  </a:lnTo>
                  <a:lnTo>
                    <a:pt x="9539" y="77614"/>
                  </a:lnTo>
                  <a:lnTo>
                    <a:pt x="8882" y="76923"/>
                  </a:lnTo>
                  <a:lnTo>
                    <a:pt x="8329" y="76197"/>
                  </a:lnTo>
                  <a:lnTo>
                    <a:pt x="7811" y="75506"/>
                  </a:lnTo>
                  <a:lnTo>
                    <a:pt x="7327" y="74781"/>
                  </a:lnTo>
                  <a:lnTo>
                    <a:pt x="6981" y="74020"/>
                  </a:lnTo>
                  <a:lnTo>
                    <a:pt x="6809" y="73606"/>
                  </a:lnTo>
                  <a:lnTo>
                    <a:pt x="6670" y="73226"/>
                  </a:lnTo>
                  <a:lnTo>
                    <a:pt x="6567" y="72811"/>
                  </a:lnTo>
                  <a:lnTo>
                    <a:pt x="6463" y="72431"/>
                  </a:lnTo>
                  <a:lnTo>
                    <a:pt x="6394" y="72016"/>
                  </a:lnTo>
                  <a:lnTo>
                    <a:pt x="6359" y="71567"/>
                  </a:lnTo>
                  <a:lnTo>
                    <a:pt x="6325" y="71152"/>
                  </a:lnTo>
                  <a:lnTo>
                    <a:pt x="6359" y="70703"/>
                  </a:lnTo>
                  <a:lnTo>
                    <a:pt x="6394" y="70254"/>
                  </a:lnTo>
                  <a:lnTo>
                    <a:pt x="6463" y="69804"/>
                  </a:lnTo>
                  <a:lnTo>
                    <a:pt x="6532" y="69355"/>
                  </a:lnTo>
                  <a:lnTo>
                    <a:pt x="6670" y="68906"/>
                  </a:lnTo>
                  <a:lnTo>
                    <a:pt x="6809" y="68491"/>
                  </a:lnTo>
                  <a:lnTo>
                    <a:pt x="7016" y="68077"/>
                  </a:lnTo>
                  <a:lnTo>
                    <a:pt x="7223" y="67697"/>
                  </a:lnTo>
                  <a:lnTo>
                    <a:pt x="7465" y="67282"/>
                  </a:lnTo>
                  <a:lnTo>
                    <a:pt x="7707" y="66902"/>
                  </a:lnTo>
                  <a:lnTo>
                    <a:pt x="8018" y="66556"/>
                  </a:lnTo>
                  <a:lnTo>
                    <a:pt x="8364" y="66211"/>
                  </a:lnTo>
                  <a:lnTo>
                    <a:pt x="8709" y="65865"/>
                  </a:lnTo>
                  <a:lnTo>
                    <a:pt x="9124" y="65519"/>
                  </a:lnTo>
                  <a:lnTo>
                    <a:pt x="9539" y="65174"/>
                  </a:lnTo>
                  <a:lnTo>
                    <a:pt x="9988" y="64863"/>
                  </a:lnTo>
                  <a:lnTo>
                    <a:pt x="10472" y="64552"/>
                  </a:lnTo>
                  <a:lnTo>
                    <a:pt x="11024" y="64275"/>
                  </a:lnTo>
                  <a:lnTo>
                    <a:pt x="11577" y="63964"/>
                  </a:lnTo>
                  <a:lnTo>
                    <a:pt x="12683" y="63446"/>
                  </a:lnTo>
                  <a:lnTo>
                    <a:pt x="13893" y="62962"/>
                  </a:lnTo>
                  <a:lnTo>
                    <a:pt x="15137" y="62513"/>
                  </a:lnTo>
                  <a:lnTo>
                    <a:pt x="16450" y="62098"/>
                  </a:lnTo>
                  <a:lnTo>
                    <a:pt x="17798" y="61684"/>
                  </a:lnTo>
                  <a:lnTo>
                    <a:pt x="19180" y="61304"/>
                  </a:lnTo>
                  <a:lnTo>
                    <a:pt x="21944" y="60578"/>
                  </a:lnTo>
                  <a:lnTo>
                    <a:pt x="24709" y="59887"/>
                  </a:lnTo>
                  <a:lnTo>
                    <a:pt x="26056" y="59507"/>
                  </a:lnTo>
                  <a:lnTo>
                    <a:pt x="27404" y="59127"/>
                  </a:lnTo>
                  <a:lnTo>
                    <a:pt x="28683" y="58677"/>
                  </a:lnTo>
                  <a:lnTo>
                    <a:pt x="29961" y="58228"/>
                  </a:lnTo>
                  <a:lnTo>
                    <a:pt x="31171" y="57744"/>
                  </a:lnTo>
                  <a:lnTo>
                    <a:pt x="32311" y="57226"/>
                  </a:lnTo>
                  <a:lnTo>
                    <a:pt x="32864" y="56950"/>
                  </a:lnTo>
                  <a:lnTo>
                    <a:pt x="33382" y="56639"/>
                  </a:lnTo>
                  <a:lnTo>
                    <a:pt x="33901" y="56327"/>
                  </a:lnTo>
                  <a:lnTo>
                    <a:pt x="34385" y="55982"/>
                  </a:lnTo>
                  <a:lnTo>
                    <a:pt x="34834" y="55636"/>
                  </a:lnTo>
                  <a:lnTo>
                    <a:pt x="35283" y="55291"/>
                  </a:lnTo>
                  <a:lnTo>
                    <a:pt x="35698" y="54911"/>
                  </a:lnTo>
                  <a:lnTo>
                    <a:pt x="36078" y="54531"/>
                  </a:lnTo>
                  <a:lnTo>
                    <a:pt x="36458" y="54116"/>
                  </a:lnTo>
                  <a:lnTo>
                    <a:pt x="36769" y="53667"/>
                  </a:lnTo>
                  <a:lnTo>
                    <a:pt x="37080" y="53217"/>
                  </a:lnTo>
                  <a:lnTo>
                    <a:pt x="37356" y="52768"/>
                  </a:lnTo>
                  <a:lnTo>
                    <a:pt x="37598" y="52250"/>
                  </a:lnTo>
                  <a:lnTo>
                    <a:pt x="37806" y="51731"/>
                  </a:lnTo>
                  <a:lnTo>
                    <a:pt x="37944" y="51213"/>
                  </a:lnTo>
                  <a:lnTo>
                    <a:pt x="38082" y="50626"/>
                  </a:lnTo>
                  <a:lnTo>
                    <a:pt x="38220" y="49865"/>
                  </a:lnTo>
                  <a:lnTo>
                    <a:pt x="38289" y="49105"/>
                  </a:lnTo>
                  <a:lnTo>
                    <a:pt x="38324" y="48345"/>
                  </a:lnTo>
                  <a:lnTo>
                    <a:pt x="38324" y="47619"/>
                  </a:lnTo>
                  <a:lnTo>
                    <a:pt x="38255" y="46894"/>
                  </a:lnTo>
                  <a:lnTo>
                    <a:pt x="38151" y="46168"/>
                  </a:lnTo>
                  <a:lnTo>
                    <a:pt x="37978" y="45442"/>
                  </a:lnTo>
                  <a:lnTo>
                    <a:pt x="37771" y="44751"/>
                  </a:lnTo>
                  <a:lnTo>
                    <a:pt x="37529" y="44060"/>
                  </a:lnTo>
                  <a:lnTo>
                    <a:pt x="37218" y="43403"/>
                  </a:lnTo>
                  <a:lnTo>
                    <a:pt x="36873" y="42712"/>
                  </a:lnTo>
                  <a:lnTo>
                    <a:pt x="36458" y="42056"/>
                  </a:lnTo>
                  <a:lnTo>
                    <a:pt x="36009" y="41399"/>
                  </a:lnTo>
                  <a:lnTo>
                    <a:pt x="35490" y="40777"/>
                  </a:lnTo>
                  <a:lnTo>
                    <a:pt x="34937" y="40121"/>
                  </a:lnTo>
                  <a:lnTo>
                    <a:pt x="34350" y="39499"/>
                  </a:lnTo>
                  <a:lnTo>
                    <a:pt x="33797" y="38980"/>
                  </a:lnTo>
                  <a:lnTo>
                    <a:pt x="33210" y="38496"/>
                  </a:lnTo>
                  <a:lnTo>
                    <a:pt x="32622" y="37978"/>
                  </a:lnTo>
                  <a:lnTo>
                    <a:pt x="32035" y="37494"/>
                  </a:lnTo>
                  <a:lnTo>
                    <a:pt x="30722" y="36561"/>
                  </a:lnTo>
                  <a:lnTo>
                    <a:pt x="29374" y="35663"/>
                  </a:lnTo>
                  <a:lnTo>
                    <a:pt x="27992" y="34764"/>
                  </a:lnTo>
                  <a:lnTo>
                    <a:pt x="26540" y="33935"/>
                  </a:lnTo>
                  <a:lnTo>
                    <a:pt x="23638" y="32276"/>
                  </a:lnTo>
                  <a:lnTo>
                    <a:pt x="21115" y="30825"/>
                  </a:lnTo>
                  <a:lnTo>
                    <a:pt x="19871" y="30099"/>
                  </a:lnTo>
                  <a:lnTo>
                    <a:pt x="18696" y="29374"/>
                  </a:lnTo>
                  <a:lnTo>
                    <a:pt x="17521" y="28648"/>
                  </a:lnTo>
                  <a:lnTo>
                    <a:pt x="16450" y="27888"/>
                  </a:lnTo>
                  <a:lnTo>
                    <a:pt x="15413" y="27127"/>
                  </a:lnTo>
                  <a:lnTo>
                    <a:pt x="14446" y="26333"/>
                  </a:lnTo>
                  <a:lnTo>
                    <a:pt x="13547" y="25538"/>
                  </a:lnTo>
                  <a:lnTo>
                    <a:pt x="13132" y="25123"/>
                  </a:lnTo>
                  <a:lnTo>
                    <a:pt x="12752" y="24674"/>
                  </a:lnTo>
                  <a:lnTo>
                    <a:pt x="12372" y="24259"/>
                  </a:lnTo>
                  <a:lnTo>
                    <a:pt x="12027" y="23810"/>
                  </a:lnTo>
                  <a:lnTo>
                    <a:pt x="11716" y="23361"/>
                  </a:lnTo>
                  <a:lnTo>
                    <a:pt x="11439" y="22911"/>
                  </a:lnTo>
                  <a:lnTo>
                    <a:pt x="11163" y="22428"/>
                  </a:lnTo>
                  <a:lnTo>
                    <a:pt x="10955" y="21944"/>
                  </a:lnTo>
                  <a:lnTo>
                    <a:pt x="10748" y="21460"/>
                  </a:lnTo>
                  <a:lnTo>
                    <a:pt x="10575" y="20942"/>
                  </a:lnTo>
                  <a:lnTo>
                    <a:pt x="10437" y="20423"/>
                  </a:lnTo>
                  <a:lnTo>
                    <a:pt x="10333" y="19905"/>
                  </a:lnTo>
                  <a:lnTo>
                    <a:pt x="10264" y="19352"/>
                  </a:lnTo>
                  <a:lnTo>
                    <a:pt x="10230" y="18799"/>
                  </a:lnTo>
                  <a:lnTo>
                    <a:pt x="10230" y="17832"/>
                  </a:lnTo>
                  <a:lnTo>
                    <a:pt x="10230" y="16899"/>
                  </a:lnTo>
                  <a:lnTo>
                    <a:pt x="10299" y="15966"/>
                  </a:lnTo>
                  <a:lnTo>
                    <a:pt x="10368" y="15102"/>
                  </a:lnTo>
                  <a:lnTo>
                    <a:pt x="10472" y="14272"/>
                  </a:lnTo>
                  <a:lnTo>
                    <a:pt x="10644" y="13443"/>
                  </a:lnTo>
                  <a:lnTo>
                    <a:pt x="10817" y="12683"/>
                  </a:lnTo>
                  <a:lnTo>
                    <a:pt x="11024" y="11923"/>
                  </a:lnTo>
                  <a:lnTo>
                    <a:pt x="11266" y="11231"/>
                  </a:lnTo>
                  <a:lnTo>
                    <a:pt x="11543" y="10540"/>
                  </a:lnTo>
                  <a:lnTo>
                    <a:pt x="11854" y="9884"/>
                  </a:lnTo>
                  <a:lnTo>
                    <a:pt x="12199" y="9262"/>
                  </a:lnTo>
                  <a:lnTo>
                    <a:pt x="12579" y="8674"/>
                  </a:lnTo>
                  <a:lnTo>
                    <a:pt x="12994" y="8121"/>
                  </a:lnTo>
                  <a:lnTo>
                    <a:pt x="13443" y="7603"/>
                  </a:lnTo>
                  <a:lnTo>
                    <a:pt x="13893" y="7119"/>
                  </a:lnTo>
                  <a:lnTo>
                    <a:pt x="14273" y="6774"/>
                  </a:lnTo>
                  <a:lnTo>
                    <a:pt x="14653" y="6428"/>
                  </a:lnTo>
                  <a:lnTo>
                    <a:pt x="15068" y="6117"/>
                  </a:lnTo>
                  <a:lnTo>
                    <a:pt x="15482" y="5841"/>
                  </a:lnTo>
                  <a:lnTo>
                    <a:pt x="15931" y="5530"/>
                  </a:lnTo>
                  <a:lnTo>
                    <a:pt x="16381" y="5253"/>
                  </a:lnTo>
                  <a:lnTo>
                    <a:pt x="16864" y="5011"/>
                  </a:lnTo>
                  <a:lnTo>
                    <a:pt x="17383" y="4769"/>
                  </a:lnTo>
                  <a:lnTo>
                    <a:pt x="18454" y="4320"/>
                  </a:lnTo>
                  <a:lnTo>
                    <a:pt x="19594" y="3905"/>
                  </a:lnTo>
                  <a:lnTo>
                    <a:pt x="20838" y="3560"/>
                  </a:lnTo>
                  <a:lnTo>
                    <a:pt x="22152" y="3249"/>
                  </a:lnTo>
                  <a:lnTo>
                    <a:pt x="23603" y="3007"/>
                  </a:lnTo>
                  <a:lnTo>
                    <a:pt x="25089" y="2800"/>
                  </a:lnTo>
                  <a:lnTo>
                    <a:pt x="26713" y="2661"/>
                  </a:lnTo>
                  <a:lnTo>
                    <a:pt x="28441" y="2558"/>
                  </a:lnTo>
                  <a:lnTo>
                    <a:pt x="30238" y="2489"/>
                  </a:lnTo>
                  <a:lnTo>
                    <a:pt x="32173" y="2489"/>
                  </a:lnTo>
                  <a:lnTo>
                    <a:pt x="34212" y="2558"/>
                  </a:lnTo>
                  <a:lnTo>
                    <a:pt x="36354" y="2627"/>
                  </a:lnTo>
                  <a:lnTo>
                    <a:pt x="36596" y="2627"/>
                  </a:lnTo>
                  <a:lnTo>
                    <a:pt x="36838" y="2558"/>
                  </a:lnTo>
                  <a:lnTo>
                    <a:pt x="37045" y="2454"/>
                  </a:lnTo>
                  <a:lnTo>
                    <a:pt x="37253" y="2316"/>
                  </a:lnTo>
                  <a:lnTo>
                    <a:pt x="37426" y="2143"/>
                  </a:lnTo>
                  <a:lnTo>
                    <a:pt x="37529" y="1936"/>
                  </a:lnTo>
                  <a:lnTo>
                    <a:pt x="37633" y="1694"/>
                  </a:lnTo>
                  <a:lnTo>
                    <a:pt x="37667" y="1452"/>
                  </a:lnTo>
                  <a:lnTo>
                    <a:pt x="37667" y="1210"/>
                  </a:lnTo>
                  <a:lnTo>
                    <a:pt x="37598" y="968"/>
                  </a:lnTo>
                  <a:lnTo>
                    <a:pt x="37495" y="726"/>
                  </a:lnTo>
                  <a:lnTo>
                    <a:pt x="37356" y="553"/>
                  </a:lnTo>
                  <a:lnTo>
                    <a:pt x="37184" y="381"/>
                  </a:lnTo>
                  <a:lnTo>
                    <a:pt x="36976" y="277"/>
                  </a:lnTo>
                  <a:lnTo>
                    <a:pt x="36734" y="173"/>
                  </a:lnTo>
                  <a:lnTo>
                    <a:pt x="36493" y="139"/>
                  </a:lnTo>
                  <a:lnTo>
                    <a:pt x="34212" y="35"/>
                  </a:lnTo>
                  <a:lnTo>
                    <a:pt x="32035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9" name="Google Shape;2358;p11">
              <a:extLst>
                <a:ext uri="{FF2B5EF4-FFF2-40B4-BE49-F238E27FC236}">
                  <a16:creationId xmlns:a16="http://schemas.microsoft.com/office/drawing/2014/main" id="{DC03898D-3825-662C-7EA8-C26295D42BBF}"/>
                </a:ext>
              </a:extLst>
            </p:cNvPr>
            <p:cNvSpPr/>
            <p:nvPr/>
          </p:nvSpPr>
          <p:spPr>
            <a:xfrm>
              <a:off x="2582375" y="3288575"/>
              <a:ext cx="286850" cy="267850"/>
            </a:xfrm>
            <a:custGeom>
              <a:avLst/>
              <a:gdLst/>
              <a:ahLst/>
              <a:cxnLst/>
              <a:rect l="l" t="t" r="r" b="b"/>
              <a:pathLst>
                <a:path w="11474" h="10714" extrusionOk="0">
                  <a:moveTo>
                    <a:pt x="1279" y="1"/>
                  </a:moveTo>
                  <a:lnTo>
                    <a:pt x="1037" y="35"/>
                  </a:lnTo>
                  <a:lnTo>
                    <a:pt x="795" y="104"/>
                  </a:lnTo>
                  <a:lnTo>
                    <a:pt x="553" y="208"/>
                  </a:lnTo>
                  <a:lnTo>
                    <a:pt x="346" y="381"/>
                  </a:lnTo>
                  <a:lnTo>
                    <a:pt x="208" y="588"/>
                  </a:lnTo>
                  <a:lnTo>
                    <a:pt x="70" y="795"/>
                  </a:lnTo>
                  <a:lnTo>
                    <a:pt x="0" y="1037"/>
                  </a:lnTo>
                  <a:lnTo>
                    <a:pt x="0" y="1279"/>
                  </a:lnTo>
                  <a:lnTo>
                    <a:pt x="0" y="1521"/>
                  </a:lnTo>
                  <a:lnTo>
                    <a:pt x="70" y="1763"/>
                  </a:lnTo>
                  <a:lnTo>
                    <a:pt x="208" y="2005"/>
                  </a:lnTo>
                  <a:lnTo>
                    <a:pt x="346" y="2178"/>
                  </a:lnTo>
                  <a:lnTo>
                    <a:pt x="1590" y="3422"/>
                  </a:lnTo>
                  <a:lnTo>
                    <a:pt x="4354" y="6083"/>
                  </a:lnTo>
                  <a:lnTo>
                    <a:pt x="5806" y="7465"/>
                  </a:lnTo>
                  <a:lnTo>
                    <a:pt x="6946" y="8502"/>
                  </a:lnTo>
                  <a:lnTo>
                    <a:pt x="7845" y="9296"/>
                  </a:lnTo>
                  <a:lnTo>
                    <a:pt x="8501" y="9849"/>
                  </a:lnTo>
                  <a:lnTo>
                    <a:pt x="8985" y="10195"/>
                  </a:lnTo>
                  <a:lnTo>
                    <a:pt x="9331" y="10437"/>
                  </a:lnTo>
                  <a:lnTo>
                    <a:pt x="9538" y="10540"/>
                  </a:lnTo>
                  <a:lnTo>
                    <a:pt x="9711" y="10609"/>
                  </a:lnTo>
                  <a:lnTo>
                    <a:pt x="9953" y="10679"/>
                  </a:lnTo>
                  <a:lnTo>
                    <a:pt x="10195" y="10713"/>
                  </a:lnTo>
                  <a:lnTo>
                    <a:pt x="10367" y="10679"/>
                  </a:lnTo>
                  <a:lnTo>
                    <a:pt x="10575" y="10644"/>
                  </a:lnTo>
                  <a:lnTo>
                    <a:pt x="10747" y="10575"/>
                  </a:lnTo>
                  <a:lnTo>
                    <a:pt x="10886" y="10506"/>
                  </a:lnTo>
                  <a:lnTo>
                    <a:pt x="11058" y="10368"/>
                  </a:lnTo>
                  <a:lnTo>
                    <a:pt x="11162" y="10229"/>
                  </a:lnTo>
                  <a:lnTo>
                    <a:pt x="11300" y="10091"/>
                  </a:lnTo>
                  <a:lnTo>
                    <a:pt x="11369" y="9884"/>
                  </a:lnTo>
                  <a:lnTo>
                    <a:pt x="11439" y="9642"/>
                  </a:lnTo>
                  <a:lnTo>
                    <a:pt x="11473" y="9400"/>
                  </a:lnTo>
                  <a:lnTo>
                    <a:pt x="11439" y="9158"/>
                  </a:lnTo>
                  <a:lnTo>
                    <a:pt x="11369" y="8916"/>
                  </a:lnTo>
                  <a:lnTo>
                    <a:pt x="11266" y="8709"/>
                  </a:lnTo>
                  <a:lnTo>
                    <a:pt x="11093" y="8536"/>
                  </a:lnTo>
                  <a:lnTo>
                    <a:pt x="10920" y="8363"/>
                  </a:lnTo>
                  <a:lnTo>
                    <a:pt x="10678" y="8260"/>
                  </a:lnTo>
                  <a:lnTo>
                    <a:pt x="10471" y="8121"/>
                  </a:lnTo>
                  <a:lnTo>
                    <a:pt x="10229" y="7914"/>
                  </a:lnTo>
                  <a:lnTo>
                    <a:pt x="9503" y="7327"/>
                  </a:lnTo>
                  <a:lnTo>
                    <a:pt x="8536" y="6497"/>
                  </a:lnTo>
                  <a:lnTo>
                    <a:pt x="7430" y="5495"/>
                  </a:lnTo>
                  <a:lnTo>
                    <a:pt x="4873" y="3042"/>
                  </a:lnTo>
                  <a:lnTo>
                    <a:pt x="2177" y="381"/>
                  </a:lnTo>
                  <a:lnTo>
                    <a:pt x="1970" y="208"/>
                  </a:lnTo>
                  <a:lnTo>
                    <a:pt x="1763" y="104"/>
                  </a:lnTo>
                  <a:lnTo>
                    <a:pt x="1521" y="35"/>
                  </a:lnTo>
                  <a:lnTo>
                    <a:pt x="1279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0" name="Google Shape;2359;p11">
              <a:extLst>
                <a:ext uri="{FF2B5EF4-FFF2-40B4-BE49-F238E27FC236}">
                  <a16:creationId xmlns:a16="http://schemas.microsoft.com/office/drawing/2014/main" id="{4AEFCF83-D108-BD8A-3316-41732B317C82}"/>
                </a:ext>
              </a:extLst>
            </p:cNvPr>
            <p:cNvSpPr/>
            <p:nvPr/>
          </p:nvSpPr>
          <p:spPr>
            <a:xfrm>
              <a:off x="2575450" y="3304125"/>
              <a:ext cx="307600" cy="245375"/>
            </a:xfrm>
            <a:custGeom>
              <a:avLst/>
              <a:gdLst/>
              <a:ahLst/>
              <a:cxnLst/>
              <a:rect l="l" t="t" r="r" b="b"/>
              <a:pathLst>
                <a:path w="12304" h="9815" extrusionOk="0">
                  <a:moveTo>
                    <a:pt x="10921" y="1"/>
                  </a:moveTo>
                  <a:lnTo>
                    <a:pt x="10506" y="70"/>
                  </a:lnTo>
                  <a:lnTo>
                    <a:pt x="10091" y="139"/>
                  </a:lnTo>
                  <a:lnTo>
                    <a:pt x="9677" y="243"/>
                  </a:lnTo>
                  <a:lnTo>
                    <a:pt x="9262" y="346"/>
                  </a:lnTo>
                  <a:lnTo>
                    <a:pt x="8467" y="657"/>
                  </a:lnTo>
                  <a:lnTo>
                    <a:pt x="7672" y="1037"/>
                  </a:lnTo>
                  <a:lnTo>
                    <a:pt x="6878" y="1452"/>
                  </a:lnTo>
                  <a:lnTo>
                    <a:pt x="6152" y="1970"/>
                  </a:lnTo>
                  <a:lnTo>
                    <a:pt x="5426" y="2489"/>
                  </a:lnTo>
                  <a:lnTo>
                    <a:pt x="4735" y="3076"/>
                  </a:lnTo>
                  <a:lnTo>
                    <a:pt x="4044" y="3664"/>
                  </a:lnTo>
                  <a:lnTo>
                    <a:pt x="3422" y="4251"/>
                  </a:lnTo>
                  <a:lnTo>
                    <a:pt x="2800" y="4873"/>
                  </a:lnTo>
                  <a:lnTo>
                    <a:pt x="2213" y="5495"/>
                  </a:lnTo>
                  <a:lnTo>
                    <a:pt x="1176" y="6670"/>
                  </a:lnTo>
                  <a:lnTo>
                    <a:pt x="312" y="7707"/>
                  </a:lnTo>
                  <a:lnTo>
                    <a:pt x="139" y="7949"/>
                  </a:lnTo>
                  <a:lnTo>
                    <a:pt x="70" y="8156"/>
                  </a:lnTo>
                  <a:lnTo>
                    <a:pt x="1" y="8398"/>
                  </a:lnTo>
                  <a:lnTo>
                    <a:pt x="1" y="8640"/>
                  </a:lnTo>
                  <a:lnTo>
                    <a:pt x="35" y="8882"/>
                  </a:lnTo>
                  <a:lnTo>
                    <a:pt x="139" y="9124"/>
                  </a:lnTo>
                  <a:lnTo>
                    <a:pt x="277" y="9331"/>
                  </a:lnTo>
                  <a:lnTo>
                    <a:pt x="450" y="9504"/>
                  </a:lnTo>
                  <a:lnTo>
                    <a:pt x="658" y="9642"/>
                  </a:lnTo>
                  <a:lnTo>
                    <a:pt x="865" y="9746"/>
                  </a:lnTo>
                  <a:lnTo>
                    <a:pt x="1072" y="9815"/>
                  </a:lnTo>
                  <a:lnTo>
                    <a:pt x="1280" y="9815"/>
                  </a:lnTo>
                  <a:lnTo>
                    <a:pt x="1556" y="9780"/>
                  </a:lnTo>
                  <a:lnTo>
                    <a:pt x="1798" y="9711"/>
                  </a:lnTo>
                  <a:lnTo>
                    <a:pt x="2040" y="9573"/>
                  </a:lnTo>
                  <a:lnTo>
                    <a:pt x="2247" y="9365"/>
                  </a:lnTo>
                  <a:lnTo>
                    <a:pt x="3042" y="8432"/>
                  </a:lnTo>
                  <a:lnTo>
                    <a:pt x="3975" y="7396"/>
                  </a:lnTo>
                  <a:lnTo>
                    <a:pt x="5012" y="6290"/>
                  </a:lnTo>
                  <a:lnTo>
                    <a:pt x="5565" y="5737"/>
                  </a:lnTo>
                  <a:lnTo>
                    <a:pt x="6117" y="5219"/>
                  </a:lnTo>
                  <a:lnTo>
                    <a:pt x="6705" y="4735"/>
                  </a:lnTo>
                  <a:lnTo>
                    <a:pt x="7327" y="4251"/>
                  </a:lnTo>
                  <a:lnTo>
                    <a:pt x="7949" y="3802"/>
                  </a:lnTo>
                  <a:lnTo>
                    <a:pt x="8571" y="3422"/>
                  </a:lnTo>
                  <a:lnTo>
                    <a:pt x="9227" y="3111"/>
                  </a:lnTo>
                  <a:lnTo>
                    <a:pt x="9850" y="2834"/>
                  </a:lnTo>
                  <a:lnTo>
                    <a:pt x="10506" y="2662"/>
                  </a:lnTo>
                  <a:lnTo>
                    <a:pt x="10852" y="2592"/>
                  </a:lnTo>
                  <a:lnTo>
                    <a:pt x="11163" y="2558"/>
                  </a:lnTo>
                  <a:lnTo>
                    <a:pt x="11405" y="2489"/>
                  </a:lnTo>
                  <a:lnTo>
                    <a:pt x="11646" y="2420"/>
                  </a:lnTo>
                  <a:lnTo>
                    <a:pt x="11854" y="2281"/>
                  </a:lnTo>
                  <a:lnTo>
                    <a:pt x="12027" y="2109"/>
                  </a:lnTo>
                  <a:lnTo>
                    <a:pt x="12165" y="1901"/>
                  </a:lnTo>
                  <a:lnTo>
                    <a:pt x="12268" y="1659"/>
                  </a:lnTo>
                  <a:lnTo>
                    <a:pt x="12303" y="1417"/>
                  </a:lnTo>
                  <a:lnTo>
                    <a:pt x="12303" y="1176"/>
                  </a:lnTo>
                  <a:lnTo>
                    <a:pt x="12268" y="899"/>
                  </a:lnTo>
                  <a:lnTo>
                    <a:pt x="12165" y="692"/>
                  </a:lnTo>
                  <a:lnTo>
                    <a:pt x="12027" y="484"/>
                  </a:lnTo>
                  <a:lnTo>
                    <a:pt x="11854" y="312"/>
                  </a:lnTo>
                  <a:lnTo>
                    <a:pt x="11646" y="173"/>
                  </a:lnTo>
                  <a:lnTo>
                    <a:pt x="11439" y="70"/>
                  </a:lnTo>
                  <a:lnTo>
                    <a:pt x="11197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1" name="Google Shape;2360;p11">
              <a:extLst>
                <a:ext uri="{FF2B5EF4-FFF2-40B4-BE49-F238E27FC236}">
                  <a16:creationId xmlns:a16="http://schemas.microsoft.com/office/drawing/2014/main" id="{A5B5F19F-293F-CE2F-9064-4EA169259127}"/>
                </a:ext>
              </a:extLst>
            </p:cNvPr>
            <p:cNvSpPr/>
            <p:nvPr/>
          </p:nvSpPr>
          <p:spPr>
            <a:xfrm>
              <a:off x="2291225" y="1164225"/>
              <a:ext cx="229825" cy="150350"/>
            </a:xfrm>
            <a:custGeom>
              <a:avLst/>
              <a:gdLst/>
              <a:ahLst/>
              <a:cxnLst/>
              <a:rect l="l" t="t" r="r" b="b"/>
              <a:pathLst>
                <a:path w="9193" h="6014" extrusionOk="0">
                  <a:moveTo>
                    <a:pt x="139" y="0"/>
                  </a:moveTo>
                  <a:lnTo>
                    <a:pt x="70" y="35"/>
                  </a:lnTo>
                  <a:lnTo>
                    <a:pt x="1" y="104"/>
                  </a:lnTo>
                  <a:lnTo>
                    <a:pt x="1" y="208"/>
                  </a:lnTo>
                  <a:lnTo>
                    <a:pt x="1" y="277"/>
                  </a:lnTo>
                  <a:lnTo>
                    <a:pt x="70" y="346"/>
                  </a:lnTo>
                  <a:lnTo>
                    <a:pt x="139" y="381"/>
                  </a:lnTo>
                  <a:lnTo>
                    <a:pt x="208" y="415"/>
                  </a:lnTo>
                  <a:lnTo>
                    <a:pt x="5081" y="415"/>
                  </a:lnTo>
                  <a:lnTo>
                    <a:pt x="8813" y="5944"/>
                  </a:lnTo>
                  <a:lnTo>
                    <a:pt x="8882" y="6013"/>
                  </a:lnTo>
                  <a:lnTo>
                    <a:pt x="8986" y="6013"/>
                  </a:lnTo>
                  <a:lnTo>
                    <a:pt x="9089" y="5979"/>
                  </a:lnTo>
                  <a:lnTo>
                    <a:pt x="9158" y="5944"/>
                  </a:lnTo>
                  <a:lnTo>
                    <a:pt x="9193" y="5840"/>
                  </a:lnTo>
                  <a:lnTo>
                    <a:pt x="9193" y="5771"/>
                  </a:lnTo>
                  <a:lnTo>
                    <a:pt x="9158" y="5702"/>
                  </a:lnTo>
                  <a:lnTo>
                    <a:pt x="5357" y="70"/>
                  </a:lnTo>
                  <a:lnTo>
                    <a:pt x="5288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2" name="Google Shape;2361;p11">
              <a:extLst>
                <a:ext uri="{FF2B5EF4-FFF2-40B4-BE49-F238E27FC236}">
                  <a16:creationId xmlns:a16="http://schemas.microsoft.com/office/drawing/2014/main" id="{30123E79-69D9-D360-26B3-888B389E6773}"/>
                </a:ext>
              </a:extLst>
            </p:cNvPr>
            <p:cNvSpPr/>
            <p:nvPr/>
          </p:nvSpPr>
          <p:spPr>
            <a:xfrm>
              <a:off x="1823850" y="1149550"/>
              <a:ext cx="143450" cy="39750"/>
            </a:xfrm>
            <a:custGeom>
              <a:avLst/>
              <a:gdLst/>
              <a:ahLst/>
              <a:cxnLst/>
              <a:rect l="l" t="t" r="r" b="b"/>
              <a:pathLst>
                <a:path w="5738" h="1590" extrusionOk="0">
                  <a:moveTo>
                    <a:pt x="174" y="0"/>
                  </a:moveTo>
                  <a:lnTo>
                    <a:pt x="70" y="69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244"/>
                  </a:lnTo>
                  <a:lnTo>
                    <a:pt x="1" y="1382"/>
                  </a:lnTo>
                  <a:lnTo>
                    <a:pt x="70" y="1486"/>
                  </a:lnTo>
                  <a:lnTo>
                    <a:pt x="174" y="1555"/>
                  </a:lnTo>
                  <a:lnTo>
                    <a:pt x="312" y="1590"/>
                  </a:lnTo>
                  <a:lnTo>
                    <a:pt x="5426" y="1590"/>
                  </a:lnTo>
                  <a:lnTo>
                    <a:pt x="5564" y="1555"/>
                  </a:lnTo>
                  <a:lnTo>
                    <a:pt x="5668" y="1486"/>
                  </a:lnTo>
                  <a:lnTo>
                    <a:pt x="5737" y="1382"/>
                  </a:lnTo>
                  <a:lnTo>
                    <a:pt x="5737" y="1244"/>
                  </a:lnTo>
                  <a:lnTo>
                    <a:pt x="5737" y="311"/>
                  </a:lnTo>
                  <a:lnTo>
                    <a:pt x="5737" y="173"/>
                  </a:lnTo>
                  <a:lnTo>
                    <a:pt x="5668" y="69"/>
                  </a:lnTo>
                  <a:lnTo>
                    <a:pt x="5564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3" name="Google Shape;2362;p11">
              <a:extLst>
                <a:ext uri="{FF2B5EF4-FFF2-40B4-BE49-F238E27FC236}">
                  <a16:creationId xmlns:a16="http://schemas.microsoft.com/office/drawing/2014/main" id="{53A558DE-65DC-61A8-1C78-DF1B4E210B54}"/>
                </a:ext>
              </a:extLst>
            </p:cNvPr>
            <p:cNvSpPr/>
            <p:nvPr/>
          </p:nvSpPr>
          <p:spPr>
            <a:xfrm>
              <a:off x="1823850" y="1149550"/>
              <a:ext cx="143450" cy="39750"/>
            </a:xfrm>
            <a:custGeom>
              <a:avLst/>
              <a:gdLst/>
              <a:ahLst/>
              <a:cxnLst/>
              <a:rect l="l" t="t" r="r" b="b"/>
              <a:pathLst>
                <a:path w="5738" h="1590" fill="none" extrusionOk="0">
                  <a:moveTo>
                    <a:pt x="5426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4" y="0"/>
                  </a:lnTo>
                  <a:lnTo>
                    <a:pt x="70" y="69"/>
                  </a:lnTo>
                  <a:lnTo>
                    <a:pt x="1" y="173"/>
                  </a:lnTo>
                  <a:lnTo>
                    <a:pt x="1" y="311"/>
                  </a:lnTo>
                  <a:lnTo>
                    <a:pt x="1" y="1244"/>
                  </a:lnTo>
                  <a:lnTo>
                    <a:pt x="1" y="1244"/>
                  </a:lnTo>
                  <a:lnTo>
                    <a:pt x="1" y="1382"/>
                  </a:lnTo>
                  <a:lnTo>
                    <a:pt x="70" y="1486"/>
                  </a:lnTo>
                  <a:lnTo>
                    <a:pt x="174" y="1555"/>
                  </a:lnTo>
                  <a:lnTo>
                    <a:pt x="312" y="1590"/>
                  </a:lnTo>
                  <a:lnTo>
                    <a:pt x="5426" y="1590"/>
                  </a:lnTo>
                  <a:lnTo>
                    <a:pt x="5426" y="1590"/>
                  </a:lnTo>
                  <a:lnTo>
                    <a:pt x="5564" y="1555"/>
                  </a:lnTo>
                  <a:lnTo>
                    <a:pt x="5668" y="1486"/>
                  </a:lnTo>
                  <a:lnTo>
                    <a:pt x="5737" y="1382"/>
                  </a:lnTo>
                  <a:lnTo>
                    <a:pt x="5737" y="1244"/>
                  </a:lnTo>
                  <a:lnTo>
                    <a:pt x="5737" y="311"/>
                  </a:lnTo>
                  <a:lnTo>
                    <a:pt x="5737" y="311"/>
                  </a:lnTo>
                  <a:lnTo>
                    <a:pt x="5737" y="173"/>
                  </a:lnTo>
                  <a:lnTo>
                    <a:pt x="5668" y="69"/>
                  </a:lnTo>
                  <a:lnTo>
                    <a:pt x="5564" y="0"/>
                  </a:lnTo>
                  <a:lnTo>
                    <a:pt x="542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4" name="Google Shape;2363;p11">
              <a:extLst>
                <a:ext uri="{FF2B5EF4-FFF2-40B4-BE49-F238E27FC236}">
                  <a16:creationId xmlns:a16="http://schemas.microsoft.com/office/drawing/2014/main" id="{65B19528-597F-7A63-A38B-B815D712A4E0}"/>
                </a:ext>
              </a:extLst>
            </p:cNvPr>
            <p:cNvSpPr/>
            <p:nvPr/>
          </p:nvSpPr>
          <p:spPr>
            <a:xfrm>
              <a:off x="2019100" y="1149550"/>
              <a:ext cx="133075" cy="39750"/>
            </a:xfrm>
            <a:custGeom>
              <a:avLst/>
              <a:gdLst/>
              <a:ahLst/>
              <a:cxnLst/>
              <a:rect l="l" t="t" r="r" b="b"/>
              <a:pathLst>
                <a:path w="5323" h="1590" extrusionOk="0">
                  <a:moveTo>
                    <a:pt x="173" y="0"/>
                  </a:moveTo>
                  <a:lnTo>
                    <a:pt x="70" y="69"/>
                  </a:lnTo>
                  <a:lnTo>
                    <a:pt x="1" y="173"/>
                  </a:lnTo>
                  <a:lnTo>
                    <a:pt x="1" y="276"/>
                  </a:lnTo>
                  <a:lnTo>
                    <a:pt x="1" y="1279"/>
                  </a:lnTo>
                  <a:lnTo>
                    <a:pt x="1" y="1417"/>
                  </a:lnTo>
                  <a:lnTo>
                    <a:pt x="70" y="1486"/>
                  </a:lnTo>
                  <a:lnTo>
                    <a:pt x="173" y="1555"/>
                  </a:lnTo>
                  <a:lnTo>
                    <a:pt x="277" y="1590"/>
                  </a:lnTo>
                  <a:lnTo>
                    <a:pt x="5011" y="1590"/>
                  </a:lnTo>
                  <a:lnTo>
                    <a:pt x="5115" y="1555"/>
                  </a:lnTo>
                  <a:lnTo>
                    <a:pt x="5219" y="1486"/>
                  </a:lnTo>
                  <a:lnTo>
                    <a:pt x="5288" y="1417"/>
                  </a:lnTo>
                  <a:lnTo>
                    <a:pt x="5322" y="1279"/>
                  </a:lnTo>
                  <a:lnTo>
                    <a:pt x="5322" y="276"/>
                  </a:lnTo>
                  <a:lnTo>
                    <a:pt x="5288" y="173"/>
                  </a:lnTo>
                  <a:lnTo>
                    <a:pt x="5219" y="69"/>
                  </a:lnTo>
                  <a:lnTo>
                    <a:pt x="5115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5" name="Google Shape;2364;p11">
              <a:extLst>
                <a:ext uri="{FF2B5EF4-FFF2-40B4-BE49-F238E27FC236}">
                  <a16:creationId xmlns:a16="http://schemas.microsoft.com/office/drawing/2014/main" id="{BE4DADE3-99A0-23C4-E609-074BE154D4A4}"/>
                </a:ext>
              </a:extLst>
            </p:cNvPr>
            <p:cNvSpPr/>
            <p:nvPr/>
          </p:nvSpPr>
          <p:spPr>
            <a:xfrm>
              <a:off x="2019100" y="1149550"/>
              <a:ext cx="133075" cy="39750"/>
            </a:xfrm>
            <a:custGeom>
              <a:avLst/>
              <a:gdLst/>
              <a:ahLst/>
              <a:cxnLst/>
              <a:rect l="l" t="t" r="r" b="b"/>
              <a:pathLst>
                <a:path w="5323" h="1590" fill="none" extrusionOk="0">
                  <a:moveTo>
                    <a:pt x="5011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3" y="0"/>
                  </a:lnTo>
                  <a:lnTo>
                    <a:pt x="70" y="69"/>
                  </a:lnTo>
                  <a:lnTo>
                    <a:pt x="1" y="173"/>
                  </a:lnTo>
                  <a:lnTo>
                    <a:pt x="1" y="276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1" y="1417"/>
                  </a:lnTo>
                  <a:lnTo>
                    <a:pt x="70" y="1486"/>
                  </a:lnTo>
                  <a:lnTo>
                    <a:pt x="173" y="1555"/>
                  </a:lnTo>
                  <a:lnTo>
                    <a:pt x="277" y="1590"/>
                  </a:lnTo>
                  <a:lnTo>
                    <a:pt x="5011" y="1590"/>
                  </a:lnTo>
                  <a:lnTo>
                    <a:pt x="5011" y="1590"/>
                  </a:lnTo>
                  <a:lnTo>
                    <a:pt x="5115" y="1555"/>
                  </a:lnTo>
                  <a:lnTo>
                    <a:pt x="5219" y="1486"/>
                  </a:lnTo>
                  <a:lnTo>
                    <a:pt x="5288" y="1417"/>
                  </a:lnTo>
                  <a:lnTo>
                    <a:pt x="5322" y="1279"/>
                  </a:lnTo>
                  <a:lnTo>
                    <a:pt x="5322" y="276"/>
                  </a:lnTo>
                  <a:lnTo>
                    <a:pt x="5322" y="276"/>
                  </a:lnTo>
                  <a:lnTo>
                    <a:pt x="5288" y="173"/>
                  </a:lnTo>
                  <a:lnTo>
                    <a:pt x="5219" y="69"/>
                  </a:lnTo>
                  <a:lnTo>
                    <a:pt x="5115" y="0"/>
                  </a:lnTo>
                  <a:lnTo>
                    <a:pt x="501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6" name="Google Shape;2365;p11">
              <a:extLst>
                <a:ext uri="{FF2B5EF4-FFF2-40B4-BE49-F238E27FC236}">
                  <a16:creationId xmlns:a16="http://schemas.microsoft.com/office/drawing/2014/main" id="{5A66EE4B-B8F9-35F3-8ACD-8FD30ED77268}"/>
                </a:ext>
              </a:extLst>
            </p:cNvPr>
            <p:cNvSpPr/>
            <p:nvPr/>
          </p:nvSpPr>
          <p:spPr>
            <a:xfrm>
              <a:off x="2165975" y="114955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extrusionOk="0">
                  <a:moveTo>
                    <a:pt x="208" y="0"/>
                  </a:moveTo>
                  <a:lnTo>
                    <a:pt x="104" y="69"/>
                  </a:lnTo>
                  <a:lnTo>
                    <a:pt x="35" y="173"/>
                  </a:lnTo>
                  <a:lnTo>
                    <a:pt x="0" y="276"/>
                  </a:lnTo>
                  <a:lnTo>
                    <a:pt x="0" y="1279"/>
                  </a:lnTo>
                  <a:lnTo>
                    <a:pt x="35" y="1417"/>
                  </a:lnTo>
                  <a:lnTo>
                    <a:pt x="104" y="1486"/>
                  </a:lnTo>
                  <a:lnTo>
                    <a:pt x="208" y="1555"/>
                  </a:lnTo>
                  <a:lnTo>
                    <a:pt x="311" y="1590"/>
                  </a:lnTo>
                  <a:lnTo>
                    <a:pt x="3007" y="1590"/>
                  </a:lnTo>
                  <a:lnTo>
                    <a:pt x="3145" y="1555"/>
                  </a:lnTo>
                  <a:lnTo>
                    <a:pt x="3214" y="1486"/>
                  </a:lnTo>
                  <a:lnTo>
                    <a:pt x="3283" y="1417"/>
                  </a:lnTo>
                  <a:lnTo>
                    <a:pt x="3318" y="1279"/>
                  </a:lnTo>
                  <a:lnTo>
                    <a:pt x="3318" y="276"/>
                  </a:lnTo>
                  <a:lnTo>
                    <a:pt x="3283" y="173"/>
                  </a:lnTo>
                  <a:lnTo>
                    <a:pt x="3214" y="69"/>
                  </a:lnTo>
                  <a:lnTo>
                    <a:pt x="3145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7" name="Google Shape;2366;p11">
              <a:extLst>
                <a:ext uri="{FF2B5EF4-FFF2-40B4-BE49-F238E27FC236}">
                  <a16:creationId xmlns:a16="http://schemas.microsoft.com/office/drawing/2014/main" id="{FE5C0585-A49D-0759-F776-C6715C8DED76}"/>
                </a:ext>
              </a:extLst>
            </p:cNvPr>
            <p:cNvSpPr/>
            <p:nvPr/>
          </p:nvSpPr>
          <p:spPr>
            <a:xfrm>
              <a:off x="2165975" y="1149550"/>
              <a:ext cx="82950" cy="39750"/>
            </a:xfrm>
            <a:custGeom>
              <a:avLst/>
              <a:gdLst/>
              <a:ahLst/>
              <a:cxnLst/>
              <a:rect l="l" t="t" r="r" b="b"/>
              <a:pathLst>
                <a:path w="3318" h="1590" fill="none" extrusionOk="0">
                  <a:moveTo>
                    <a:pt x="3007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104" y="69"/>
                  </a:lnTo>
                  <a:lnTo>
                    <a:pt x="35" y="173"/>
                  </a:lnTo>
                  <a:lnTo>
                    <a:pt x="0" y="276"/>
                  </a:lnTo>
                  <a:lnTo>
                    <a:pt x="0" y="1279"/>
                  </a:lnTo>
                  <a:lnTo>
                    <a:pt x="0" y="1279"/>
                  </a:lnTo>
                  <a:lnTo>
                    <a:pt x="35" y="1417"/>
                  </a:lnTo>
                  <a:lnTo>
                    <a:pt x="104" y="1486"/>
                  </a:lnTo>
                  <a:lnTo>
                    <a:pt x="208" y="1555"/>
                  </a:lnTo>
                  <a:lnTo>
                    <a:pt x="311" y="1590"/>
                  </a:lnTo>
                  <a:lnTo>
                    <a:pt x="3007" y="1590"/>
                  </a:lnTo>
                  <a:lnTo>
                    <a:pt x="3007" y="1590"/>
                  </a:lnTo>
                  <a:lnTo>
                    <a:pt x="3145" y="1555"/>
                  </a:lnTo>
                  <a:lnTo>
                    <a:pt x="3214" y="1486"/>
                  </a:lnTo>
                  <a:lnTo>
                    <a:pt x="3283" y="1417"/>
                  </a:lnTo>
                  <a:lnTo>
                    <a:pt x="3318" y="1279"/>
                  </a:lnTo>
                  <a:lnTo>
                    <a:pt x="3318" y="276"/>
                  </a:lnTo>
                  <a:lnTo>
                    <a:pt x="3318" y="276"/>
                  </a:lnTo>
                  <a:lnTo>
                    <a:pt x="3283" y="173"/>
                  </a:lnTo>
                  <a:lnTo>
                    <a:pt x="3214" y="69"/>
                  </a:lnTo>
                  <a:lnTo>
                    <a:pt x="3145" y="0"/>
                  </a:lnTo>
                  <a:lnTo>
                    <a:pt x="30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8" name="Google Shape;2367;p11">
              <a:extLst>
                <a:ext uri="{FF2B5EF4-FFF2-40B4-BE49-F238E27FC236}">
                  <a16:creationId xmlns:a16="http://schemas.microsoft.com/office/drawing/2014/main" id="{BDD6421E-A928-921D-0359-EEC383EC88FB}"/>
                </a:ext>
              </a:extLst>
            </p:cNvPr>
            <p:cNvSpPr/>
            <p:nvPr/>
          </p:nvSpPr>
          <p:spPr>
            <a:xfrm>
              <a:off x="2394050" y="1300725"/>
              <a:ext cx="286825" cy="266975"/>
            </a:xfrm>
            <a:custGeom>
              <a:avLst/>
              <a:gdLst/>
              <a:ahLst/>
              <a:cxnLst/>
              <a:rect l="l" t="t" r="r" b="b"/>
              <a:pathLst>
                <a:path w="11473" h="10679" extrusionOk="0">
                  <a:moveTo>
                    <a:pt x="1037" y="0"/>
                  </a:moveTo>
                  <a:lnTo>
                    <a:pt x="795" y="69"/>
                  </a:lnTo>
                  <a:lnTo>
                    <a:pt x="588" y="208"/>
                  </a:lnTo>
                  <a:lnTo>
                    <a:pt x="380" y="380"/>
                  </a:lnTo>
                  <a:lnTo>
                    <a:pt x="207" y="553"/>
                  </a:lnTo>
                  <a:lnTo>
                    <a:pt x="104" y="795"/>
                  </a:lnTo>
                  <a:lnTo>
                    <a:pt x="35" y="1037"/>
                  </a:lnTo>
                  <a:lnTo>
                    <a:pt x="0" y="1279"/>
                  </a:lnTo>
                  <a:lnTo>
                    <a:pt x="35" y="1521"/>
                  </a:lnTo>
                  <a:lnTo>
                    <a:pt x="104" y="1763"/>
                  </a:lnTo>
                  <a:lnTo>
                    <a:pt x="207" y="1970"/>
                  </a:lnTo>
                  <a:lnTo>
                    <a:pt x="380" y="2177"/>
                  </a:lnTo>
                  <a:lnTo>
                    <a:pt x="1590" y="3387"/>
                  </a:lnTo>
                  <a:lnTo>
                    <a:pt x="4354" y="6048"/>
                  </a:lnTo>
                  <a:lnTo>
                    <a:pt x="5806" y="7430"/>
                  </a:lnTo>
                  <a:lnTo>
                    <a:pt x="6980" y="8467"/>
                  </a:lnTo>
                  <a:lnTo>
                    <a:pt x="7844" y="9261"/>
                  </a:lnTo>
                  <a:lnTo>
                    <a:pt x="8536" y="9814"/>
                  </a:lnTo>
                  <a:lnTo>
                    <a:pt x="8985" y="10160"/>
                  </a:lnTo>
                  <a:lnTo>
                    <a:pt x="9330" y="10402"/>
                  </a:lnTo>
                  <a:lnTo>
                    <a:pt x="9572" y="10506"/>
                  </a:lnTo>
                  <a:lnTo>
                    <a:pt x="9710" y="10575"/>
                  </a:lnTo>
                  <a:lnTo>
                    <a:pt x="9952" y="10644"/>
                  </a:lnTo>
                  <a:lnTo>
                    <a:pt x="10194" y="10678"/>
                  </a:lnTo>
                  <a:lnTo>
                    <a:pt x="10402" y="10678"/>
                  </a:lnTo>
                  <a:lnTo>
                    <a:pt x="10574" y="10644"/>
                  </a:lnTo>
                  <a:lnTo>
                    <a:pt x="10747" y="10575"/>
                  </a:lnTo>
                  <a:lnTo>
                    <a:pt x="10920" y="10471"/>
                  </a:lnTo>
                  <a:lnTo>
                    <a:pt x="11058" y="10367"/>
                  </a:lnTo>
                  <a:lnTo>
                    <a:pt x="11196" y="10229"/>
                  </a:lnTo>
                  <a:lnTo>
                    <a:pt x="11300" y="10056"/>
                  </a:lnTo>
                  <a:lnTo>
                    <a:pt x="11369" y="9884"/>
                  </a:lnTo>
                  <a:lnTo>
                    <a:pt x="11473" y="9642"/>
                  </a:lnTo>
                  <a:lnTo>
                    <a:pt x="11473" y="9400"/>
                  </a:lnTo>
                  <a:lnTo>
                    <a:pt x="11438" y="9123"/>
                  </a:lnTo>
                  <a:lnTo>
                    <a:pt x="11369" y="8916"/>
                  </a:lnTo>
                  <a:lnTo>
                    <a:pt x="11265" y="8709"/>
                  </a:lnTo>
                  <a:lnTo>
                    <a:pt x="11093" y="8501"/>
                  </a:lnTo>
                  <a:lnTo>
                    <a:pt x="10920" y="8328"/>
                  </a:lnTo>
                  <a:lnTo>
                    <a:pt x="10678" y="8225"/>
                  </a:lnTo>
                  <a:lnTo>
                    <a:pt x="10505" y="8087"/>
                  </a:lnTo>
                  <a:lnTo>
                    <a:pt x="10229" y="7914"/>
                  </a:lnTo>
                  <a:lnTo>
                    <a:pt x="9503" y="7326"/>
                  </a:lnTo>
                  <a:lnTo>
                    <a:pt x="8570" y="6462"/>
                  </a:lnTo>
                  <a:lnTo>
                    <a:pt x="7430" y="5460"/>
                  </a:lnTo>
                  <a:lnTo>
                    <a:pt x="4873" y="3007"/>
                  </a:lnTo>
                  <a:lnTo>
                    <a:pt x="2177" y="380"/>
                  </a:lnTo>
                  <a:lnTo>
                    <a:pt x="1970" y="208"/>
                  </a:lnTo>
                  <a:lnTo>
                    <a:pt x="1762" y="69"/>
                  </a:lnTo>
                  <a:lnTo>
                    <a:pt x="1521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9" name="Google Shape;2368;p11">
              <a:extLst>
                <a:ext uri="{FF2B5EF4-FFF2-40B4-BE49-F238E27FC236}">
                  <a16:creationId xmlns:a16="http://schemas.microsoft.com/office/drawing/2014/main" id="{EC70109C-D1CD-4A2B-3BE6-D5ED8EAF3C30}"/>
                </a:ext>
              </a:extLst>
            </p:cNvPr>
            <p:cNvSpPr/>
            <p:nvPr/>
          </p:nvSpPr>
          <p:spPr>
            <a:xfrm>
              <a:off x="2387125" y="1316275"/>
              <a:ext cx="308450" cy="245375"/>
            </a:xfrm>
            <a:custGeom>
              <a:avLst/>
              <a:gdLst/>
              <a:ahLst/>
              <a:cxnLst/>
              <a:rect l="l" t="t" r="r" b="b"/>
              <a:pathLst>
                <a:path w="12338" h="9815" extrusionOk="0">
                  <a:moveTo>
                    <a:pt x="10920" y="0"/>
                  </a:moveTo>
                  <a:lnTo>
                    <a:pt x="10506" y="35"/>
                  </a:lnTo>
                  <a:lnTo>
                    <a:pt x="10091" y="104"/>
                  </a:lnTo>
                  <a:lnTo>
                    <a:pt x="9676" y="208"/>
                  </a:lnTo>
                  <a:lnTo>
                    <a:pt x="9262" y="346"/>
                  </a:lnTo>
                  <a:lnTo>
                    <a:pt x="8467" y="622"/>
                  </a:lnTo>
                  <a:lnTo>
                    <a:pt x="7672" y="1003"/>
                  </a:lnTo>
                  <a:lnTo>
                    <a:pt x="6912" y="1452"/>
                  </a:lnTo>
                  <a:lnTo>
                    <a:pt x="6152" y="1936"/>
                  </a:lnTo>
                  <a:lnTo>
                    <a:pt x="5426" y="2454"/>
                  </a:lnTo>
                  <a:lnTo>
                    <a:pt x="4735" y="3041"/>
                  </a:lnTo>
                  <a:lnTo>
                    <a:pt x="4044" y="3629"/>
                  </a:lnTo>
                  <a:lnTo>
                    <a:pt x="3422" y="4251"/>
                  </a:lnTo>
                  <a:lnTo>
                    <a:pt x="2800" y="4873"/>
                  </a:lnTo>
                  <a:lnTo>
                    <a:pt x="2247" y="5460"/>
                  </a:lnTo>
                  <a:lnTo>
                    <a:pt x="1210" y="6635"/>
                  </a:lnTo>
                  <a:lnTo>
                    <a:pt x="312" y="7706"/>
                  </a:lnTo>
                  <a:lnTo>
                    <a:pt x="173" y="7914"/>
                  </a:lnTo>
                  <a:lnTo>
                    <a:pt x="70" y="8156"/>
                  </a:lnTo>
                  <a:lnTo>
                    <a:pt x="1" y="8398"/>
                  </a:lnTo>
                  <a:lnTo>
                    <a:pt x="1" y="8639"/>
                  </a:lnTo>
                  <a:lnTo>
                    <a:pt x="70" y="8881"/>
                  </a:lnTo>
                  <a:lnTo>
                    <a:pt x="139" y="9089"/>
                  </a:lnTo>
                  <a:lnTo>
                    <a:pt x="277" y="9331"/>
                  </a:lnTo>
                  <a:lnTo>
                    <a:pt x="484" y="9503"/>
                  </a:lnTo>
                  <a:lnTo>
                    <a:pt x="657" y="9642"/>
                  </a:lnTo>
                  <a:lnTo>
                    <a:pt x="865" y="9711"/>
                  </a:lnTo>
                  <a:lnTo>
                    <a:pt x="1072" y="9780"/>
                  </a:lnTo>
                  <a:lnTo>
                    <a:pt x="1279" y="9814"/>
                  </a:lnTo>
                  <a:lnTo>
                    <a:pt x="1556" y="9780"/>
                  </a:lnTo>
                  <a:lnTo>
                    <a:pt x="1832" y="9676"/>
                  </a:lnTo>
                  <a:lnTo>
                    <a:pt x="2074" y="9538"/>
                  </a:lnTo>
                  <a:lnTo>
                    <a:pt x="2281" y="9331"/>
                  </a:lnTo>
                  <a:lnTo>
                    <a:pt x="3042" y="8398"/>
                  </a:lnTo>
                  <a:lnTo>
                    <a:pt x="3975" y="7361"/>
                  </a:lnTo>
                  <a:lnTo>
                    <a:pt x="5011" y="6290"/>
                  </a:lnTo>
                  <a:lnTo>
                    <a:pt x="5564" y="5737"/>
                  </a:lnTo>
                  <a:lnTo>
                    <a:pt x="6117" y="5218"/>
                  </a:lnTo>
                  <a:lnTo>
                    <a:pt x="6739" y="4700"/>
                  </a:lnTo>
                  <a:lnTo>
                    <a:pt x="7327" y="4216"/>
                  </a:lnTo>
                  <a:lnTo>
                    <a:pt x="7949" y="3802"/>
                  </a:lnTo>
                  <a:lnTo>
                    <a:pt x="8571" y="3421"/>
                  </a:lnTo>
                  <a:lnTo>
                    <a:pt x="9227" y="3076"/>
                  </a:lnTo>
                  <a:lnTo>
                    <a:pt x="9884" y="2834"/>
                  </a:lnTo>
                  <a:lnTo>
                    <a:pt x="10506" y="2627"/>
                  </a:lnTo>
                  <a:lnTo>
                    <a:pt x="10851" y="2558"/>
                  </a:lnTo>
                  <a:lnTo>
                    <a:pt x="11162" y="2523"/>
                  </a:lnTo>
                  <a:lnTo>
                    <a:pt x="11439" y="2488"/>
                  </a:lnTo>
                  <a:lnTo>
                    <a:pt x="11646" y="2385"/>
                  </a:lnTo>
                  <a:lnTo>
                    <a:pt x="11853" y="2247"/>
                  </a:lnTo>
                  <a:lnTo>
                    <a:pt x="12026" y="2074"/>
                  </a:lnTo>
                  <a:lnTo>
                    <a:pt x="12164" y="1866"/>
                  </a:lnTo>
                  <a:lnTo>
                    <a:pt x="12268" y="1659"/>
                  </a:lnTo>
                  <a:lnTo>
                    <a:pt x="12337" y="1417"/>
                  </a:lnTo>
                  <a:lnTo>
                    <a:pt x="12337" y="1141"/>
                  </a:lnTo>
                  <a:lnTo>
                    <a:pt x="12268" y="899"/>
                  </a:lnTo>
                  <a:lnTo>
                    <a:pt x="12164" y="657"/>
                  </a:lnTo>
                  <a:lnTo>
                    <a:pt x="12061" y="450"/>
                  </a:lnTo>
                  <a:lnTo>
                    <a:pt x="11888" y="277"/>
                  </a:lnTo>
                  <a:lnTo>
                    <a:pt x="11681" y="139"/>
                  </a:lnTo>
                  <a:lnTo>
                    <a:pt x="11439" y="35"/>
                  </a:lnTo>
                  <a:lnTo>
                    <a:pt x="11197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0" name="Google Shape;2369;p11">
              <a:extLst>
                <a:ext uri="{FF2B5EF4-FFF2-40B4-BE49-F238E27FC236}">
                  <a16:creationId xmlns:a16="http://schemas.microsoft.com/office/drawing/2014/main" id="{F9C5EDD0-2F67-5D5B-CFBF-42A415FBA02C}"/>
                </a:ext>
              </a:extLst>
            </p:cNvPr>
            <p:cNvSpPr/>
            <p:nvPr/>
          </p:nvSpPr>
          <p:spPr>
            <a:xfrm>
              <a:off x="3095525" y="2814300"/>
              <a:ext cx="353375" cy="327450"/>
            </a:xfrm>
            <a:custGeom>
              <a:avLst/>
              <a:gdLst/>
              <a:ahLst/>
              <a:cxnLst/>
              <a:rect l="l" t="t" r="r" b="b"/>
              <a:pathLst>
                <a:path w="14135" h="13098" extrusionOk="0">
                  <a:moveTo>
                    <a:pt x="1279" y="0"/>
                  </a:moveTo>
                  <a:lnTo>
                    <a:pt x="1038" y="35"/>
                  </a:lnTo>
                  <a:lnTo>
                    <a:pt x="830" y="104"/>
                  </a:lnTo>
                  <a:lnTo>
                    <a:pt x="588" y="208"/>
                  </a:lnTo>
                  <a:lnTo>
                    <a:pt x="381" y="380"/>
                  </a:lnTo>
                  <a:lnTo>
                    <a:pt x="243" y="588"/>
                  </a:lnTo>
                  <a:lnTo>
                    <a:pt x="105" y="795"/>
                  </a:lnTo>
                  <a:lnTo>
                    <a:pt x="35" y="1037"/>
                  </a:lnTo>
                  <a:lnTo>
                    <a:pt x="1" y="1279"/>
                  </a:lnTo>
                  <a:lnTo>
                    <a:pt x="35" y="1521"/>
                  </a:lnTo>
                  <a:lnTo>
                    <a:pt x="105" y="1763"/>
                  </a:lnTo>
                  <a:lnTo>
                    <a:pt x="243" y="1970"/>
                  </a:lnTo>
                  <a:lnTo>
                    <a:pt x="381" y="2177"/>
                  </a:lnTo>
                  <a:lnTo>
                    <a:pt x="1971" y="3767"/>
                  </a:lnTo>
                  <a:lnTo>
                    <a:pt x="3629" y="5356"/>
                  </a:lnTo>
                  <a:lnTo>
                    <a:pt x="5564" y="7222"/>
                  </a:lnTo>
                  <a:lnTo>
                    <a:pt x="7396" y="8950"/>
                  </a:lnTo>
                  <a:lnTo>
                    <a:pt x="8882" y="10298"/>
                  </a:lnTo>
                  <a:lnTo>
                    <a:pt x="10022" y="11300"/>
                  </a:lnTo>
                  <a:lnTo>
                    <a:pt x="10886" y="12026"/>
                  </a:lnTo>
                  <a:lnTo>
                    <a:pt x="11474" y="12475"/>
                  </a:lnTo>
                  <a:lnTo>
                    <a:pt x="11888" y="12751"/>
                  </a:lnTo>
                  <a:lnTo>
                    <a:pt x="12165" y="12924"/>
                  </a:lnTo>
                  <a:lnTo>
                    <a:pt x="12372" y="12993"/>
                  </a:lnTo>
                  <a:lnTo>
                    <a:pt x="12614" y="13063"/>
                  </a:lnTo>
                  <a:lnTo>
                    <a:pt x="12856" y="13097"/>
                  </a:lnTo>
                  <a:lnTo>
                    <a:pt x="13029" y="13063"/>
                  </a:lnTo>
                  <a:lnTo>
                    <a:pt x="13201" y="13028"/>
                  </a:lnTo>
                  <a:lnTo>
                    <a:pt x="13374" y="12959"/>
                  </a:lnTo>
                  <a:lnTo>
                    <a:pt x="13547" y="12855"/>
                  </a:lnTo>
                  <a:lnTo>
                    <a:pt x="13685" y="12751"/>
                  </a:lnTo>
                  <a:lnTo>
                    <a:pt x="13823" y="12613"/>
                  </a:lnTo>
                  <a:lnTo>
                    <a:pt x="13962" y="12475"/>
                  </a:lnTo>
                  <a:lnTo>
                    <a:pt x="14031" y="12268"/>
                  </a:lnTo>
                  <a:lnTo>
                    <a:pt x="14100" y="12026"/>
                  </a:lnTo>
                  <a:lnTo>
                    <a:pt x="14134" y="11784"/>
                  </a:lnTo>
                  <a:lnTo>
                    <a:pt x="14100" y="11542"/>
                  </a:lnTo>
                  <a:lnTo>
                    <a:pt x="14031" y="11300"/>
                  </a:lnTo>
                  <a:lnTo>
                    <a:pt x="13893" y="11093"/>
                  </a:lnTo>
                  <a:lnTo>
                    <a:pt x="13754" y="10885"/>
                  </a:lnTo>
                  <a:lnTo>
                    <a:pt x="13547" y="10747"/>
                  </a:lnTo>
                  <a:lnTo>
                    <a:pt x="13340" y="10609"/>
                  </a:lnTo>
                  <a:lnTo>
                    <a:pt x="13098" y="10471"/>
                  </a:lnTo>
                  <a:lnTo>
                    <a:pt x="12752" y="10229"/>
                  </a:lnTo>
                  <a:lnTo>
                    <a:pt x="11819" y="9469"/>
                  </a:lnTo>
                  <a:lnTo>
                    <a:pt x="10575" y="8397"/>
                  </a:lnTo>
                  <a:lnTo>
                    <a:pt x="9124" y="7084"/>
                  </a:lnTo>
                  <a:lnTo>
                    <a:pt x="7500" y="5529"/>
                  </a:lnTo>
                  <a:lnTo>
                    <a:pt x="5772" y="3871"/>
                  </a:lnTo>
                  <a:lnTo>
                    <a:pt x="3975" y="2143"/>
                  </a:lnTo>
                  <a:lnTo>
                    <a:pt x="2212" y="380"/>
                  </a:lnTo>
                  <a:lnTo>
                    <a:pt x="2005" y="208"/>
                  </a:lnTo>
                  <a:lnTo>
                    <a:pt x="1763" y="104"/>
                  </a:lnTo>
                  <a:lnTo>
                    <a:pt x="1556" y="35"/>
                  </a:lnTo>
                  <a:lnTo>
                    <a:pt x="1279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1" name="Google Shape;2370;p11">
              <a:extLst>
                <a:ext uri="{FF2B5EF4-FFF2-40B4-BE49-F238E27FC236}">
                  <a16:creationId xmlns:a16="http://schemas.microsoft.com/office/drawing/2014/main" id="{EA2AD559-A5C1-D820-51C6-48A079DA2178}"/>
                </a:ext>
              </a:extLst>
            </p:cNvPr>
            <p:cNvSpPr/>
            <p:nvPr/>
          </p:nvSpPr>
          <p:spPr>
            <a:xfrm>
              <a:off x="3087750" y="2834150"/>
              <a:ext cx="379300" cy="298950"/>
            </a:xfrm>
            <a:custGeom>
              <a:avLst/>
              <a:gdLst/>
              <a:ahLst/>
              <a:cxnLst/>
              <a:rect l="l" t="t" r="r" b="b"/>
              <a:pathLst>
                <a:path w="15172" h="11958" extrusionOk="0">
                  <a:moveTo>
                    <a:pt x="13789" y="1"/>
                  </a:moveTo>
                  <a:lnTo>
                    <a:pt x="13236" y="70"/>
                  </a:lnTo>
                  <a:lnTo>
                    <a:pt x="12718" y="174"/>
                  </a:lnTo>
                  <a:lnTo>
                    <a:pt x="12199" y="277"/>
                  </a:lnTo>
                  <a:lnTo>
                    <a:pt x="11681" y="450"/>
                  </a:lnTo>
                  <a:lnTo>
                    <a:pt x="11163" y="623"/>
                  </a:lnTo>
                  <a:lnTo>
                    <a:pt x="10644" y="830"/>
                  </a:lnTo>
                  <a:lnTo>
                    <a:pt x="10160" y="1038"/>
                  </a:lnTo>
                  <a:lnTo>
                    <a:pt x="9642" y="1314"/>
                  </a:lnTo>
                  <a:lnTo>
                    <a:pt x="8675" y="1867"/>
                  </a:lnTo>
                  <a:lnTo>
                    <a:pt x="7742" y="2489"/>
                  </a:lnTo>
                  <a:lnTo>
                    <a:pt x="6808" y="3180"/>
                  </a:lnTo>
                  <a:lnTo>
                    <a:pt x="5910" y="3906"/>
                  </a:lnTo>
                  <a:lnTo>
                    <a:pt x="5081" y="4666"/>
                  </a:lnTo>
                  <a:lnTo>
                    <a:pt x="4251" y="5426"/>
                  </a:lnTo>
                  <a:lnTo>
                    <a:pt x="3491" y="6221"/>
                  </a:lnTo>
                  <a:lnTo>
                    <a:pt x="2731" y="7016"/>
                  </a:lnTo>
                  <a:lnTo>
                    <a:pt x="1418" y="8502"/>
                  </a:lnTo>
                  <a:lnTo>
                    <a:pt x="277" y="9850"/>
                  </a:lnTo>
                  <a:lnTo>
                    <a:pt x="139" y="10057"/>
                  </a:lnTo>
                  <a:lnTo>
                    <a:pt x="35" y="10299"/>
                  </a:lnTo>
                  <a:lnTo>
                    <a:pt x="1" y="10541"/>
                  </a:lnTo>
                  <a:lnTo>
                    <a:pt x="1" y="10783"/>
                  </a:lnTo>
                  <a:lnTo>
                    <a:pt x="35" y="11024"/>
                  </a:lnTo>
                  <a:lnTo>
                    <a:pt x="139" y="11266"/>
                  </a:lnTo>
                  <a:lnTo>
                    <a:pt x="277" y="11474"/>
                  </a:lnTo>
                  <a:lnTo>
                    <a:pt x="450" y="11646"/>
                  </a:lnTo>
                  <a:lnTo>
                    <a:pt x="623" y="11785"/>
                  </a:lnTo>
                  <a:lnTo>
                    <a:pt x="830" y="11888"/>
                  </a:lnTo>
                  <a:lnTo>
                    <a:pt x="1038" y="11923"/>
                  </a:lnTo>
                  <a:lnTo>
                    <a:pt x="1279" y="11957"/>
                  </a:lnTo>
                  <a:lnTo>
                    <a:pt x="1556" y="11923"/>
                  </a:lnTo>
                  <a:lnTo>
                    <a:pt x="1798" y="11819"/>
                  </a:lnTo>
                  <a:lnTo>
                    <a:pt x="2040" y="11681"/>
                  </a:lnTo>
                  <a:lnTo>
                    <a:pt x="2247" y="11474"/>
                  </a:lnTo>
                  <a:lnTo>
                    <a:pt x="3284" y="10264"/>
                  </a:lnTo>
                  <a:lnTo>
                    <a:pt x="4493" y="8882"/>
                  </a:lnTo>
                  <a:lnTo>
                    <a:pt x="5150" y="8191"/>
                  </a:lnTo>
                  <a:lnTo>
                    <a:pt x="5841" y="7465"/>
                  </a:lnTo>
                  <a:lnTo>
                    <a:pt x="6567" y="6739"/>
                  </a:lnTo>
                  <a:lnTo>
                    <a:pt x="7327" y="6048"/>
                  </a:lnTo>
                  <a:lnTo>
                    <a:pt x="8122" y="5392"/>
                  </a:lnTo>
                  <a:lnTo>
                    <a:pt x="8916" y="4770"/>
                  </a:lnTo>
                  <a:lnTo>
                    <a:pt x="9746" y="4217"/>
                  </a:lnTo>
                  <a:lnTo>
                    <a:pt x="10575" y="3699"/>
                  </a:lnTo>
                  <a:lnTo>
                    <a:pt x="11439" y="3284"/>
                  </a:lnTo>
                  <a:lnTo>
                    <a:pt x="11854" y="3111"/>
                  </a:lnTo>
                  <a:lnTo>
                    <a:pt x="12268" y="2938"/>
                  </a:lnTo>
                  <a:lnTo>
                    <a:pt x="12718" y="2800"/>
                  </a:lnTo>
                  <a:lnTo>
                    <a:pt x="13132" y="2696"/>
                  </a:lnTo>
                  <a:lnTo>
                    <a:pt x="13582" y="2593"/>
                  </a:lnTo>
                  <a:lnTo>
                    <a:pt x="14031" y="2558"/>
                  </a:lnTo>
                  <a:lnTo>
                    <a:pt x="14273" y="2489"/>
                  </a:lnTo>
                  <a:lnTo>
                    <a:pt x="14515" y="2420"/>
                  </a:lnTo>
                  <a:lnTo>
                    <a:pt x="14722" y="2282"/>
                  </a:lnTo>
                  <a:lnTo>
                    <a:pt x="14895" y="2109"/>
                  </a:lnTo>
                  <a:lnTo>
                    <a:pt x="15033" y="1902"/>
                  </a:lnTo>
                  <a:lnTo>
                    <a:pt x="15137" y="1660"/>
                  </a:lnTo>
                  <a:lnTo>
                    <a:pt x="15171" y="1418"/>
                  </a:lnTo>
                  <a:lnTo>
                    <a:pt x="15171" y="1176"/>
                  </a:lnTo>
                  <a:lnTo>
                    <a:pt x="15137" y="899"/>
                  </a:lnTo>
                  <a:lnTo>
                    <a:pt x="15033" y="658"/>
                  </a:lnTo>
                  <a:lnTo>
                    <a:pt x="14895" y="485"/>
                  </a:lnTo>
                  <a:lnTo>
                    <a:pt x="14722" y="277"/>
                  </a:lnTo>
                  <a:lnTo>
                    <a:pt x="14515" y="139"/>
                  </a:lnTo>
                  <a:lnTo>
                    <a:pt x="14273" y="70"/>
                  </a:lnTo>
                  <a:lnTo>
                    <a:pt x="1403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2" name="Google Shape;2371;p11">
              <a:extLst>
                <a:ext uri="{FF2B5EF4-FFF2-40B4-BE49-F238E27FC236}">
                  <a16:creationId xmlns:a16="http://schemas.microsoft.com/office/drawing/2014/main" id="{0F094048-F8EA-1C9E-2CD1-3B2A016A9CB2}"/>
                </a:ext>
              </a:extLst>
            </p:cNvPr>
            <p:cNvSpPr/>
            <p:nvPr/>
          </p:nvSpPr>
          <p:spPr>
            <a:xfrm>
              <a:off x="2876975" y="2150800"/>
              <a:ext cx="352500" cy="326600"/>
            </a:xfrm>
            <a:custGeom>
              <a:avLst/>
              <a:gdLst/>
              <a:ahLst/>
              <a:cxnLst/>
              <a:rect l="l" t="t" r="r" b="b"/>
              <a:pathLst>
                <a:path w="14100" h="13064" extrusionOk="0">
                  <a:moveTo>
                    <a:pt x="1037" y="1"/>
                  </a:moveTo>
                  <a:lnTo>
                    <a:pt x="795" y="70"/>
                  </a:lnTo>
                  <a:lnTo>
                    <a:pt x="553" y="208"/>
                  </a:lnTo>
                  <a:lnTo>
                    <a:pt x="380" y="381"/>
                  </a:lnTo>
                  <a:lnTo>
                    <a:pt x="207" y="554"/>
                  </a:lnTo>
                  <a:lnTo>
                    <a:pt x="69" y="796"/>
                  </a:lnTo>
                  <a:lnTo>
                    <a:pt x="0" y="1038"/>
                  </a:lnTo>
                  <a:lnTo>
                    <a:pt x="0" y="1279"/>
                  </a:lnTo>
                  <a:lnTo>
                    <a:pt x="0" y="1521"/>
                  </a:lnTo>
                  <a:lnTo>
                    <a:pt x="69" y="1763"/>
                  </a:lnTo>
                  <a:lnTo>
                    <a:pt x="207" y="1971"/>
                  </a:lnTo>
                  <a:lnTo>
                    <a:pt x="380" y="2178"/>
                  </a:lnTo>
                  <a:lnTo>
                    <a:pt x="1970" y="3768"/>
                  </a:lnTo>
                  <a:lnTo>
                    <a:pt x="3594" y="5357"/>
                  </a:lnTo>
                  <a:lnTo>
                    <a:pt x="5529" y="7189"/>
                  </a:lnTo>
                  <a:lnTo>
                    <a:pt x="7395" y="8951"/>
                  </a:lnTo>
                  <a:lnTo>
                    <a:pt x="8847" y="10299"/>
                  </a:lnTo>
                  <a:lnTo>
                    <a:pt x="9987" y="11301"/>
                  </a:lnTo>
                  <a:lnTo>
                    <a:pt x="10851" y="11992"/>
                  </a:lnTo>
                  <a:lnTo>
                    <a:pt x="11438" y="12476"/>
                  </a:lnTo>
                  <a:lnTo>
                    <a:pt x="11888" y="12752"/>
                  </a:lnTo>
                  <a:lnTo>
                    <a:pt x="12164" y="12890"/>
                  </a:lnTo>
                  <a:lnTo>
                    <a:pt x="12337" y="12994"/>
                  </a:lnTo>
                  <a:lnTo>
                    <a:pt x="12579" y="13063"/>
                  </a:lnTo>
                  <a:lnTo>
                    <a:pt x="12993" y="13063"/>
                  </a:lnTo>
                  <a:lnTo>
                    <a:pt x="13201" y="13029"/>
                  </a:lnTo>
                  <a:lnTo>
                    <a:pt x="13373" y="12960"/>
                  </a:lnTo>
                  <a:lnTo>
                    <a:pt x="13512" y="12856"/>
                  </a:lnTo>
                  <a:lnTo>
                    <a:pt x="13684" y="12752"/>
                  </a:lnTo>
                  <a:lnTo>
                    <a:pt x="13823" y="12614"/>
                  </a:lnTo>
                  <a:lnTo>
                    <a:pt x="13926" y="12441"/>
                  </a:lnTo>
                  <a:lnTo>
                    <a:pt x="13995" y="12268"/>
                  </a:lnTo>
                  <a:lnTo>
                    <a:pt x="14065" y="12026"/>
                  </a:lnTo>
                  <a:lnTo>
                    <a:pt x="14099" y="11785"/>
                  </a:lnTo>
                  <a:lnTo>
                    <a:pt x="14065" y="11543"/>
                  </a:lnTo>
                  <a:lnTo>
                    <a:pt x="13995" y="11301"/>
                  </a:lnTo>
                  <a:lnTo>
                    <a:pt x="13892" y="11093"/>
                  </a:lnTo>
                  <a:lnTo>
                    <a:pt x="13719" y="10886"/>
                  </a:lnTo>
                  <a:lnTo>
                    <a:pt x="13512" y="10748"/>
                  </a:lnTo>
                  <a:lnTo>
                    <a:pt x="13304" y="10610"/>
                  </a:lnTo>
                  <a:lnTo>
                    <a:pt x="13062" y="10471"/>
                  </a:lnTo>
                  <a:lnTo>
                    <a:pt x="12717" y="10230"/>
                  </a:lnTo>
                  <a:lnTo>
                    <a:pt x="11784" y="9469"/>
                  </a:lnTo>
                  <a:lnTo>
                    <a:pt x="10574" y="8398"/>
                  </a:lnTo>
                  <a:lnTo>
                    <a:pt x="9123" y="7050"/>
                  </a:lnTo>
                  <a:lnTo>
                    <a:pt x="7464" y="5530"/>
                  </a:lnTo>
                  <a:lnTo>
                    <a:pt x="5736" y="3871"/>
                  </a:lnTo>
                  <a:lnTo>
                    <a:pt x="3940" y="2143"/>
                  </a:lnTo>
                  <a:lnTo>
                    <a:pt x="2177" y="381"/>
                  </a:lnTo>
                  <a:lnTo>
                    <a:pt x="1970" y="208"/>
                  </a:lnTo>
                  <a:lnTo>
                    <a:pt x="1762" y="70"/>
                  </a:lnTo>
                  <a:lnTo>
                    <a:pt x="1521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3" name="Google Shape;2372;p11">
              <a:extLst>
                <a:ext uri="{FF2B5EF4-FFF2-40B4-BE49-F238E27FC236}">
                  <a16:creationId xmlns:a16="http://schemas.microsoft.com/office/drawing/2014/main" id="{6811D485-9B12-6496-51EE-8992B891C9F4}"/>
                </a:ext>
              </a:extLst>
            </p:cNvPr>
            <p:cNvSpPr/>
            <p:nvPr/>
          </p:nvSpPr>
          <p:spPr>
            <a:xfrm>
              <a:off x="2868325" y="2170675"/>
              <a:ext cx="379275" cy="298950"/>
            </a:xfrm>
            <a:custGeom>
              <a:avLst/>
              <a:gdLst/>
              <a:ahLst/>
              <a:cxnLst/>
              <a:rect l="l" t="t" r="r" b="b"/>
              <a:pathLst>
                <a:path w="15171" h="11958" extrusionOk="0">
                  <a:moveTo>
                    <a:pt x="13789" y="1"/>
                  </a:moveTo>
                  <a:lnTo>
                    <a:pt x="13270" y="70"/>
                  </a:lnTo>
                  <a:lnTo>
                    <a:pt x="12717" y="139"/>
                  </a:lnTo>
                  <a:lnTo>
                    <a:pt x="12199" y="277"/>
                  </a:lnTo>
                  <a:lnTo>
                    <a:pt x="11681" y="450"/>
                  </a:lnTo>
                  <a:lnTo>
                    <a:pt x="11162" y="623"/>
                  </a:lnTo>
                  <a:lnTo>
                    <a:pt x="10678" y="830"/>
                  </a:lnTo>
                  <a:lnTo>
                    <a:pt x="10160" y="1037"/>
                  </a:lnTo>
                  <a:lnTo>
                    <a:pt x="9676" y="1279"/>
                  </a:lnTo>
                  <a:lnTo>
                    <a:pt x="8674" y="1867"/>
                  </a:lnTo>
                  <a:lnTo>
                    <a:pt x="7741" y="2489"/>
                  </a:lnTo>
                  <a:lnTo>
                    <a:pt x="6808" y="3180"/>
                  </a:lnTo>
                  <a:lnTo>
                    <a:pt x="5944" y="3906"/>
                  </a:lnTo>
                  <a:lnTo>
                    <a:pt x="5080" y="4666"/>
                  </a:lnTo>
                  <a:lnTo>
                    <a:pt x="4251" y="5426"/>
                  </a:lnTo>
                  <a:lnTo>
                    <a:pt x="3491" y="6221"/>
                  </a:lnTo>
                  <a:lnTo>
                    <a:pt x="2765" y="7016"/>
                  </a:lnTo>
                  <a:lnTo>
                    <a:pt x="1417" y="8502"/>
                  </a:lnTo>
                  <a:lnTo>
                    <a:pt x="277" y="9849"/>
                  </a:lnTo>
                  <a:lnTo>
                    <a:pt x="139" y="10057"/>
                  </a:lnTo>
                  <a:lnTo>
                    <a:pt x="35" y="10298"/>
                  </a:lnTo>
                  <a:lnTo>
                    <a:pt x="1" y="10540"/>
                  </a:lnTo>
                  <a:lnTo>
                    <a:pt x="1" y="10782"/>
                  </a:lnTo>
                  <a:lnTo>
                    <a:pt x="35" y="11024"/>
                  </a:lnTo>
                  <a:lnTo>
                    <a:pt x="139" y="11231"/>
                  </a:lnTo>
                  <a:lnTo>
                    <a:pt x="277" y="11473"/>
                  </a:lnTo>
                  <a:lnTo>
                    <a:pt x="450" y="11646"/>
                  </a:lnTo>
                  <a:lnTo>
                    <a:pt x="657" y="11784"/>
                  </a:lnTo>
                  <a:lnTo>
                    <a:pt x="830" y="11854"/>
                  </a:lnTo>
                  <a:lnTo>
                    <a:pt x="1072" y="11923"/>
                  </a:lnTo>
                  <a:lnTo>
                    <a:pt x="1279" y="11957"/>
                  </a:lnTo>
                  <a:lnTo>
                    <a:pt x="1556" y="11923"/>
                  </a:lnTo>
                  <a:lnTo>
                    <a:pt x="1797" y="11819"/>
                  </a:lnTo>
                  <a:lnTo>
                    <a:pt x="2039" y="11681"/>
                  </a:lnTo>
                  <a:lnTo>
                    <a:pt x="2247" y="11473"/>
                  </a:lnTo>
                  <a:lnTo>
                    <a:pt x="3283" y="10264"/>
                  </a:lnTo>
                  <a:lnTo>
                    <a:pt x="4493" y="8882"/>
                  </a:lnTo>
                  <a:lnTo>
                    <a:pt x="5149" y="8191"/>
                  </a:lnTo>
                  <a:lnTo>
                    <a:pt x="5841" y="7465"/>
                  </a:lnTo>
                  <a:lnTo>
                    <a:pt x="6566" y="6739"/>
                  </a:lnTo>
                  <a:lnTo>
                    <a:pt x="7327" y="6048"/>
                  </a:lnTo>
                  <a:lnTo>
                    <a:pt x="8121" y="5391"/>
                  </a:lnTo>
                  <a:lnTo>
                    <a:pt x="8916" y="4769"/>
                  </a:lnTo>
                  <a:lnTo>
                    <a:pt x="9745" y="4217"/>
                  </a:lnTo>
                  <a:lnTo>
                    <a:pt x="10575" y="3698"/>
                  </a:lnTo>
                  <a:lnTo>
                    <a:pt x="11439" y="3284"/>
                  </a:lnTo>
                  <a:lnTo>
                    <a:pt x="11853" y="3076"/>
                  </a:lnTo>
                  <a:lnTo>
                    <a:pt x="12303" y="2938"/>
                  </a:lnTo>
                  <a:lnTo>
                    <a:pt x="12717" y="2800"/>
                  </a:lnTo>
                  <a:lnTo>
                    <a:pt x="13167" y="2696"/>
                  </a:lnTo>
                  <a:lnTo>
                    <a:pt x="13581" y="2592"/>
                  </a:lnTo>
                  <a:lnTo>
                    <a:pt x="14030" y="2558"/>
                  </a:lnTo>
                  <a:lnTo>
                    <a:pt x="14272" y="2489"/>
                  </a:lnTo>
                  <a:lnTo>
                    <a:pt x="14514" y="2385"/>
                  </a:lnTo>
                  <a:lnTo>
                    <a:pt x="14722" y="2247"/>
                  </a:lnTo>
                  <a:lnTo>
                    <a:pt x="14894" y="2074"/>
                  </a:lnTo>
                  <a:lnTo>
                    <a:pt x="15033" y="1901"/>
                  </a:lnTo>
                  <a:lnTo>
                    <a:pt x="15136" y="1659"/>
                  </a:lnTo>
                  <a:lnTo>
                    <a:pt x="15171" y="1417"/>
                  </a:lnTo>
                  <a:lnTo>
                    <a:pt x="15171" y="1141"/>
                  </a:lnTo>
                  <a:lnTo>
                    <a:pt x="15136" y="899"/>
                  </a:lnTo>
                  <a:lnTo>
                    <a:pt x="15033" y="657"/>
                  </a:lnTo>
                  <a:lnTo>
                    <a:pt x="14894" y="450"/>
                  </a:lnTo>
                  <a:lnTo>
                    <a:pt x="14722" y="277"/>
                  </a:lnTo>
                  <a:lnTo>
                    <a:pt x="14514" y="139"/>
                  </a:lnTo>
                  <a:lnTo>
                    <a:pt x="14307" y="35"/>
                  </a:lnTo>
                  <a:lnTo>
                    <a:pt x="14065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4" name="Google Shape;2373;p11">
              <a:extLst>
                <a:ext uri="{FF2B5EF4-FFF2-40B4-BE49-F238E27FC236}">
                  <a16:creationId xmlns:a16="http://schemas.microsoft.com/office/drawing/2014/main" id="{58D2E8E4-7399-9142-9A0F-FC5C0B12A8EF}"/>
                </a:ext>
              </a:extLst>
            </p:cNvPr>
            <p:cNvSpPr/>
            <p:nvPr/>
          </p:nvSpPr>
          <p:spPr>
            <a:xfrm>
              <a:off x="3008275" y="1469175"/>
              <a:ext cx="309300" cy="287725"/>
            </a:xfrm>
            <a:custGeom>
              <a:avLst/>
              <a:gdLst/>
              <a:ahLst/>
              <a:cxnLst/>
              <a:rect l="l" t="t" r="r" b="b"/>
              <a:pathLst>
                <a:path w="12372" h="11509" extrusionOk="0">
                  <a:moveTo>
                    <a:pt x="1210" y="1"/>
                  </a:moveTo>
                  <a:lnTo>
                    <a:pt x="968" y="35"/>
                  </a:lnTo>
                  <a:lnTo>
                    <a:pt x="761" y="105"/>
                  </a:lnTo>
                  <a:lnTo>
                    <a:pt x="554" y="208"/>
                  </a:lnTo>
                  <a:lnTo>
                    <a:pt x="381" y="346"/>
                  </a:lnTo>
                  <a:lnTo>
                    <a:pt x="208" y="554"/>
                  </a:lnTo>
                  <a:lnTo>
                    <a:pt x="104" y="761"/>
                  </a:lnTo>
                  <a:lnTo>
                    <a:pt x="35" y="968"/>
                  </a:lnTo>
                  <a:lnTo>
                    <a:pt x="1" y="1210"/>
                  </a:lnTo>
                  <a:lnTo>
                    <a:pt x="35" y="1452"/>
                  </a:lnTo>
                  <a:lnTo>
                    <a:pt x="104" y="1660"/>
                  </a:lnTo>
                  <a:lnTo>
                    <a:pt x="208" y="1867"/>
                  </a:lnTo>
                  <a:lnTo>
                    <a:pt x="381" y="2040"/>
                  </a:lnTo>
                  <a:lnTo>
                    <a:pt x="2869" y="4528"/>
                  </a:lnTo>
                  <a:lnTo>
                    <a:pt x="4389" y="6014"/>
                  </a:lnTo>
                  <a:lnTo>
                    <a:pt x="5944" y="7465"/>
                  </a:lnTo>
                  <a:lnTo>
                    <a:pt x="7465" y="8882"/>
                  </a:lnTo>
                  <a:lnTo>
                    <a:pt x="8847" y="10057"/>
                  </a:lnTo>
                  <a:lnTo>
                    <a:pt x="9435" y="10541"/>
                  </a:lnTo>
                  <a:lnTo>
                    <a:pt x="9953" y="10921"/>
                  </a:lnTo>
                  <a:lnTo>
                    <a:pt x="10402" y="11232"/>
                  </a:lnTo>
                  <a:lnTo>
                    <a:pt x="10748" y="11404"/>
                  </a:lnTo>
                  <a:lnTo>
                    <a:pt x="10955" y="11474"/>
                  </a:lnTo>
                  <a:lnTo>
                    <a:pt x="11197" y="11508"/>
                  </a:lnTo>
                  <a:lnTo>
                    <a:pt x="11370" y="11474"/>
                  </a:lnTo>
                  <a:lnTo>
                    <a:pt x="11543" y="11439"/>
                  </a:lnTo>
                  <a:lnTo>
                    <a:pt x="11681" y="11370"/>
                  </a:lnTo>
                  <a:lnTo>
                    <a:pt x="11854" y="11301"/>
                  </a:lnTo>
                  <a:lnTo>
                    <a:pt x="11992" y="11197"/>
                  </a:lnTo>
                  <a:lnTo>
                    <a:pt x="12095" y="11059"/>
                  </a:lnTo>
                  <a:lnTo>
                    <a:pt x="12199" y="10921"/>
                  </a:lnTo>
                  <a:lnTo>
                    <a:pt x="12303" y="10748"/>
                  </a:lnTo>
                  <a:lnTo>
                    <a:pt x="12372" y="10506"/>
                  </a:lnTo>
                  <a:lnTo>
                    <a:pt x="12372" y="10264"/>
                  </a:lnTo>
                  <a:lnTo>
                    <a:pt x="12372" y="10057"/>
                  </a:lnTo>
                  <a:lnTo>
                    <a:pt x="12303" y="9815"/>
                  </a:lnTo>
                  <a:lnTo>
                    <a:pt x="12165" y="9642"/>
                  </a:lnTo>
                  <a:lnTo>
                    <a:pt x="12026" y="9469"/>
                  </a:lnTo>
                  <a:lnTo>
                    <a:pt x="11854" y="9297"/>
                  </a:lnTo>
                  <a:lnTo>
                    <a:pt x="11646" y="9193"/>
                  </a:lnTo>
                  <a:lnTo>
                    <a:pt x="11439" y="9055"/>
                  </a:lnTo>
                  <a:lnTo>
                    <a:pt x="11128" y="8847"/>
                  </a:lnTo>
                  <a:lnTo>
                    <a:pt x="10333" y="8191"/>
                  </a:lnTo>
                  <a:lnTo>
                    <a:pt x="9262" y="7258"/>
                  </a:lnTo>
                  <a:lnTo>
                    <a:pt x="8018" y="6117"/>
                  </a:lnTo>
                  <a:lnTo>
                    <a:pt x="5115" y="3387"/>
                  </a:lnTo>
                  <a:lnTo>
                    <a:pt x="2040" y="346"/>
                  </a:lnTo>
                  <a:lnTo>
                    <a:pt x="1867" y="208"/>
                  </a:lnTo>
                  <a:lnTo>
                    <a:pt x="1659" y="105"/>
                  </a:lnTo>
                  <a:lnTo>
                    <a:pt x="1452" y="35"/>
                  </a:lnTo>
                  <a:lnTo>
                    <a:pt x="1210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5" name="Google Shape;2374;p11">
              <a:extLst>
                <a:ext uri="{FF2B5EF4-FFF2-40B4-BE49-F238E27FC236}">
                  <a16:creationId xmlns:a16="http://schemas.microsoft.com/office/drawing/2014/main" id="{69D4AE32-CDA6-32E7-BE62-3E2EEB448412}"/>
                </a:ext>
              </a:extLst>
            </p:cNvPr>
            <p:cNvSpPr/>
            <p:nvPr/>
          </p:nvSpPr>
          <p:spPr>
            <a:xfrm>
              <a:off x="3001375" y="1486450"/>
              <a:ext cx="332625" cy="262675"/>
            </a:xfrm>
            <a:custGeom>
              <a:avLst/>
              <a:gdLst/>
              <a:ahLst/>
              <a:cxnLst/>
              <a:rect l="l" t="t" r="r" b="b"/>
              <a:pathLst>
                <a:path w="13305" h="10507" extrusionOk="0">
                  <a:moveTo>
                    <a:pt x="11991" y="1"/>
                  </a:moveTo>
                  <a:lnTo>
                    <a:pt x="11542" y="70"/>
                  </a:lnTo>
                  <a:lnTo>
                    <a:pt x="11058" y="139"/>
                  </a:lnTo>
                  <a:lnTo>
                    <a:pt x="10609" y="277"/>
                  </a:lnTo>
                  <a:lnTo>
                    <a:pt x="10160" y="381"/>
                  </a:lnTo>
                  <a:lnTo>
                    <a:pt x="9711" y="554"/>
                  </a:lnTo>
                  <a:lnTo>
                    <a:pt x="9261" y="727"/>
                  </a:lnTo>
                  <a:lnTo>
                    <a:pt x="8397" y="1141"/>
                  </a:lnTo>
                  <a:lnTo>
                    <a:pt x="7568" y="1625"/>
                  </a:lnTo>
                  <a:lnTo>
                    <a:pt x="6739" y="2178"/>
                  </a:lnTo>
                  <a:lnTo>
                    <a:pt x="5944" y="2766"/>
                  </a:lnTo>
                  <a:lnTo>
                    <a:pt x="5149" y="3388"/>
                  </a:lnTo>
                  <a:lnTo>
                    <a:pt x="4423" y="4044"/>
                  </a:lnTo>
                  <a:lnTo>
                    <a:pt x="3732" y="4735"/>
                  </a:lnTo>
                  <a:lnTo>
                    <a:pt x="3041" y="5392"/>
                  </a:lnTo>
                  <a:lnTo>
                    <a:pt x="2419" y="6083"/>
                  </a:lnTo>
                  <a:lnTo>
                    <a:pt x="1244" y="7396"/>
                  </a:lnTo>
                  <a:lnTo>
                    <a:pt x="277" y="8536"/>
                  </a:lnTo>
                  <a:lnTo>
                    <a:pt x="138" y="8744"/>
                  </a:lnTo>
                  <a:lnTo>
                    <a:pt x="35" y="8951"/>
                  </a:lnTo>
                  <a:lnTo>
                    <a:pt x="0" y="9193"/>
                  </a:lnTo>
                  <a:lnTo>
                    <a:pt x="0" y="9435"/>
                  </a:lnTo>
                  <a:lnTo>
                    <a:pt x="35" y="9642"/>
                  </a:lnTo>
                  <a:lnTo>
                    <a:pt x="138" y="9850"/>
                  </a:lnTo>
                  <a:lnTo>
                    <a:pt x="242" y="10057"/>
                  </a:lnTo>
                  <a:lnTo>
                    <a:pt x="415" y="10230"/>
                  </a:lnTo>
                  <a:lnTo>
                    <a:pt x="588" y="10368"/>
                  </a:lnTo>
                  <a:lnTo>
                    <a:pt x="795" y="10437"/>
                  </a:lnTo>
                  <a:lnTo>
                    <a:pt x="1002" y="10506"/>
                  </a:lnTo>
                  <a:lnTo>
                    <a:pt x="1175" y="10506"/>
                  </a:lnTo>
                  <a:lnTo>
                    <a:pt x="1452" y="10472"/>
                  </a:lnTo>
                  <a:lnTo>
                    <a:pt x="1693" y="10402"/>
                  </a:lnTo>
                  <a:lnTo>
                    <a:pt x="1901" y="10264"/>
                  </a:lnTo>
                  <a:lnTo>
                    <a:pt x="2108" y="10091"/>
                  </a:lnTo>
                  <a:lnTo>
                    <a:pt x="3007" y="9020"/>
                  </a:lnTo>
                  <a:lnTo>
                    <a:pt x="4043" y="7845"/>
                  </a:lnTo>
                  <a:lnTo>
                    <a:pt x="4596" y="7223"/>
                  </a:lnTo>
                  <a:lnTo>
                    <a:pt x="5184" y="6636"/>
                  </a:lnTo>
                  <a:lnTo>
                    <a:pt x="5840" y="6014"/>
                  </a:lnTo>
                  <a:lnTo>
                    <a:pt x="6462" y="5426"/>
                  </a:lnTo>
                  <a:lnTo>
                    <a:pt x="7153" y="4839"/>
                  </a:lnTo>
                  <a:lnTo>
                    <a:pt x="7845" y="4321"/>
                  </a:lnTo>
                  <a:lnTo>
                    <a:pt x="8536" y="3837"/>
                  </a:lnTo>
                  <a:lnTo>
                    <a:pt x="9261" y="3388"/>
                  </a:lnTo>
                  <a:lnTo>
                    <a:pt x="9987" y="3007"/>
                  </a:lnTo>
                  <a:lnTo>
                    <a:pt x="10713" y="2731"/>
                  </a:lnTo>
                  <a:lnTo>
                    <a:pt x="11093" y="2593"/>
                  </a:lnTo>
                  <a:lnTo>
                    <a:pt x="11473" y="2524"/>
                  </a:lnTo>
                  <a:lnTo>
                    <a:pt x="11853" y="2455"/>
                  </a:lnTo>
                  <a:lnTo>
                    <a:pt x="12199" y="2385"/>
                  </a:lnTo>
                  <a:lnTo>
                    <a:pt x="12441" y="2351"/>
                  </a:lnTo>
                  <a:lnTo>
                    <a:pt x="12682" y="2247"/>
                  </a:lnTo>
                  <a:lnTo>
                    <a:pt x="12855" y="2143"/>
                  </a:lnTo>
                  <a:lnTo>
                    <a:pt x="13028" y="1971"/>
                  </a:lnTo>
                  <a:lnTo>
                    <a:pt x="13166" y="1763"/>
                  </a:lnTo>
                  <a:lnTo>
                    <a:pt x="13235" y="1556"/>
                  </a:lnTo>
                  <a:lnTo>
                    <a:pt x="13304" y="1349"/>
                  </a:lnTo>
                  <a:lnTo>
                    <a:pt x="13304" y="1107"/>
                  </a:lnTo>
                  <a:lnTo>
                    <a:pt x="13235" y="865"/>
                  </a:lnTo>
                  <a:lnTo>
                    <a:pt x="13166" y="623"/>
                  </a:lnTo>
                  <a:lnTo>
                    <a:pt x="13028" y="450"/>
                  </a:lnTo>
                  <a:lnTo>
                    <a:pt x="12855" y="277"/>
                  </a:lnTo>
                  <a:lnTo>
                    <a:pt x="12682" y="139"/>
                  </a:lnTo>
                  <a:lnTo>
                    <a:pt x="12475" y="70"/>
                  </a:lnTo>
                  <a:lnTo>
                    <a:pt x="12233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6" name="Google Shape;2375;p11">
              <a:extLst>
                <a:ext uri="{FF2B5EF4-FFF2-40B4-BE49-F238E27FC236}">
                  <a16:creationId xmlns:a16="http://schemas.microsoft.com/office/drawing/2014/main" id="{550ACA33-6DCE-D575-9DC4-17224873C2B9}"/>
                </a:ext>
              </a:extLst>
            </p:cNvPr>
            <p:cNvSpPr/>
            <p:nvPr/>
          </p:nvSpPr>
          <p:spPr>
            <a:xfrm>
              <a:off x="3994875" y="2391850"/>
              <a:ext cx="120100" cy="181425"/>
            </a:xfrm>
            <a:custGeom>
              <a:avLst/>
              <a:gdLst/>
              <a:ahLst/>
              <a:cxnLst/>
              <a:rect l="l" t="t" r="r" b="b"/>
              <a:pathLst>
                <a:path w="4804" h="7257" extrusionOk="0">
                  <a:moveTo>
                    <a:pt x="207" y="0"/>
                  </a:moveTo>
                  <a:lnTo>
                    <a:pt x="138" y="35"/>
                  </a:lnTo>
                  <a:lnTo>
                    <a:pt x="69" y="69"/>
                  </a:lnTo>
                  <a:lnTo>
                    <a:pt x="35" y="104"/>
                  </a:lnTo>
                  <a:lnTo>
                    <a:pt x="0" y="207"/>
                  </a:lnTo>
                  <a:lnTo>
                    <a:pt x="35" y="277"/>
                  </a:lnTo>
                  <a:lnTo>
                    <a:pt x="69" y="346"/>
                  </a:lnTo>
                  <a:lnTo>
                    <a:pt x="104" y="380"/>
                  </a:lnTo>
                  <a:lnTo>
                    <a:pt x="207" y="415"/>
                  </a:lnTo>
                  <a:lnTo>
                    <a:pt x="2523" y="553"/>
                  </a:lnTo>
                  <a:lnTo>
                    <a:pt x="3041" y="2315"/>
                  </a:lnTo>
                  <a:lnTo>
                    <a:pt x="3663" y="4492"/>
                  </a:lnTo>
                  <a:lnTo>
                    <a:pt x="4389" y="7119"/>
                  </a:lnTo>
                  <a:lnTo>
                    <a:pt x="4423" y="7188"/>
                  </a:lnTo>
                  <a:lnTo>
                    <a:pt x="4492" y="7222"/>
                  </a:lnTo>
                  <a:lnTo>
                    <a:pt x="4527" y="7257"/>
                  </a:lnTo>
                  <a:lnTo>
                    <a:pt x="4665" y="7257"/>
                  </a:lnTo>
                  <a:lnTo>
                    <a:pt x="4734" y="7222"/>
                  </a:lnTo>
                  <a:lnTo>
                    <a:pt x="4769" y="7153"/>
                  </a:lnTo>
                  <a:lnTo>
                    <a:pt x="4803" y="7084"/>
                  </a:lnTo>
                  <a:lnTo>
                    <a:pt x="4803" y="7015"/>
                  </a:lnTo>
                  <a:lnTo>
                    <a:pt x="4009" y="4251"/>
                  </a:lnTo>
                  <a:lnTo>
                    <a:pt x="3387" y="2039"/>
                  </a:lnTo>
                  <a:lnTo>
                    <a:pt x="2868" y="311"/>
                  </a:lnTo>
                  <a:lnTo>
                    <a:pt x="2799" y="207"/>
                  </a:lnTo>
                  <a:lnTo>
                    <a:pt x="2661" y="173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7" name="Google Shape;2376;p11">
              <a:extLst>
                <a:ext uri="{FF2B5EF4-FFF2-40B4-BE49-F238E27FC236}">
                  <a16:creationId xmlns:a16="http://schemas.microsoft.com/office/drawing/2014/main" id="{8AC70D32-3D6E-7D6C-1F96-E5BC7AF2499D}"/>
                </a:ext>
              </a:extLst>
            </p:cNvPr>
            <p:cNvSpPr/>
            <p:nvPr/>
          </p:nvSpPr>
          <p:spPr>
            <a:xfrm>
              <a:off x="4140000" y="2552525"/>
              <a:ext cx="80375" cy="38900"/>
            </a:xfrm>
            <a:custGeom>
              <a:avLst/>
              <a:gdLst/>
              <a:ahLst/>
              <a:cxnLst/>
              <a:rect l="l" t="t" r="r" b="b"/>
              <a:pathLst>
                <a:path w="3215" h="1556" extrusionOk="0">
                  <a:moveTo>
                    <a:pt x="173" y="1"/>
                  </a:moveTo>
                  <a:lnTo>
                    <a:pt x="104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104" y="1452"/>
                  </a:lnTo>
                  <a:lnTo>
                    <a:pt x="173" y="1521"/>
                  </a:lnTo>
                  <a:lnTo>
                    <a:pt x="277" y="1556"/>
                  </a:lnTo>
                  <a:lnTo>
                    <a:pt x="2938" y="1556"/>
                  </a:lnTo>
                  <a:lnTo>
                    <a:pt x="3042" y="1521"/>
                  </a:lnTo>
                  <a:lnTo>
                    <a:pt x="3145" y="1452"/>
                  </a:lnTo>
                  <a:lnTo>
                    <a:pt x="3180" y="1348"/>
                  </a:lnTo>
                  <a:lnTo>
                    <a:pt x="3214" y="1245"/>
                  </a:lnTo>
                  <a:lnTo>
                    <a:pt x="3214" y="277"/>
                  </a:lnTo>
                  <a:lnTo>
                    <a:pt x="3180" y="173"/>
                  </a:lnTo>
                  <a:lnTo>
                    <a:pt x="3145" y="70"/>
                  </a:lnTo>
                  <a:lnTo>
                    <a:pt x="3042" y="1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8" name="Google Shape;2377;p11">
              <a:extLst>
                <a:ext uri="{FF2B5EF4-FFF2-40B4-BE49-F238E27FC236}">
                  <a16:creationId xmlns:a16="http://schemas.microsoft.com/office/drawing/2014/main" id="{461D2C15-466E-C575-F14C-069AD72FD199}"/>
                </a:ext>
              </a:extLst>
            </p:cNvPr>
            <p:cNvSpPr/>
            <p:nvPr/>
          </p:nvSpPr>
          <p:spPr>
            <a:xfrm>
              <a:off x="4140000" y="2552525"/>
              <a:ext cx="80375" cy="38900"/>
            </a:xfrm>
            <a:custGeom>
              <a:avLst/>
              <a:gdLst/>
              <a:ahLst/>
              <a:cxnLst/>
              <a:rect l="l" t="t" r="r" b="b"/>
              <a:pathLst>
                <a:path w="3215" h="1556" fill="none" extrusionOk="0">
                  <a:moveTo>
                    <a:pt x="2938" y="1"/>
                  </a:moveTo>
                  <a:lnTo>
                    <a:pt x="277" y="1"/>
                  </a:lnTo>
                  <a:lnTo>
                    <a:pt x="277" y="1"/>
                  </a:lnTo>
                  <a:lnTo>
                    <a:pt x="173" y="1"/>
                  </a:lnTo>
                  <a:lnTo>
                    <a:pt x="104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45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104" y="1452"/>
                  </a:lnTo>
                  <a:lnTo>
                    <a:pt x="173" y="1521"/>
                  </a:lnTo>
                  <a:lnTo>
                    <a:pt x="277" y="1556"/>
                  </a:lnTo>
                  <a:lnTo>
                    <a:pt x="2938" y="1556"/>
                  </a:lnTo>
                  <a:lnTo>
                    <a:pt x="2938" y="1556"/>
                  </a:lnTo>
                  <a:lnTo>
                    <a:pt x="3042" y="1521"/>
                  </a:lnTo>
                  <a:lnTo>
                    <a:pt x="3145" y="1452"/>
                  </a:lnTo>
                  <a:lnTo>
                    <a:pt x="3180" y="1348"/>
                  </a:lnTo>
                  <a:lnTo>
                    <a:pt x="3214" y="1245"/>
                  </a:lnTo>
                  <a:lnTo>
                    <a:pt x="3214" y="277"/>
                  </a:lnTo>
                  <a:lnTo>
                    <a:pt x="3214" y="277"/>
                  </a:lnTo>
                  <a:lnTo>
                    <a:pt x="3180" y="173"/>
                  </a:lnTo>
                  <a:lnTo>
                    <a:pt x="3145" y="70"/>
                  </a:lnTo>
                  <a:lnTo>
                    <a:pt x="3042" y="1"/>
                  </a:lnTo>
                  <a:lnTo>
                    <a:pt x="293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9" name="Google Shape;2378;p11">
              <a:extLst>
                <a:ext uri="{FF2B5EF4-FFF2-40B4-BE49-F238E27FC236}">
                  <a16:creationId xmlns:a16="http://schemas.microsoft.com/office/drawing/2014/main" id="{ADAC6AE4-4D0F-D391-D867-2E18A5B37151}"/>
                </a:ext>
              </a:extLst>
            </p:cNvPr>
            <p:cNvSpPr/>
            <p:nvPr/>
          </p:nvSpPr>
          <p:spPr>
            <a:xfrm>
              <a:off x="4247125" y="2550800"/>
              <a:ext cx="139975" cy="38900"/>
            </a:xfrm>
            <a:custGeom>
              <a:avLst/>
              <a:gdLst/>
              <a:ahLst/>
              <a:cxnLst/>
              <a:rect l="l" t="t" r="r" b="b"/>
              <a:pathLst>
                <a:path w="5599" h="1556" extrusionOk="0">
                  <a:moveTo>
                    <a:pt x="312" y="0"/>
                  </a:moveTo>
                  <a:lnTo>
                    <a:pt x="173" y="35"/>
                  </a:lnTo>
                  <a:lnTo>
                    <a:pt x="70" y="104"/>
                  </a:lnTo>
                  <a:lnTo>
                    <a:pt x="35" y="208"/>
                  </a:lnTo>
                  <a:lnTo>
                    <a:pt x="1" y="311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70" y="1452"/>
                  </a:lnTo>
                  <a:lnTo>
                    <a:pt x="173" y="1521"/>
                  </a:lnTo>
                  <a:lnTo>
                    <a:pt x="312" y="1556"/>
                  </a:lnTo>
                  <a:lnTo>
                    <a:pt x="5288" y="1556"/>
                  </a:lnTo>
                  <a:lnTo>
                    <a:pt x="5426" y="1521"/>
                  </a:lnTo>
                  <a:lnTo>
                    <a:pt x="5530" y="1452"/>
                  </a:lnTo>
                  <a:lnTo>
                    <a:pt x="5599" y="1348"/>
                  </a:lnTo>
                  <a:lnTo>
                    <a:pt x="5599" y="1245"/>
                  </a:lnTo>
                  <a:lnTo>
                    <a:pt x="5599" y="311"/>
                  </a:lnTo>
                  <a:lnTo>
                    <a:pt x="5599" y="208"/>
                  </a:lnTo>
                  <a:lnTo>
                    <a:pt x="5530" y="104"/>
                  </a:lnTo>
                  <a:lnTo>
                    <a:pt x="5426" y="35"/>
                  </a:lnTo>
                  <a:lnTo>
                    <a:pt x="5288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0" name="Google Shape;2379;p11">
              <a:extLst>
                <a:ext uri="{FF2B5EF4-FFF2-40B4-BE49-F238E27FC236}">
                  <a16:creationId xmlns:a16="http://schemas.microsoft.com/office/drawing/2014/main" id="{1AADA7F3-96AE-F85A-22D0-F45CF9BBABED}"/>
                </a:ext>
              </a:extLst>
            </p:cNvPr>
            <p:cNvSpPr/>
            <p:nvPr/>
          </p:nvSpPr>
          <p:spPr>
            <a:xfrm>
              <a:off x="4247125" y="2550800"/>
              <a:ext cx="139975" cy="38900"/>
            </a:xfrm>
            <a:custGeom>
              <a:avLst/>
              <a:gdLst/>
              <a:ahLst/>
              <a:cxnLst/>
              <a:rect l="l" t="t" r="r" b="b"/>
              <a:pathLst>
                <a:path w="5599" h="1556" fill="none" extrusionOk="0">
                  <a:moveTo>
                    <a:pt x="5288" y="0"/>
                  </a:moveTo>
                  <a:lnTo>
                    <a:pt x="312" y="0"/>
                  </a:lnTo>
                  <a:lnTo>
                    <a:pt x="312" y="0"/>
                  </a:lnTo>
                  <a:lnTo>
                    <a:pt x="173" y="35"/>
                  </a:lnTo>
                  <a:lnTo>
                    <a:pt x="70" y="104"/>
                  </a:lnTo>
                  <a:lnTo>
                    <a:pt x="35" y="208"/>
                  </a:lnTo>
                  <a:lnTo>
                    <a:pt x="1" y="311"/>
                  </a:lnTo>
                  <a:lnTo>
                    <a:pt x="1" y="1245"/>
                  </a:lnTo>
                  <a:lnTo>
                    <a:pt x="1" y="1245"/>
                  </a:lnTo>
                  <a:lnTo>
                    <a:pt x="35" y="1348"/>
                  </a:lnTo>
                  <a:lnTo>
                    <a:pt x="70" y="1452"/>
                  </a:lnTo>
                  <a:lnTo>
                    <a:pt x="173" y="1521"/>
                  </a:lnTo>
                  <a:lnTo>
                    <a:pt x="312" y="1556"/>
                  </a:lnTo>
                  <a:lnTo>
                    <a:pt x="5288" y="1556"/>
                  </a:lnTo>
                  <a:lnTo>
                    <a:pt x="5288" y="1556"/>
                  </a:lnTo>
                  <a:lnTo>
                    <a:pt x="5426" y="1521"/>
                  </a:lnTo>
                  <a:lnTo>
                    <a:pt x="5530" y="1452"/>
                  </a:lnTo>
                  <a:lnTo>
                    <a:pt x="5599" y="1348"/>
                  </a:lnTo>
                  <a:lnTo>
                    <a:pt x="5599" y="1245"/>
                  </a:lnTo>
                  <a:lnTo>
                    <a:pt x="5599" y="311"/>
                  </a:lnTo>
                  <a:lnTo>
                    <a:pt x="5599" y="311"/>
                  </a:lnTo>
                  <a:lnTo>
                    <a:pt x="5599" y="208"/>
                  </a:lnTo>
                  <a:lnTo>
                    <a:pt x="5530" y="104"/>
                  </a:lnTo>
                  <a:lnTo>
                    <a:pt x="5426" y="35"/>
                  </a:lnTo>
                  <a:lnTo>
                    <a:pt x="52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1" name="Google Shape;2380;p11">
              <a:extLst>
                <a:ext uri="{FF2B5EF4-FFF2-40B4-BE49-F238E27FC236}">
                  <a16:creationId xmlns:a16="http://schemas.microsoft.com/office/drawing/2014/main" id="{0B87B6E8-ADCC-0319-865A-01CAE5B11688}"/>
                </a:ext>
              </a:extLst>
            </p:cNvPr>
            <p:cNvSpPr/>
            <p:nvPr/>
          </p:nvSpPr>
          <p:spPr>
            <a:xfrm>
              <a:off x="4441500" y="2550800"/>
              <a:ext cx="129625" cy="38900"/>
            </a:xfrm>
            <a:custGeom>
              <a:avLst/>
              <a:gdLst/>
              <a:ahLst/>
              <a:cxnLst/>
              <a:rect l="l" t="t" r="r" b="b"/>
              <a:pathLst>
                <a:path w="5185" h="1556" extrusionOk="0">
                  <a:moveTo>
                    <a:pt x="277" y="0"/>
                  </a:moveTo>
                  <a:lnTo>
                    <a:pt x="174" y="35"/>
                  </a:lnTo>
                  <a:lnTo>
                    <a:pt x="70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79"/>
                  </a:lnTo>
                  <a:lnTo>
                    <a:pt x="35" y="1383"/>
                  </a:lnTo>
                  <a:lnTo>
                    <a:pt x="70" y="1486"/>
                  </a:lnTo>
                  <a:lnTo>
                    <a:pt x="174" y="1521"/>
                  </a:lnTo>
                  <a:lnTo>
                    <a:pt x="277" y="1556"/>
                  </a:lnTo>
                  <a:lnTo>
                    <a:pt x="4873" y="1556"/>
                  </a:lnTo>
                  <a:lnTo>
                    <a:pt x="5011" y="1521"/>
                  </a:lnTo>
                  <a:lnTo>
                    <a:pt x="5081" y="1486"/>
                  </a:lnTo>
                  <a:lnTo>
                    <a:pt x="5150" y="1383"/>
                  </a:lnTo>
                  <a:lnTo>
                    <a:pt x="5184" y="1279"/>
                  </a:lnTo>
                  <a:lnTo>
                    <a:pt x="5184" y="277"/>
                  </a:lnTo>
                  <a:lnTo>
                    <a:pt x="5150" y="173"/>
                  </a:lnTo>
                  <a:lnTo>
                    <a:pt x="5081" y="70"/>
                  </a:lnTo>
                  <a:lnTo>
                    <a:pt x="5011" y="35"/>
                  </a:lnTo>
                  <a:lnTo>
                    <a:pt x="4873" y="0"/>
                  </a:lnTo>
                  <a:close/>
                </a:path>
              </a:pathLst>
            </a:custGeom>
            <a:solidFill>
              <a:srgbClr val="C3C3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2" name="Google Shape;2381;p11">
              <a:extLst>
                <a:ext uri="{FF2B5EF4-FFF2-40B4-BE49-F238E27FC236}">
                  <a16:creationId xmlns:a16="http://schemas.microsoft.com/office/drawing/2014/main" id="{178636CB-C11D-3992-960A-9C9DDEF464EB}"/>
                </a:ext>
              </a:extLst>
            </p:cNvPr>
            <p:cNvSpPr/>
            <p:nvPr/>
          </p:nvSpPr>
          <p:spPr>
            <a:xfrm>
              <a:off x="4441500" y="2550800"/>
              <a:ext cx="129625" cy="38900"/>
            </a:xfrm>
            <a:custGeom>
              <a:avLst/>
              <a:gdLst/>
              <a:ahLst/>
              <a:cxnLst/>
              <a:rect l="l" t="t" r="r" b="b"/>
              <a:pathLst>
                <a:path w="5185" h="1556" fill="none" extrusionOk="0">
                  <a:moveTo>
                    <a:pt x="4873" y="0"/>
                  </a:moveTo>
                  <a:lnTo>
                    <a:pt x="277" y="0"/>
                  </a:lnTo>
                  <a:lnTo>
                    <a:pt x="277" y="0"/>
                  </a:lnTo>
                  <a:lnTo>
                    <a:pt x="174" y="35"/>
                  </a:lnTo>
                  <a:lnTo>
                    <a:pt x="70" y="70"/>
                  </a:lnTo>
                  <a:lnTo>
                    <a:pt x="35" y="173"/>
                  </a:lnTo>
                  <a:lnTo>
                    <a:pt x="1" y="277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383"/>
                  </a:lnTo>
                  <a:lnTo>
                    <a:pt x="70" y="1486"/>
                  </a:lnTo>
                  <a:lnTo>
                    <a:pt x="174" y="1521"/>
                  </a:lnTo>
                  <a:lnTo>
                    <a:pt x="277" y="1556"/>
                  </a:lnTo>
                  <a:lnTo>
                    <a:pt x="4873" y="1556"/>
                  </a:lnTo>
                  <a:lnTo>
                    <a:pt x="4873" y="1556"/>
                  </a:lnTo>
                  <a:lnTo>
                    <a:pt x="5011" y="1521"/>
                  </a:lnTo>
                  <a:lnTo>
                    <a:pt x="5081" y="1486"/>
                  </a:lnTo>
                  <a:lnTo>
                    <a:pt x="5150" y="1383"/>
                  </a:lnTo>
                  <a:lnTo>
                    <a:pt x="5184" y="1279"/>
                  </a:lnTo>
                  <a:lnTo>
                    <a:pt x="5184" y="277"/>
                  </a:lnTo>
                  <a:lnTo>
                    <a:pt x="5184" y="277"/>
                  </a:lnTo>
                  <a:lnTo>
                    <a:pt x="5150" y="173"/>
                  </a:lnTo>
                  <a:lnTo>
                    <a:pt x="5081" y="70"/>
                  </a:lnTo>
                  <a:lnTo>
                    <a:pt x="5011" y="35"/>
                  </a:lnTo>
                  <a:lnTo>
                    <a:pt x="487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3" name="Google Shape;2382;p11">
              <a:extLst>
                <a:ext uri="{FF2B5EF4-FFF2-40B4-BE49-F238E27FC236}">
                  <a16:creationId xmlns:a16="http://schemas.microsoft.com/office/drawing/2014/main" id="{22DC41B2-613B-5BEA-5918-4B560F39B3B7}"/>
                </a:ext>
              </a:extLst>
            </p:cNvPr>
            <p:cNvSpPr/>
            <p:nvPr/>
          </p:nvSpPr>
          <p:spPr>
            <a:xfrm>
              <a:off x="3714100" y="2246700"/>
              <a:ext cx="290300" cy="268700"/>
            </a:xfrm>
            <a:custGeom>
              <a:avLst/>
              <a:gdLst/>
              <a:ahLst/>
              <a:cxnLst/>
              <a:rect l="l" t="t" r="r" b="b"/>
              <a:pathLst>
                <a:path w="11612" h="10748" extrusionOk="0">
                  <a:moveTo>
                    <a:pt x="899" y="1"/>
                  </a:moveTo>
                  <a:lnTo>
                    <a:pt x="691" y="70"/>
                  </a:lnTo>
                  <a:lnTo>
                    <a:pt x="519" y="173"/>
                  </a:lnTo>
                  <a:lnTo>
                    <a:pt x="311" y="312"/>
                  </a:lnTo>
                  <a:lnTo>
                    <a:pt x="173" y="484"/>
                  </a:lnTo>
                  <a:lnTo>
                    <a:pt x="69" y="692"/>
                  </a:lnTo>
                  <a:lnTo>
                    <a:pt x="35" y="899"/>
                  </a:lnTo>
                  <a:lnTo>
                    <a:pt x="0" y="1106"/>
                  </a:lnTo>
                  <a:lnTo>
                    <a:pt x="35" y="1314"/>
                  </a:lnTo>
                  <a:lnTo>
                    <a:pt x="69" y="1521"/>
                  </a:lnTo>
                  <a:lnTo>
                    <a:pt x="173" y="1728"/>
                  </a:lnTo>
                  <a:lnTo>
                    <a:pt x="311" y="1901"/>
                  </a:lnTo>
                  <a:lnTo>
                    <a:pt x="2661" y="4217"/>
                  </a:lnTo>
                  <a:lnTo>
                    <a:pt x="4112" y="5599"/>
                  </a:lnTo>
                  <a:lnTo>
                    <a:pt x="5564" y="6981"/>
                  </a:lnTo>
                  <a:lnTo>
                    <a:pt x="6981" y="8294"/>
                  </a:lnTo>
                  <a:lnTo>
                    <a:pt x="8259" y="9400"/>
                  </a:lnTo>
                  <a:lnTo>
                    <a:pt x="8847" y="9849"/>
                  </a:lnTo>
                  <a:lnTo>
                    <a:pt x="9330" y="10229"/>
                  </a:lnTo>
                  <a:lnTo>
                    <a:pt x="9745" y="10506"/>
                  </a:lnTo>
                  <a:lnTo>
                    <a:pt x="10056" y="10679"/>
                  </a:lnTo>
                  <a:lnTo>
                    <a:pt x="10263" y="10748"/>
                  </a:lnTo>
                  <a:lnTo>
                    <a:pt x="10644" y="10748"/>
                  </a:lnTo>
                  <a:lnTo>
                    <a:pt x="10816" y="10713"/>
                  </a:lnTo>
                  <a:lnTo>
                    <a:pt x="10955" y="10644"/>
                  </a:lnTo>
                  <a:lnTo>
                    <a:pt x="11093" y="10575"/>
                  </a:lnTo>
                  <a:lnTo>
                    <a:pt x="11231" y="10471"/>
                  </a:lnTo>
                  <a:lnTo>
                    <a:pt x="11335" y="10333"/>
                  </a:lnTo>
                  <a:lnTo>
                    <a:pt x="11438" y="10195"/>
                  </a:lnTo>
                  <a:lnTo>
                    <a:pt x="11508" y="10057"/>
                  </a:lnTo>
                  <a:lnTo>
                    <a:pt x="11577" y="9849"/>
                  </a:lnTo>
                  <a:lnTo>
                    <a:pt x="11611" y="9607"/>
                  </a:lnTo>
                  <a:lnTo>
                    <a:pt x="11577" y="9400"/>
                  </a:lnTo>
                  <a:lnTo>
                    <a:pt x="11508" y="9193"/>
                  </a:lnTo>
                  <a:lnTo>
                    <a:pt x="11404" y="9020"/>
                  </a:lnTo>
                  <a:lnTo>
                    <a:pt x="11266" y="8847"/>
                  </a:lnTo>
                  <a:lnTo>
                    <a:pt x="11093" y="8709"/>
                  </a:lnTo>
                  <a:lnTo>
                    <a:pt x="10886" y="8605"/>
                  </a:lnTo>
                  <a:lnTo>
                    <a:pt x="10713" y="8467"/>
                  </a:lnTo>
                  <a:lnTo>
                    <a:pt x="10436" y="8294"/>
                  </a:lnTo>
                  <a:lnTo>
                    <a:pt x="9676" y="7672"/>
                  </a:lnTo>
                  <a:lnTo>
                    <a:pt x="8674" y="6808"/>
                  </a:lnTo>
                  <a:lnTo>
                    <a:pt x="7499" y="5702"/>
                  </a:lnTo>
                  <a:lnTo>
                    <a:pt x="4804" y="3145"/>
                  </a:lnTo>
                  <a:lnTo>
                    <a:pt x="1901" y="312"/>
                  </a:lnTo>
                  <a:lnTo>
                    <a:pt x="1728" y="173"/>
                  </a:lnTo>
                  <a:lnTo>
                    <a:pt x="1555" y="70"/>
                  </a:lnTo>
                  <a:lnTo>
                    <a:pt x="1348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4" name="Google Shape;2383;p11">
              <a:extLst>
                <a:ext uri="{FF2B5EF4-FFF2-40B4-BE49-F238E27FC236}">
                  <a16:creationId xmlns:a16="http://schemas.microsoft.com/office/drawing/2014/main" id="{6940A180-2732-8681-0D56-80BD8D41E57C}"/>
                </a:ext>
              </a:extLst>
            </p:cNvPr>
            <p:cNvSpPr/>
            <p:nvPr/>
          </p:nvSpPr>
          <p:spPr>
            <a:xfrm>
              <a:off x="3707175" y="2262250"/>
              <a:ext cx="311900" cy="246250"/>
            </a:xfrm>
            <a:custGeom>
              <a:avLst/>
              <a:gdLst/>
              <a:ahLst/>
              <a:cxnLst/>
              <a:rect l="l" t="t" r="r" b="b"/>
              <a:pathLst>
                <a:path w="12476" h="9850" extrusionOk="0">
                  <a:moveTo>
                    <a:pt x="11266" y="1"/>
                  </a:moveTo>
                  <a:lnTo>
                    <a:pt x="10817" y="70"/>
                  </a:lnTo>
                  <a:lnTo>
                    <a:pt x="10402" y="139"/>
                  </a:lnTo>
                  <a:lnTo>
                    <a:pt x="9953" y="243"/>
                  </a:lnTo>
                  <a:lnTo>
                    <a:pt x="9538" y="381"/>
                  </a:lnTo>
                  <a:lnTo>
                    <a:pt x="9124" y="519"/>
                  </a:lnTo>
                  <a:lnTo>
                    <a:pt x="8709" y="692"/>
                  </a:lnTo>
                  <a:lnTo>
                    <a:pt x="7880" y="1072"/>
                  </a:lnTo>
                  <a:lnTo>
                    <a:pt x="7085" y="1521"/>
                  </a:lnTo>
                  <a:lnTo>
                    <a:pt x="6325" y="2039"/>
                  </a:lnTo>
                  <a:lnTo>
                    <a:pt x="5564" y="2592"/>
                  </a:lnTo>
                  <a:lnTo>
                    <a:pt x="4839" y="3180"/>
                  </a:lnTo>
                  <a:lnTo>
                    <a:pt x="4148" y="3802"/>
                  </a:lnTo>
                  <a:lnTo>
                    <a:pt x="3491" y="4424"/>
                  </a:lnTo>
                  <a:lnTo>
                    <a:pt x="2869" y="5080"/>
                  </a:lnTo>
                  <a:lnTo>
                    <a:pt x="2247" y="5702"/>
                  </a:lnTo>
                  <a:lnTo>
                    <a:pt x="1176" y="6912"/>
                  </a:lnTo>
                  <a:lnTo>
                    <a:pt x="277" y="8018"/>
                  </a:lnTo>
                  <a:lnTo>
                    <a:pt x="139" y="8191"/>
                  </a:lnTo>
                  <a:lnTo>
                    <a:pt x="35" y="8398"/>
                  </a:lnTo>
                  <a:lnTo>
                    <a:pt x="1" y="8605"/>
                  </a:lnTo>
                  <a:lnTo>
                    <a:pt x="1" y="8847"/>
                  </a:lnTo>
                  <a:lnTo>
                    <a:pt x="35" y="9054"/>
                  </a:lnTo>
                  <a:lnTo>
                    <a:pt x="139" y="9262"/>
                  </a:lnTo>
                  <a:lnTo>
                    <a:pt x="243" y="9435"/>
                  </a:lnTo>
                  <a:lnTo>
                    <a:pt x="415" y="9607"/>
                  </a:lnTo>
                  <a:lnTo>
                    <a:pt x="554" y="9711"/>
                  </a:lnTo>
                  <a:lnTo>
                    <a:pt x="761" y="9780"/>
                  </a:lnTo>
                  <a:lnTo>
                    <a:pt x="934" y="9849"/>
                  </a:lnTo>
                  <a:lnTo>
                    <a:pt x="1107" y="9849"/>
                  </a:lnTo>
                  <a:lnTo>
                    <a:pt x="1348" y="9815"/>
                  </a:lnTo>
                  <a:lnTo>
                    <a:pt x="1590" y="9746"/>
                  </a:lnTo>
                  <a:lnTo>
                    <a:pt x="1798" y="9642"/>
                  </a:lnTo>
                  <a:lnTo>
                    <a:pt x="1971" y="9469"/>
                  </a:lnTo>
                  <a:lnTo>
                    <a:pt x="2800" y="8467"/>
                  </a:lnTo>
                  <a:lnTo>
                    <a:pt x="3802" y="7361"/>
                  </a:lnTo>
                  <a:lnTo>
                    <a:pt x="4873" y="6221"/>
                  </a:lnTo>
                  <a:lnTo>
                    <a:pt x="5461" y="5633"/>
                  </a:lnTo>
                  <a:lnTo>
                    <a:pt x="6083" y="5080"/>
                  </a:lnTo>
                  <a:lnTo>
                    <a:pt x="6705" y="4528"/>
                  </a:lnTo>
                  <a:lnTo>
                    <a:pt x="7361" y="4044"/>
                  </a:lnTo>
                  <a:lnTo>
                    <a:pt x="8018" y="3595"/>
                  </a:lnTo>
                  <a:lnTo>
                    <a:pt x="8674" y="3180"/>
                  </a:lnTo>
                  <a:lnTo>
                    <a:pt x="9366" y="2834"/>
                  </a:lnTo>
                  <a:lnTo>
                    <a:pt x="10057" y="2558"/>
                  </a:lnTo>
                  <a:lnTo>
                    <a:pt x="10748" y="2350"/>
                  </a:lnTo>
                  <a:lnTo>
                    <a:pt x="11093" y="2281"/>
                  </a:lnTo>
                  <a:lnTo>
                    <a:pt x="11474" y="2247"/>
                  </a:lnTo>
                  <a:lnTo>
                    <a:pt x="11681" y="2212"/>
                  </a:lnTo>
                  <a:lnTo>
                    <a:pt x="11888" y="2109"/>
                  </a:lnTo>
                  <a:lnTo>
                    <a:pt x="12061" y="2005"/>
                  </a:lnTo>
                  <a:lnTo>
                    <a:pt x="12234" y="1832"/>
                  </a:lnTo>
                  <a:lnTo>
                    <a:pt x="12337" y="1659"/>
                  </a:lnTo>
                  <a:lnTo>
                    <a:pt x="12441" y="1452"/>
                  </a:lnTo>
                  <a:lnTo>
                    <a:pt x="12476" y="1245"/>
                  </a:lnTo>
                  <a:lnTo>
                    <a:pt x="12476" y="1037"/>
                  </a:lnTo>
                  <a:lnTo>
                    <a:pt x="12441" y="795"/>
                  </a:lnTo>
                  <a:lnTo>
                    <a:pt x="12337" y="588"/>
                  </a:lnTo>
                  <a:lnTo>
                    <a:pt x="12234" y="415"/>
                  </a:lnTo>
                  <a:lnTo>
                    <a:pt x="12061" y="277"/>
                  </a:lnTo>
                  <a:lnTo>
                    <a:pt x="11888" y="139"/>
                  </a:lnTo>
                  <a:lnTo>
                    <a:pt x="11681" y="70"/>
                  </a:lnTo>
                  <a:lnTo>
                    <a:pt x="1147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5" name="Google Shape;2384;p11">
              <a:extLst>
                <a:ext uri="{FF2B5EF4-FFF2-40B4-BE49-F238E27FC236}">
                  <a16:creationId xmlns:a16="http://schemas.microsoft.com/office/drawing/2014/main" id="{A52EE067-C5AB-FA10-92FE-6C87CFC82FDB}"/>
                </a:ext>
              </a:extLst>
            </p:cNvPr>
            <p:cNvSpPr/>
            <p:nvPr/>
          </p:nvSpPr>
          <p:spPr>
            <a:xfrm>
              <a:off x="3439375" y="1069200"/>
              <a:ext cx="171075" cy="244500"/>
            </a:xfrm>
            <a:custGeom>
              <a:avLst/>
              <a:gdLst/>
              <a:ahLst/>
              <a:cxnLst/>
              <a:rect l="l" t="t" r="r" b="b"/>
              <a:pathLst>
                <a:path w="6843" h="9780" extrusionOk="0">
                  <a:moveTo>
                    <a:pt x="1072" y="0"/>
                  </a:moveTo>
                  <a:lnTo>
                    <a:pt x="830" y="69"/>
                  </a:lnTo>
                  <a:lnTo>
                    <a:pt x="622" y="173"/>
                  </a:lnTo>
                  <a:lnTo>
                    <a:pt x="415" y="311"/>
                  </a:lnTo>
                  <a:lnTo>
                    <a:pt x="242" y="519"/>
                  </a:lnTo>
                  <a:lnTo>
                    <a:pt x="104" y="726"/>
                  </a:lnTo>
                  <a:lnTo>
                    <a:pt x="35" y="968"/>
                  </a:lnTo>
                  <a:lnTo>
                    <a:pt x="0" y="1210"/>
                  </a:lnTo>
                  <a:lnTo>
                    <a:pt x="35" y="1452"/>
                  </a:lnTo>
                  <a:lnTo>
                    <a:pt x="104" y="1659"/>
                  </a:lnTo>
                  <a:lnTo>
                    <a:pt x="208" y="1901"/>
                  </a:lnTo>
                  <a:lnTo>
                    <a:pt x="346" y="2074"/>
                  </a:lnTo>
                  <a:lnTo>
                    <a:pt x="519" y="2246"/>
                  </a:lnTo>
                  <a:lnTo>
                    <a:pt x="1037" y="2661"/>
                  </a:lnTo>
                  <a:lnTo>
                    <a:pt x="1797" y="3283"/>
                  </a:lnTo>
                  <a:lnTo>
                    <a:pt x="3698" y="4907"/>
                  </a:lnTo>
                  <a:lnTo>
                    <a:pt x="588" y="7603"/>
                  </a:lnTo>
                  <a:lnTo>
                    <a:pt x="415" y="7775"/>
                  </a:lnTo>
                  <a:lnTo>
                    <a:pt x="311" y="7983"/>
                  </a:lnTo>
                  <a:lnTo>
                    <a:pt x="208" y="8225"/>
                  </a:lnTo>
                  <a:lnTo>
                    <a:pt x="173" y="8467"/>
                  </a:lnTo>
                  <a:lnTo>
                    <a:pt x="173" y="8708"/>
                  </a:lnTo>
                  <a:lnTo>
                    <a:pt x="242" y="8950"/>
                  </a:lnTo>
                  <a:lnTo>
                    <a:pt x="346" y="9158"/>
                  </a:lnTo>
                  <a:lnTo>
                    <a:pt x="484" y="9365"/>
                  </a:lnTo>
                  <a:lnTo>
                    <a:pt x="691" y="9538"/>
                  </a:lnTo>
                  <a:lnTo>
                    <a:pt x="899" y="9676"/>
                  </a:lnTo>
                  <a:lnTo>
                    <a:pt x="1175" y="9780"/>
                  </a:lnTo>
                  <a:lnTo>
                    <a:pt x="1624" y="9780"/>
                  </a:lnTo>
                  <a:lnTo>
                    <a:pt x="1866" y="9711"/>
                  </a:lnTo>
                  <a:lnTo>
                    <a:pt x="2039" y="9641"/>
                  </a:lnTo>
                  <a:lnTo>
                    <a:pt x="2246" y="9503"/>
                  </a:lnTo>
                  <a:lnTo>
                    <a:pt x="6428" y="5840"/>
                  </a:lnTo>
                  <a:lnTo>
                    <a:pt x="6601" y="5668"/>
                  </a:lnTo>
                  <a:lnTo>
                    <a:pt x="6739" y="5426"/>
                  </a:lnTo>
                  <a:lnTo>
                    <a:pt x="6842" y="5184"/>
                  </a:lnTo>
                  <a:lnTo>
                    <a:pt x="6842" y="4907"/>
                  </a:lnTo>
                  <a:lnTo>
                    <a:pt x="6842" y="4665"/>
                  </a:lnTo>
                  <a:lnTo>
                    <a:pt x="6739" y="4389"/>
                  </a:lnTo>
                  <a:lnTo>
                    <a:pt x="6601" y="4182"/>
                  </a:lnTo>
                  <a:lnTo>
                    <a:pt x="6428" y="3974"/>
                  </a:lnTo>
                  <a:lnTo>
                    <a:pt x="4389" y="2212"/>
                  </a:lnTo>
                  <a:lnTo>
                    <a:pt x="3007" y="1037"/>
                  </a:lnTo>
                  <a:lnTo>
                    <a:pt x="2005" y="208"/>
                  </a:lnTo>
                  <a:lnTo>
                    <a:pt x="1763" y="104"/>
                  </a:lnTo>
                  <a:lnTo>
                    <a:pt x="1521" y="35"/>
                  </a:lnTo>
                  <a:lnTo>
                    <a:pt x="1279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6" name="Google Shape;2385;p11">
              <a:extLst>
                <a:ext uri="{FF2B5EF4-FFF2-40B4-BE49-F238E27FC236}">
                  <a16:creationId xmlns:a16="http://schemas.microsoft.com/office/drawing/2014/main" id="{A4197215-A1B3-8290-D10D-93599F0C685A}"/>
                </a:ext>
              </a:extLst>
            </p:cNvPr>
            <p:cNvSpPr/>
            <p:nvPr/>
          </p:nvSpPr>
          <p:spPr>
            <a:xfrm>
              <a:off x="5291600" y="4589625"/>
              <a:ext cx="1321800" cy="71725"/>
            </a:xfrm>
            <a:custGeom>
              <a:avLst/>
              <a:gdLst/>
              <a:ahLst/>
              <a:cxnLst/>
              <a:rect l="l" t="t" r="r" b="b"/>
              <a:pathLst>
                <a:path w="52872" h="2869" extrusionOk="0">
                  <a:moveTo>
                    <a:pt x="26021" y="1"/>
                  </a:moveTo>
                  <a:lnTo>
                    <a:pt x="20769" y="35"/>
                  </a:lnTo>
                  <a:lnTo>
                    <a:pt x="15896" y="104"/>
                  </a:lnTo>
                  <a:lnTo>
                    <a:pt x="11473" y="242"/>
                  </a:lnTo>
                  <a:lnTo>
                    <a:pt x="7603" y="415"/>
                  </a:lnTo>
                  <a:lnTo>
                    <a:pt x="5944" y="519"/>
                  </a:lnTo>
                  <a:lnTo>
                    <a:pt x="4423" y="623"/>
                  </a:lnTo>
                  <a:lnTo>
                    <a:pt x="3145" y="761"/>
                  </a:lnTo>
                  <a:lnTo>
                    <a:pt x="2039" y="864"/>
                  </a:lnTo>
                  <a:lnTo>
                    <a:pt x="1141" y="1003"/>
                  </a:lnTo>
                  <a:lnTo>
                    <a:pt x="519" y="1141"/>
                  </a:lnTo>
                  <a:lnTo>
                    <a:pt x="277" y="1210"/>
                  </a:lnTo>
                  <a:lnTo>
                    <a:pt x="138" y="1279"/>
                  </a:lnTo>
                  <a:lnTo>
                    <a:pt x="35" y="1348"/>
                  </a:lnTo>
                  <a:lnTo>
                    <a:pt x="0" y="1452"/>
                  </a:lnTo>
                  <a:lnTo>
                    <a:pt x="35" y="1521"/>
                  </a:lnTo>
                  <a:lnTo>
                    <a:pt x="138" y="1590"/>
                  </a:lnTo>
                  <a:lnTo>
                    <a:pt x="277" y="1659"/>
                  </a:lnTo>
                  <a:lnTo>
                    <a:pt x="519" y="1728"/>
                  </a:lnTo>
                  <a:lnTo>
                    <a:pt x="1141" y="1867"/>
                  </a:lnTo>
                  <a:lnTo>
                    <a:pt x="2039" y="2005"/>
                  </a:lnTo>
                  <a:lnTo>
                    <a:pt x="3145" y="2109"/>
                  </a:lnTo>
                  <a:lnTo>
                    <a:pt x="4423" y="2247"/>
                  </a:lnTo>
                  <a:lnTo>
                    <a:pt x="5944" y="2350"/>
                  </a:lnTo>
                  <a:lnTo>
                    <a:pt x="7603" y="2454"/>
                  </a:lnTo>
                  <a:lnTo>
                    <a:pt x="11473" y="2627"/>
                  </a:lnTo>
                  <a:lnTo>
                    <a:pt x="15896" y="2765"/>
                  </a:lnTo>
                  <a:lnTo>
                    <a:pt x="20769" y="2869"/>
                  </a:lnTo>
                  <a:lnTo>
                    <a:pt x="28682" y="2869"/>
                  </a:lnTo>
                  <a:lnTo>
                    <a:pt x="31308" y="2834"/>
                  </a:lnTo>
                  <a:lnTo>
                    <a:pt x="36284" y="2731"/>
                  </a:lnTo>
                  <a:lnTo>
                    <a:pt x="40846" y="2558"/>
                  </a:lnTo>
                  <a:lnTo>
                    <a:pt x="44854" y="2316"/>
                  </a:lnTo>
                  <a:lnTo>
                    <a:pt x="46582" y="2178"/>
                  </a:lnTo>
                  <a:lnTo>
                    <a:pt x="48172" y="2039"/>
                  </a:lnTo>
                  <a:lnTo>
                    <a:pt x="49554" y="1901"/>
                  </a:lnTo>
                  <a:lnTo>
                    <a:pt x="50694" y="1763"/>
                  </a:lnTo>
                  <a:lnTo>
                    <a:pt x="51627" y="1625"/>
                  </a:lnTo>
                  <a:lnTo>
                    <a:pt x="52319" y="1452"/>
                  </a:lnTo>
                  <a:lnTo>
                    <a:pt x="52560" y="1383"/>
                  </a:lnTo>
                  <a:lnTo>
                    <a:pt x="52733" y="1314"/>
                  </a:lnTo>
                  <a:lnTo>
                    <a:pt x="52837" y="1245"/>
                  </a:lnTo>
                  <a:lnTo>
                    <a:pt x="52871" y="1141"/>
                  </a:lnTo>
                  <a:lnTo>
                    <a:pt x="52837" y="1072"/>
                  </a:lnTo>
                  <a:lnTo>
                    <a:pt x="52733" y="1003"/>
                  </a:lnTo>
                  <a:lnTo>
                    <a:pt x="52560" y="934"/>
                  </a:lnTo>
                  <a:lnTo>
                    <a:pt x="52319" y="864"/>
                  </a:lnTo>
                  <a:lnTo>
                    <a:pt x="51627" y="761"/>
                  </a:lnTo>
                  <a:lnTo>
                    <a:pt x="50694" y="623"/>
                  </a:lnTo>
                  <a:lnTo>
                    <a:pt x="49554" y="519"/>
                  </a:lnTo>
                  <a:lnTo>
                    <a:pt x="48172" y="450"/>
                  </a:lnTo>
                  <a:lnTo>
                    <a:pt x="44854" y="277"/>
                  </a:lnTo>
                  <a:lnTo>
                    <a:pt x="40846" y="139"/>
                  </a:lnTo>
                  <a:lnTo>
                    <a:pt x="36284" y="70"/>
                  </a:lnTo>
                  <a:lnTo>
                    <a:pt x="31308" y="1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7" name="Google Shape;2386;p11">
              <a:extLst>
                <a:ext uri="{FF2B5EF4-FFF2-40B4-BE49-F238E27FC236}">
                  <a16:creationId xmlns:a16="http://schemas.microsoft.com/office/drawing/2014/main" id="{E6361C32-BAFA-91A4-175E-40C4CFE70939}"/>
                </a:ext>
              </a:extLst>
            </p:cNvPr>
            <p:cNvSpPr/>
            <p:nvPr/>
          </p:nvSpPr>
          <p:spPr>
            <a:xfrm>
              <a:off x="5291600" y="4589625"/>
              <a:ext cx="1321800" cy="71725"/>
            </a:xfrm>
            <a:custGeom>
              <a:avLst/>
              <a:gdLst/>
              <a:ahLst/>
              <a:cxnLst/>
              <a:rect l="l" t="t" r="r" b="b"/>
              <a:pathLst>
                <a:path w="52872" h="2869" fill="none" extrusionOk="0">
                  <a:moveTo>
                    <a:pt x="26021" y="1"/>
                  </a:moveTo>
                  <a:lnTo>
                    <a:pt x="26021" y="1"/>
                  </a:lnTo>
                  <a:lnTo>
                    <a:pt x="20769" y="35"/>
                  </a:lnTo>
                  <a:lnTo>
                    <a:pt x="15896" y="104"/>
                  </a:lnTo>
                  <a:lnTo>
                    <a:pt x="11473" y="242"/>
                  </a:lnTo>
                  <a:lnTo>
                    <a:pt x="7603" y="415"/>
                  </a:lnTo>
                  <a:lnTo>
                    <a:pt x="5944" y="519"/>
                  </a:lnTo>
                  <a:lnTo>
                    <a:pt x="4423" y="623"/>
                  </a:lnTo>
                  <a:lnTo>
                    <a:pt x="3145" y="761"/>
                  </a:lnTo>
                  <a:lnTo>
                    <a:pt x="2039" y="864"/>
                  </a:lnTo>
                  <a:lnTo>
                    <a:pt x="1141" y="1003"/>
                  </a:lnTo>
                  <a:lnTo>
                    <a:pt x="519" y="1141"/>
                  </a:lnTo>
                  <a:lnTo>
                    <a:pt x="277" y="1210"/>
                  </a:lnTo>
                  <a:lnTo>
                    <a:pt x="138" y="1279"/>
                  </a:lnTo>
                  <a:lnTo>
                    <a:pt x="35" y="1348"/>
                  </a:lnTo>
                  <a:lnTo>
                    <a:pt x="0" y="1452"/>
                  </a:lnTo>
                  <a:lnTo>
                    <a:pt x="0" y="1452"/>
                  </a:lnTo>
                  <a:lnTo>
                    <a:pt x="35" y="1521"/>
                  </a:lnTo>
                  <a:lnTo>
                    <a:pt x="138" y="1590"/>
                  </a:lnTo>
                  <a:lnTo>
                    <a:pt x="277" y="1659"/>
                  </a:lnTo>
                  <a:lnTo>
                    <a:pt x="519" y="1728"/>
                  </a:lnTo>
                  <a:lnTo>
                    <a:pt x="1141" y="1867"/>
                  </a:lnTo>
                  <a:lnTo>
                    <a:pt x="2039" y="2005"/>
                  </a:lnTo>
                  <a:lnTo>
                    <a:pt x="3145" y="2109"/>
                  </a:lnTo>
                  <a:lnTo>
                    <a:pt x="4423" y="2247"/>
                  </a:lnTo>
                  <a:lnTo>
                    <a:pt x="5944" y="2350"/>
                  </a:lnTo>
                  <a:lnTo>
                    <a:pt x="7603" y="2454"/>
                  </a:lnTo>
                  <a:lnTo>
                    <a:pt x="11473" y="2627"/>
                  </a:lnTo>
                  <a:lnTo>
                    <a:pt x="15896" y="2765"/>
                  </a:lnTo>
                  <a:lnTo>
                    <a:pt x="20769" y="2869"/>
                  </a:lnTo>
                  <a:lnTo>
                    <a:pt x="26021" y="2869"/>
                  </a:lnTo>
                  <a:lnTo>
                    <a:pt x="26021" y="2869"/>
                  </a:lnTo>
                  <a:lnTo>
                    <a:pt x="28682" y="2869"/>
                  </a:lnTo>
                  <a:lnTo>
                    <a:pt x="31308" y="2834"/>
                  </a:lnTo>
                  <a:lnTo>
                    <a:pt x="36284" y="2731"/>
                  </a:lnTo>
                  <a:lnTo>
                    <a:pt x="40846" y="2558"/>
                  </a:lnTo>
                  <a:lnTo>
                    <a:pt x="44854" y="2316"/>
                  </a:lnTo>
                  <a:lnTo>
                    <a:pt x="46582" y="2178"/>
                  </a:lnTo>
                  <a:lnTo>
                    <a:pt x="48172" y="2039"/>
                  </a:lnTo>
                  <a:lnTo>
                    <a:pt x="49554" y="1901"/>
                  </a:lnTo>
                  <a:lnTo>
                    <a:pt x="50694" y="1763"/>
                  </a:lnTo>
                  <a:lnTo>
                    <a:pt x="51627" y="1625"/>
                  </a:lnTo>
                  <a:lnTo>
                    <a:pt x="52319" y="1452"/>
                  </a:lnTo>
                  <a:lnTo>
                    <a:pt x="52560" y="1383"/>
                  </a:lnTo>
                  <a:lnTo>
                    <a:pt x="52733" y="1314"/>
                  </a:lnTo>
                  <a:lnTo>
                    <a:pt x="52837" y="1245"/>
                  </a:lnTo>
                  <a:lnTo>
                    <a:pt x="52871" y="1141"/>
                  </a:lnTo>
                  <a:lnTo>
                    <a:pt x="52871" y="1141"/>
                  </a:lnTo>
                  <a:lnTo>
                    <a:pt x="52837" y="1072"/>
                  </a:lnTo>
                  <a:lnTo>
                    <a:pt x="52733" y="1003"/>
                  </a:lnTo>
                  <a:lnTo>
                    <a:pt x="52560" y="934"/>
                  </a:lnTo>
                  <a:lnTo>
                    <a:pt x="52319" y="864"/>
                  </a:lnTo>
                  <a:lnTo>
                    <a:pt x="51627" y="761"/>
                  </a:lnTo>
                  <a:lnTo>
                    <a:pt x="50694" y="623"/>
                  </a:lnTo>
                  <a:lnTo>
                    <a:pt x="49554" y="519"/>
                  </a:lnTo>
                  <a:lnTo>
                    <a:pt x="48172" y="450"/>
                  </a:lnTo>
                  <a:lnTo>
                    <a:pt x="44854" y="277"/>
                  </a:lnTo>
                  <a:lnTo>
                    <a:pt x="40846" y="139"/>
                  </a:lnTo>
                  <a:lnTo>
                    <a:pt x="36284" y="70"/>
                  </a:lnTo>
                  <a:lnTo>
                    <a:pt x="31308" y="1"/>
                  </a:lnTo>
                  <a:lnTo>
                    <a:pt x="2602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8" name="Google Shape;2387;p11">
              <a:extLst>
                <a:ext uri="{FF2B5EF4-FFF2-40B4-BE49-F238E27FC236}">
                  <a16:creationId xmlns:a16="http://schemas.microsoft.com/office/drawing/2014/main" id="{DA1ECF95-251C-3DA4-CD2B-CAA054523D43}"/>
                </a:ext>
              </a:extLst>
            </p:cNvPr>
            <p:cNvSpPr/>
            <p:nvPr/>
          </p:nvSpPr>
          <p:spPr>
            <a:xfrm>
              <a:off x="5116225" y="1564225"/>
              <a:ext cx="209950" cy="269550"/>
            </a:xfrm>
            <a:custGeom>
              <a:avLst/>
              <a:gdLst/>
              <a:ahLst/>
              <a:cxnLst/>
              <a:rect l="l" t="t" r="r" b="b"/>
              <a:pathLst>
                <a:path w="8398" h="10782" extrusionOk="0">
                  <a:moveTo>
                    <a:pt x="311" y="0"/>
                  </a:moveTo>
                  <a:lnTo>
                    <a:pt x="208" y="35"/>
                  </a:lnTo>
                  <a:lnTo>
                    <a:pt x="138" y="69"/>
                  </a:lnTo>
                  <a:lnTo>
                    <a:pt x="69" y="138"/>
                  </a:lnTo>
                  <a:lnTo>
                    <a:pt x="35" y="207"/>
                  </a:lnTo>
                  <a:lnTo>
                    <a:pt x="0" y="277"/>
                  </a:lnTo>
                  <a:lnTo>
                    <a:pt x="35" y="415"/>
                  </a:lnTo>
                  <a:lnTo>
                    <a:pt x="138" y="622"/>
                  </a:lnTo>
                  <a:lnTo>
                    <a:pt x="311" y="829"/>
                  </a:lnTo>
                  <a:lnTo>
                    <a:pt x="726" y="1348"/>
                  </a:lnTo>
                  <a:lnTo>
                    <a:pt x="1210" y="1901"/>
                  </a:lnTo>
                  <a:lnTo>
                    <a:pt x="1728" y="2488"/>
                  </a:lnTo>
                  <a:lnTo>
                    <a:pt x="1935" y="2799"/>
                  </a:lnTo>
                  <a:lnTo>
                    <a:pt x="2108" y="3076"/>
                  </a:lnTo>
                  <a:lnTo>
                    <a:pt x="2246" y="3352"/>
                  </a:lnTo>
                  <a:lnTo>
                    <a:pt x="2350" y="3628"/>
                  </a:lnTo>
                  <a:lnTo>
                    <a:pt x="2350" y="3870"/>
                  </a:lnTo>
                  <a:lnTo>
                    <a:pt x="2350" y="3974"/>
                  </a:lnTo>
                  <a:lnTo>
                    <a:pt x="2281" y="4078"/>
                  </a:lnTo>
                  <a:lnTo>
                    <a:pt x="2143" y="4285"/>
                  </a:lnTo>
                  <a:lnTo>
                    <a:pt x="1832" y="4596"/>
                  </a:lnTo>
                  <a:lnTo>
                    <a:pt x="1452" y="5011"/>
                  </a:lnTo>
                  <a:lnTo>
                    <a:pt x="1106" y="5495"/>
                  </a:lnTo>
                  <a:lnTo>
                    <a:pt x="933" y="5736"/>
                  </a:lnTo>
                  <a:lnTo>
                    <a:pt x="795" y="5978"/>
                  </a:lnTo>
                  <a:lnTo>
                    <a:pt x="691" y="6220"/>
                  </a:lnTo>
                  <a:lnTo>
                    <a:pt x="657" y="6462"/>
                  </a:lnTo>
                  <a:lnTo>
                    <a:pt x="657" y="6704"/>
                  </a:lnTo>
                  <a:lnTo>
                    <a:pt x="691" y="6946"/>
                  </a:lnTo>
                  <a:lnTo>
                    <a:pt x="830" y="7153"/>
                  </a:lnTo>
                  <a:lnTo>
                    <a:pt x="1037" y="7326"/>
                  </a:lnTo>
                  <a:lnTo>
                    <a:pt x="1210" y="7464"/>
                  </a:lnTo>
                  <a:lnTo>
                    <a:pt x="1383" y="7568"/>
                  </a:lnTo>
                  <a:lnTo>
                    <a:pt x="1728" y="7706"/>
                  </a:lnTo>
                  <a:lnTo>
                    <a:pt x="2074" y="7775"/>
                  </a:lnTo>
                  <a:lnTo>
                    <a:pt x="2385" y="7844"/>
                  </a:lnTo>
                  <a:lnTo>
                    <a:pt x="2696" y="7913"/>
                  </a:lnTo>
                  <a:lnTo>
                    <a:pt x="3041" y="8017"/>
                  </a:lnTo>
                  <a:lnTo>
                    <a:pt x="3179" y="8121"/>
                  </a:lnTo>
                  <a:lnTo>
                    <a:pt x="3352" y="8259"/>
                  </a:lnTo>
                  <a:lnTo>
                    <a:pt x="3525" y="8397"/>
                  </a:lnTo>
                  <a:lnTo>
                    <a:pt x="3663" y="8570"/>
                  </a:lnTo>
                  <a:lnTo>
                    <a:pt x="4320" y="9296"/>
                  </a:lnTo>
                  <a:lnTo>
                    <a:pt x="4873" y="9814"/>
                  </a:lnTo>
                  <a:lnTo>
                    <a:pt x="6013" y="10782"/>
                  </a:lnTo>
                  <a:lnTo>
                    <a:pt x="6428" y="10436"/>
                  </a:lnTo>
                  <a:lnTo>
                    <a:pt x="6842" y="10056"/>
                  </a:lnTo>
                  <a:lnTo>
                    <a:pt x="7292" y="9607"/>
                  </a:lnTo>
                  <a:lnTo>
                    <a:pt x="7741" y="9123"/>
                  </a:lnTo>
                  <a:lnTo>
                    <a:pt x="8121" y="8639"/>
                  </a:lnTo>
                  <a:lnTo>
                    <a:pt x="8259" y="8432"/>
                  </a:lnTo>
                  <a:lnTo>
                    <a:pt x="8328" y="8259"/>
                  </a:lnTo>
                  <a:lnTo>
                    <a:pt x="8397" y="8086"/>
                  </a:lnTo>
                  <a:lnTo>
                    <a:pt x="8363" y="7983"/>
                  </a:lnTo>
                  <a:lnTo>
                    <a:pt x="8086" y="7533"/>
                  </a:lnTo>
                  <a:lnTo>
                    <a:pt x="7672" y="7050"/>
                  </a:lnTo>
                  <a:lnTo>
                    <a:pt x="7153" y="6531"/>
                  </a:lnTo>
                  <a:lnTo>
                    <a:pt x="6428" y="5875"/>
                  </a:lnTo>
                  <a:lnTo>
                    <a:pt x="5806" y="5322"/>
                  </a:lnTo>
                  <a:lnTo>
                    <a:pt x="5218" y="4769"/>
                  </a:lnTo>
                  <a:lnTo>
                    <a:pt x="4665" y="4181"/>
                  </a:lnTo>
                  <a:lnTo>
                    <a:pt x="4043" y="3628"/>
                  </a:lnTo>
                  <a:lnTo>
                    <a:pt x="3698" y="3248"/>
                  </a:lnTo>
                  <a:lnTo>
                    <a:pt x="3179" y="2661"/>
                  </a:lnTo>
                  <a:lnTo>
                    <a:pt x="2627" y="1970"/>
                  </a:lnTo>
                  <a:lnTo>
                    <a:pt x="2039" y="1279"/>
                  </a:lnTo>
                  <a:lnTo>
                    <a:pt x="1452" y="657"/>
                  </a:lnTo>
                  <a:lnTo>
                    <a:pt x="1175" y="415"/>
                  </a:lnTo>
                  <a:lnTo>
                    <a:pt x="899" y="207"/>
                  </a:lnTo>
                  <a:lnTo>
                    <a:pt x="657" y="69"/>
                  </a:lnTo>
                  <a:lnTo>
                    <a:pt x="415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9" name="Google Shape;2388;p11">
              <a:extLst>
                <a:ext uri="{FF2B5EF4-FFF2-40B4-BE49-F238E27FC236}">
                  <a16:creationId xmlns:a16="http://schemas.microsoft.com/office/drawing/2014/main" id="{7F3A94D8-80FD-9B9C-FFD0-ECC5C0DB365E}"/>
                </a:ext>
              </a:extLst>
            </p:cNvPr>
            <p:cNvSpPr/>
            <p:nvPr/>
          </p:nvSpPr>
          <p:spPr>
            <a:xfrm>
              <a:off x="5966300" y="1826850"/>
              <a:ext cx="175400" cy="295475"/>
            </a:xfrm>
            <a:custGeom>
              <a:avLst/>
              <a:gdLst/>
              <a:ahLst/>
              <a:cxnLst/>
              <a:rect l="l" t="t" r="r" b="b"/>
              <a:pathLst>
                <a:path w="7016" h="11819" extrusionOk="0">
                  <a:moveTo>
                    <a:pt x="2489" y="0"/>
                  </a:moveTo>
                  <a:lnTo>
                    <a:pt x="1176" y="3594"/>
                  </a:lnTo>
                  <a:lnTo>
                    <a:pt x="1279" y="3905"/>
                  </a:lnTo>
                  <a:lnTo>
                    <a:pt x="1314" y="4389"/>
                  </a:lnTo>
                  <a:lnTo>
                    <a:pt x="1348" y="5564"/>
                  </a:lnTo>
                  <a:lnTo>
                    <a:pt x="1348" y="6289"/>
                  </a:lnTo>
                  <a:lnTo>
                    <a:pt x="1279" y="7015"/>
                  </a:lnTo>
                  <a:lnTo>
                    <a:pt x="1210" y="7706"/>
                  </a:lnTo>
                  <a:lnTo>
                    <a:pt x="1107" y="8017"/>
                  </a:lnTo>
                  <a:lnTo>
                    <a:pt x="1037" y="8294"/>
                  </a:lnTo>
                  <a:lnTo>
                    <a:pt x="934" y="8605"/>
                  </a:lnTo>
                  <a:lnTo>
                    <a:pt x="865" y="8950"/>
                  </a:lnTo>
                  <a:lnTo>
                    <a:pt x="761" y="9711"/>
                  </a:lnTo>
                  <a:lnTo>
                    <a:pt x="657" y="10125"/>
                  </a:lnTo>
                  <a:lnTo>
                    <a:pt x="519" y="10540"/>
                  </a:lnTo>
                  <a:lnTo>
                    <a:pt x="346" y="10989"/>
                  </a:lnTo>
                  <a:lnTo>
                    <a:pt x="70" y="11438"/>
                  </a:lnTo>
                  <a:lnTo>
                    <a:pt x="1" y="11577"/>
                  </a:lnTo>
                  <a:lnTo>
                    <a:pt x="1" y="11646"/>
                  </a:lnTo>
                  <a:lnTo>
                    <a:pt x="35" y="11680"/>
                  </a:lnTo>
                  <a:lnTo>
                    <a:pt x="139" y="11749"/>
                  </a:lnTo>
                  <a:lnTo>
                    <a:pt x="312" y="11784"/>
                  </a:lnTo>
                  <a:lnTo>
                    <a:pt x="519" y="11819"/>
                  </a:lnTo>
                  <a:lnTo>
                    <a:pt x="796" y="11819"/>
                  </a:lnTo>
                  <a:lnTo>
                    <a:pt x="1383" y="11715"/>
                  </a:lnTo>
                  <a:lnTo>
                    <a:pt x="2040" y="11611"/>
                  </a:lnTo>
                  <a:lnTo>
                    <a:pt x="2592" y="11473"/>
                  </a:lnTo>
                  <a:lnTo>
                    <a:pt x="3180" y="11335"/>
                  </a:lnTo>
                  <a:lnTo>
                    <a:pt x="7016" y="10263"/>
                  </a:lnTo>
                  <a:lnTo>
                    <a:pt x="6981" y="9918"/>
                  </a:lnTo>
                  <a:lnTo>
                    <a:pt x="6947" y="9538"/>
                  </a:lnTo>
                  <a:lnTo>
                    <a:pt x="6843" y="9123"/>
                  </a:lnTo>
                  <a:lnTo>
                    <a:pt x="6739" y="8674"/>
                  </a:lnTo>
                  <a:lnTo>
                    <a:pt x="6428" y="7706"/>
                  </a:lnTo>
                  <a:lnTo>
                    <a:pt x="6083" y="6704"/>
                  </a:lnTo>
                  <a:lnTo>
                    <a:pt x="5357" y="4804"/>
                  </a:lnTo>
                  <a:lnTo>
                    <a:pt x="5081" y="3974"/>
                  </a:lnTo>
                  <a:lnTo>
                    <a:pt x="4977" y="3594"/>
                  </a:lnTo>
                  <a:lnTo>
                    <a:pt x="4908" y="3283"/>
                  </a:lnTo>
                  <a:lnTo>
                    <a:pt x="4804" y="2972"/>
                  </a:lnTo>
                  <a:lnTo>
                    <a:pt x="4700" y="2661"/>
                  </a:lnTo>
                  <a:lnTo>
                    <a:pt x="4562" y="2350"/>
                  </a:lnTo>
                  <a:lnTo>
                    <a:pt x="4389" y="2039"/>
                  </a:lnTo>
                  <a:lnTo>
                    <a:pt x="4009" y="1486"/>
                  </a:lnTo>
                  <a:lnTo>
                    <a:pt x="3560" y="1002"/>
                  </a:lnTo>
                  <a:lnTo>
                    <a:pt x="3145" y="588"/>
                  </a:lnTo>
                  <a:lnTo>
                    <a:pt x="2800" y="277"/>
                  </a:lnTo>
                  <a:lnTo>
                    <a:pt x="2489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0" name="Google Shape;2389;p11">
              <a:extLst>
                <a:ext uri="{FF2B5EF4-FFF2-40B4-BE49-F238E27FC236}">
                  <a16:creationId xmlns:a16="http://schemas.microsoft.com/office/drawing/2014/main" id="{41CFC331-28CE-6499-EF07-107314FB0CC8}"/>
                </a:ext>
              </a:extLst>
            </p:cNvPr>
            <p:cNvSpPr/>
            <p:nvPr/>
          </p:nvSpPr>
          <p:spPr>
            <a:xfrm>
              <a:off x="5966300" y="1826850"/>
              <a:ext cx="175400" cy="295475"/>
            </a:xfrm>
            <a:custGeom>
              <a:avLst/>
              <a:gdLst/>
              <a:ahLst/>
              <a:cxnLst/>
              <a:rect l="l" t="t" r="r" b="b"/>
              <a:pathLst>
                <a:path w="7016" h="11819" fill="none" extrusionOk="0">
                  <a:moveTo>
                    <a:pt x="3180" y="11335"/>
                  </a:moveTo>
                  <a:lnTo>
                    <a:pt x="7016" y="10263"/>
                  </a:lnTo>
                  <a:lnTo>
                    <a:pt x="7016" y="10263"/>
                  </a:lnTo>
                  <a:lnTo>
                    <a:pt x="6981" y="9918"/>
                  </a:lnTo>
                  <a:lnTo>
                    <a:pt x="6947" y="9538"/>
                  </a:lnTo>
                  <a:lnTo>
                    <a:pt x="6843" y="9123"/>
                  </a:lnTo>
                  <a:lnTo>
                    <a:pt x="6739" y="8674"/>
                  </a:lnTo>
                  <a:lnTo>
                    <a:pt x="6428" y="7706"/>
                  </a:lnTo>
                  <a:lnTo>
                    <a:pt x="6083" y="6704"/>
                  </a:lnTo>
                  <a:lnTo>
                    <a:pt x="5357" y="4804"/>
                  </a:lnTo>
                  <a:lnTo>
                    <a:pt x="5081" y="3974"/>
                  </a:lnTo>
                  <a:lnTo>
                    <a:pt x="4977" y="3594"/>
                  </a:lnTo>
                  <a:lnTo>
                    <a:pt x="4908" y="3283"/>
                  </a:lnTo>
                  <a:lnTo>
                    <a:pt x="4908" y="3283"/>
                  </a:lnTo>
                  <a:lnTo>
                    <a:pt x="4804" y="2972"/>
                  </a:lnTo>
                  <a:lnTo>
                    <a:pt x="4700" y="2661"/>
                  </a:lnTo>
                  <a:lnTo>
                    <a:pt x="4562" y="2350"/>
                  </a:lnTo>
                  <a:lnTo>
                    <a:pt x="4389" y="2039"/>
                  </a:lnTo>
                  <a:lnTo>
                    <a:pt x="4009" y="1486"/>
                  </a:lnTo>
                  <a:lnTo>
                    <a:pt x="3560" y="1002"/>
                  </a:lnTo>
                  <a:lnTo>
                    <a:pt x="3145" y="588"/>
                  </a:lnTo>
                  <a:lnTo>
                    <a:pt x="2800" y="277"/>
                  </a:lnTo>
                  <a:lnTo>
                    <a:pt x="2489" y="0"/>
                  </a:lnTo>
                  <a:lnTo>
                    <a:pt x="1176" y="3594"/>
                  </a:lnTo>
                  <a:lnTo>
                    <a:pt x="1279" y="3905"/>
                  </a:lnTo>
                  <a:lnTo>
                    <a:pt x="1279" y="3905"/>
                  </a:lnTo>
                  <a:lnTo>
                    <a:pt x="1314" y="4389"/>
                  </a:lnTo>
                  <a:lnTo>
                    <a:pt x="1348" y="5564"/>
                  </a:lnTo>
                  <a:lnTo>
                    <a:pt x="1348" y="6289"/>
                  </a:lnTo>
                  <a:lnTo>
                    <a:pt x="1279" y="7015"/>
                  </a:lnTo>
                  <a:lnTo>
                    <a:pt x="1210" y="7706"/>
                  </a:lnTo>
                  <a:lnTo>
                    <a:pt x="1107" y="8017"/>
                  </a:lnTo>
                  <a:lnTo>
                    <a:pt x="1037" y="8294"/>
                  </a:lnTo>
                  <a:lnTo>
                    <a:pt x="1037" y="8294"/>
                  </a:lnTo>
                  <a:lnTo>
                    <a:pt x="934" y="8605"/>
                  </a:lnTo>
                  <a:lnTo>
                    <a:pt x="865" y="8950"/>
                  </a:lnTo>
                  <a:lnTo>
                    <a:pt x="761" y="9711"/>
                  </a:lnTo>
                  <a:lnTo>
                    <a:pt x="657" y="10125"/>
                  </a:lnTo>
                  <a:lnTo>
                    <a:pt x="519" y="10540"/>
                  </a:lnTo>
                  <a:lnTo>
                    <a:pt x="346" y="10989"/>
                  </a:lnTo>
                  <a:lnTo>
                    <a:pt x="70" y="11438"/>
                  </a:lnTo>
                  <a:lnTo>
                    <a:pt x="70" y="11438"/>
                  </a:lnTo>
                  <a:lnTo>
                    <a:pt x="1" y="11577"/>
                  </a:lnTo>
                  <a:lnTo>
                    <a:pt x="1" y="11646"/>
                  </a:lnTo>
                  <a:lnTo>
                    <a:pt x="35" y="11680"/>
                  </a:lnTo>
                  <a:lnTo>
                    <a:pt x="139" y="11749"/>
                  </a:lnTo>
                  <a:lnTo>
                    <a:pt x="312" y="11784"/>
                  </a:lnTo>
                  <a:lnTo>
                    <a:pt x="519" y="11819"/>
                  </a:lnTo>
                  <a:lnTo>
                    <a:pt x="796" y="11819"/>
                  </a:lnTo>
                  <a:lnTo>
                    <a:pt x="1383" y="11715"/>
                  </a:lnTo>
                  <a:lnTo>
                    <a:pt x="2040" y="11611"/>
                  </a:lnTo>
                  <a:lnTo>
                    <a:pt x="2592" y="11473"/>
                  </a:lnTo>
                  <a:lnTo>
                    <a:pt x="3180" y="113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1" name="Google Shape;2390;p11">
              <a:extLst>
                <a:ext uri="{FF2B5EF4-FFF2-40B4-BE49-F238E27FC236}">
                  <a16:creationId xmlns:a16="http://schemas.microsoft.com/office/drawing/2014/main" id="{535628FD-02E8-EF39-96B4-6988B18E710B}"/>
                </a:ext>
              </a:extLst>
            </p:cNvPr>
            <p:cNvSpPr/>
            <p:nvPr/>
          </p:nvSpPr>
          <p:spPr>
            <a:xfrm>
              <a:off x="5999125" y="1940025"/>
              <a:ext cx="900" cy="25925"/>
            </a:xfrm>
            <a:custGeom>
              <a:avLst/>
              <a:gdLst/>
              <a:ahLst/>
              <a:cxnLst/>
              <a:rect l="l" t="t" r="r" b="b"/>
              <a:pathLst>
                <a:path w="36" h="1037" extrusionOk="0">
                  <a:moveTo>
                    <a:pt x="1" y="0"/>
                  </a:moveTo>
                  <a:lnTo>
                    <a:pt x="1" y="35"/>
                  </a:lnTo>
                  <a:lnTo>
                    <a:pt x="1" y="518"/>
                  </a:lnTo>
                  <a:lnTo>
                    <a:pt x="35" y="1037"/>
                  </a:lnTo>
                  <a:lnTo>
                    <a:pt x="35" y="76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FDF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2" name="Google Shape;2391;p11">
              <a:extLst>
                <a:ext uri="{FF2B5EF4-FFF2-40B4-BE49-F238E27FC236}">
                  <a16:creationId xmlns:a16="http://schemas.microsoft.com/office/drawing/2014/main" id="{D2DEFF39-48F4-3661-5275-F7818F3AEB46}"/>
                </a:ext>
              </a:extLst>
            </p:cNvPr>
            <p:cNvSpPr/>
            <p:nvPr/>
          </p:nvSpPr>
          <p:spPr>
            <a:xfrm>
              <a:off x="5996550" y="20177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3" name="Google Shape;2392;p11">
              <a:extLst>
                <a:ext uri="{FF2B5EF4-FFF2-40B4-BE49-F238E27FC236}">
                  <a16:creationId xmlns:a16="http://schemas.microsoft.com/office/drawing/2014/main" id="{A2B672BB-C4D7-125F-16E4-DC54BF11BA1A}"/>
                </a:ext>
              </a:extLst>
            </p:cNvPr>
            <p:cNvSpPr/>
            <p:nvPr/>
          </p:nvSpPr>
          <p:spPr>
            <a:xfrm>
              <a:off x="5999125" y="1940025"/>
              <a:ext cx="900" cy="40625"/>
            </a:xfrm>
            <a:custGeom>
              <a:avLst/>
              <a:gdLst/>
              <a:ahLst/>
              <a:cxnLst/>
              <a:rect l="l" t="t" r="r" b="b"/>
              <a:pathLst>
                <a:path w="36" h="1625" fill="none" extrusionOk="0">
                  <a:moveTo>
                    <a:pt x="1" y="0"/>
                  </a:moveTo>
                  <a:lnTo>
                    <a:pt x="1" y="35"/>
                  </a:lnTo>
                  <a:lnTo>
                    <a:pt x="1" y="35"/>
                  </a:lnTo>
                  <a:lnTo>
                    <a:pt x="1" y="518"/>
                  </a:lnTo>
                  <a:lnTo>
                    <a:pt x="35" y="1037"/>
                  </a:lnTo>
                  <a:lnTo>
                    <a:pt x="35" y="1624"/>
                  </a:lnTo>
                  <a:lnTo>
                    <a:pt x="35" y="1624"/>
                  </a:lnTo>
                  <a:lnTo>
                    <a:pt x="35" y="76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4" name="Google Shape;2393;p11">
              <a:extLst>
                <a:ext uri="{FF2B5EF4-FFF2-40B4-BE49-F238E27FC236}">
                  <a16:creationId xmlns:a16="http://schemas.microsoft.com/office/drawing/2014/main" id="{451A939A-353A-9B50-B969-F8DB605104B5}"/>
                </a:ext>
              </a:extLst>
            </p:cNvPr>
            <p:cNvSpPr/>
            <p:nvPr/>
          </p:nvSpPr>
          <p:spPr>
            <a:xfrm>
              <a:off x="5996550" y="1925325"/>
              <a:ext cx="79500" cy="98525"/>
            </a:xfrm>
            <a:custGeom>
              <a:avLst/>
              <a:gdLst/>
              <a:ahLst/>
              <a:cxnLst/>
              <a:rect l="l" t="t" r="r" b="b"/>
              <a:pathLst>
                <a:path w="3180" h="3941" extrusionOk="0">
                  <a:moveTo>
                    <a:pt x="1313" y="1"/>
                  </a:moveTo>
                  <a:lnTo>
                    <a:pt x="104" y="588"/>
                  </a:lnTo>
                  <a:lnTo>
                    <a:pt x="138" y="1348"/>
                  </a:lnTo>
                  <a:lnTo>
                    <a:pt x="138" y="2212"/>
                  </a:lnTo>
                  <a:lnTo>
                    <a:pt x="104" y="2973"/>
                  </a:lnTo>
                  <a:lnTo>
                    <a:pt x="69" y="3353"/>
                  </a:lnTo>
                  <a:lnTo>
                    <a:pt x="0" y="3698"/>
                  </a:lnTo>
                  <a:lnTo>
                    <a:pt x="277" y="3802"/>
                  </a:lnTo>
                  <a:lnTo>
                    <a:pt x="553" y="3871"/>
                  </a:lnTo>
                  <a:lnTo>
                    <a:pt x="830" y="3940"/>
                  </a:lnTo>
                  <a:lnTo>
                    <a:pt x="1071" y="3940"/>
                  </a:lnTo>
                  <a:lnTo>
                    <a:pt x="1382" y="3906"/>
                  </a:lnTo>
                  <a:lnTo>
                    <a:pt x="1659" y="3871"/>
                  </a:lnTo>
                  <a:lnTo>
                    <a:pt x="1935" y="3767"/>
                  </a:lnTo>
                  <a:lnTo>
                    <a:pt x="2143" y="3629"/>
                  </a:lnTo>
                  <a:lnTo>
                    <a:pt x="2385" y="3456"/>
                  </a:lnTo>
                  <a:lnTo>
                    <a:pt x="2557" y="3284"/>
                  </a:lnTo>
                  <a:lnTo>
                    <a:pt x="2730" y="3076"/>
                  </a:lnTo>
                  <a:lnTo>
                    <a:pt x="2868" y="2869"/>
                  </a:lnTo>
                  <a:lnTo>
                    <a:pt x="2972" y="2661"/>
                  </a:lnTo>
                  <a:lnTo>
                    <a:pt x="3076" y="2454"/>
                  </a:lnTo>
                  <a:lnTo>
                    <a:pt x="3145" y="2247"/>
                  </a:lnTo>
                  <a:lnTo>
                    <a:pt x="3179" y="2039"/>
                  </a:lnTo>
                  <a:lnTo>
                    <a:pt x="3179" y="1832"/>
                  </a:lnTo>
                  <a:lnTo>
                    <a:pt x="3179" y="1659"/>
                  </a:lnTo>
                  <a:lnTo>
                    <a:pt x="3110" y="1521"/>
                  </a:lnTo>
                  <a:lnTo>
                    <a:pt x="3041" y="1383"/>
                  </a:lnTo>
                  <a:lnTo>
                    <a:pt x="2626" y="1003"/>
                  </a:lnTo>
                  <a:lnTo>
                    <a:pt x="2039" y="554"/>
                  </a:lnTo>
                  <a:lnTo>
                    <a:pt x="1313" y="1"/>
                  </a:lnTo>
                  <a:close/>
                </a:path>
              </a:pathLst>
            </a:custGeom>
            <a:solidFill>
              <a:srgbClr val="D29A9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5" name="Google Shape;2394;p11">
              <a:extLst>
                <a:ext uri="{FF2B5EF4-FFF2-40B4-BE49-F238E27FC236}">
                  <a16:creationId xmlns:a16="http://schemas.microsoft.com/office/drawing/2014/main" id="{775BFCC8-2FB2-5F41-2D3B-1953F49B562E}"/>
                </a:ext>
              </a:extLst>
            </p:cNvPr>
            <p:cNvSpPr/>
            <p:nvPr/>
          </p:nvSpPr>
          <p:spPr>
            <a:xfrm>
              <a:off x="5996550" y="1925325"/>
              <a:ext cx="79500" cy="98525"/>
            </a:xfrm>
            <a:custGeom>
              <a:avLst/>
              <a:gdLst/>
              <a:ahLst/>
              <a:cxnLst/>
              <a:rect l="l" t="t" r="r" b="b"/>
              <a:pathLst>
                <a:path w="3180" h="3941" fill="none" extrusionOk="0">
                  <a:moveTo>
                    <a:pt x="1313" y="1"/>
                  </a:moveTo>
                  <a:lnTo>
                    <a:pt x="104" y="588"/>
                  </a:lnTo>
                  <a:lnTo>
                    <a:pt x="104" y="588"/>
                  </a:lnTo>
                  <a:lnTo>
                    <a:pt x="138" y="1348"/>
                  </a:lnTo>
                  <a:lnTo>
                    <a:pt x="138" y="2212"/>
                  </a:lnTo>
                  <a:lnTo>
                    <a:pt x="138" y="2212"/>
                  </a:lnTo>
                  <a:lnTo>
                    <a:pt x="104" y="2973"/>
                  </a:lnTo>
                  <a:lnTo>
                    <a:pt x="69" y="3353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0" y="3698"/>
                  </a:lnTo>
                  <a:lnTo>
                    <a:pt x="277" y="3802"/>
                  </a:lnTo>
                  <a:lnTo>
                    <a:pt x="553" y="3871"/>
                  </a:lnTo>
                  <a:lnTo>
                    <a:pt x="830" y="3940"/>
                  </a:lnTo>
                  <a:lnTo>
                    <a:pt x="1071" y="3940"/>
                  </a:lnTo>
                  <a:lnTo>
                    <a:pt x="1071" y="3940"/>
                  </a:lnTo>
                  <a:lnTo>
                    <a:pt x="1382" y="3906"/>
                  </a:lnTo>
                  <a:lnTo>
                    <a:pt x="1659" y="3871"/>
                  </a:lnTo>
                  <a:lnTo>
                    <a:pt x="1935" y="3767"/>
                  </a:lnTo>
                  <a:lnTo>
                    <a:pt x="2143" y="3629"/>
                  </a:lnTo>
                  <a:lnTo>
                    <a:pt x="2385" y="3456"/>
                  </a:lnTo>
                  <a:lnTo>
                    <a:pt x="2557" y="3284"/>
                  </a:lnTo>
                  <a:lnTo>
                    <a:pt x="2730" y="3076"/>
                  </a:lnTo>
                  <a:lnTo>
                    <a:pt x="2868" y="2869"/>
                  </a:lnTo>
                  <a:lnTo>
                    <a:pt x="2972" y="2661"/>
                  </a:lnTo>
                  <a:lnTo>
                    <a:pt x="3076" y="2454"/>
                  </a:lnTo>
                  <a:lnTo>
                    <a:pt x="3145" y="2247"/>
                  </a:lnTo>
                  <a:lnTo>
                    <a:pt x="3179" y="2039"/>
                  </a:lnTo>
                  <a:lnTo>
                    <a:pt x="3179" y="1832"/>
                  </a:lnTo>
                  <a:lnTo>
                    <a:pt x="3179" y="1659"/>
                  </a:lnTo>
                  <a:lnTo>
                    <a:pt x="3110" y="1521"/>
                  </a:lnTo>
                  <a:lnTo>
                    <a:pt x="3041" y="1383"/>
                  </a:lnTo>
                  <a:lnTo>
                    <a:pt x="3041" y="1383"/>
                  </a:lnTo>
                  <a:lnTo>
                    <a:pt x="2626" y="1003"/>
                  </a:lnTo>
                  <a:lnTo>
                    <a:pt x="2039" y="554"/>
                  </a:lnTo>
                  <a:lnTo>
                    <a:pt x="131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6" name="Google Shape;2395;p11">
              <a:extLst>
                <a:ext uri="{FF2B5EF4-FFF2-40B4-BE49-F238E27FC236}">
                  <a16:creationId xmlns:a16="http://schemas.microsoft.com/office/drawing/2014/main" id="{86579C24-E94F-0FF4-39EB-CB59544F43E4}"/>
                </a:ext>
              </a:extLst>
            </p:cNvPr>
            <p:cNvSpPr/>
            <p:nvPr/>
          </p:nvSpPr>
          <p:spPr>
            <a:xfrm>
              <a:off x="5921375" y="1789700"/>
              <a:ext cx="179725" cy="175400"/>
            </a:xfrm>
            <a:custGeom>
              <a:avLst/>
              <a:gdLst/>
              <a:ahLst/>
              <a:cxnLst/>
              <a:rect l="l" t="t" r="r" b="b"/>
              <a:pathLst>
                <a:path w="7189" h="7016" extrusionOk="0">
                  <a:moveTo>
                    <a:pt x="2040" y="0"/>
                  </a:moveTo>
                  <a:lnTo>
                    <a:pt x="1832" y="553"/>
                  </a:lnTo>
                  <a:lnTo>
                    <a:pt x="1590" y="1037"/>
                  </a:lnTo>
                  <a:lnTo>
                    <a:pt x="1348" y="1452"/>
                  </a:lnTo>
                  <a:lnTo>
                    <a:pt x="1141" y="1832"/>
                  </a:lnTo>
                  <a:lnTo>
                    <a:pt x="726" y="2419"/>
                  </a:lnTo>
                  <a:lnTo>
                    <a:pt x="415" y="2868"/>
                  </a:lnTo>
                  <a:lnTo>
                    <a:pt x="208" y="3145"/>
                  </a:lnTo>
                  <a:lnTo>
                    <a:pt x="139" y="3283"/>
                  </a:lnTo>
                  <a:lnTo>
                    <a:pt x="104" y="3387"/>
                  </a:lnTo>
                  <a:lnTo>
                    <a:pt x="139" y="3456"/>
                  </a:lnTo>
                  <a:lnTo>
                    <a:pt x="208" y="3560"/>
                  </a:lnTo>
                  <a:lnTo>
                    <a:pt x="312" y="3629"/>
                  </a:lnTo>
                  <a:lnTo>
                    <a:pt x="485" y="3698"/>
                  </a:lnTo>
                  <a:lnTo>
                    <a:pt x="623" y="3801"/>
                  </a:lnTo>
                  <a:lnTo>
                    <a:pt x="692" y="3905"/>
                  </a:lnTo>
                  <a:lnTo>
                    <a:pt x="692" y="4078"/>
                  </a:lnTo>
                  <a:lnTo>
                    <a:pt x="692" y="4251"/>
                  </a:lnTo>
                  <a:lnTo>
                    <a:pt x="554" y="4700"/>
                  </a:lnTo>
                  <a:lnTo>
                    <a:pt x="346" y="5184"/>
                  </a:lnTo>
                  <a:lnTo>
                    <a:pt x="139" y="5668"/>
                  </a:lnTo>
                  <a:lnTo>
                    <a:pt x="70" y="5909"/>
                  </a:lnTo>
                  <a:lnTo>
                    <a:pt x="1" y="6117"/>
                  </a:lnTo>
                  <a:lnTo>
                    <a:pt x="1" y="6290"/>
                  </a:lnTo>
                  <a:lnTo>
                    <a:pt x="35" y="6462"/>
                  </a:lnTo>
                  <a:lnTo>
                    <a:pt x="104" y="6566"/>
                  </a:lnTo>
                  <a:lnTo>
                    <a:pt x="243" y="6670"/>
                  </a:lnTo>
                  <a:lnTo>
                    <a:pt x="623" y="6773"/>
                  </a:lnTo>
                  <a:lnTo>
                    <a:pt x="1037" y="6877"/>
                  </a:lnTo>
                  <a:lnTo>
                    <a:pt x="1487" y="6946"/>
                  </a:lnTo>
                  <a:lnTo>
                    <a:pt x="1901" y="6981"/>
                  </a:lnTo>
                  <a:lnTo>
                    <a:pt x="2316" y="7015"/>
                  </a:lnTo>
                  <a:lnTo>
                    <a:pt x="2731" y="6981"/>
                  </a:lnTo>
                  <a:lnTo>
                    <a:pt x="3145" y="6946"/>
                  </a:lnTo>
                  <a:lnTo>
                    <a:pt x="3526" y="6877"/>
                  </a:lnTo>
                  <a:lnTo>
                    <a:pt x="3906" y="6808"/>
                  </a:lnTo>
                  <a:lnTo>
                    <a:pt x="4251" y="6704"/>
                  </a:lnTo>
                  <a:lnTo>
                    <a:pt x="4562" y="6566"/>
                  </a:lnTo>
                  <a:lnTo>
                    <a:pt x="4873" y="6428"/>
                  </a:lnTo>
                  <a:lnTo>
                    <a:pt x="5115" y="6290"/>
                  </a:lnTo>
                  <a:lnTo>
                    <a:pt x="5357" y="6117"/>
                  </a:lnTo>
                  <a:lnTo>
                    <a:pt x="5530" y="5944"/>
                  </a:lnTo>
                  <a:lnTo>
                    <a:pt x="5668" y="5771"/>
                  </a:lnTo>
                  <a:lnTo>
                    <a:pt x="5944" y="5322"/>
                  </a:lnTo>
                  <a:lnTo>
                    <a:pt x="6186" y="4700"/>
                  </a:lnTo>
                  <a:lnTo>
                    <a:pt x="6428" y="4043"/>
                  </a:lnTo>
                  <a:lnTo>
                    <a:pt x="6670" y="3352"/>
                  </a:lnTo>
                  <a:lnTo>
                    <a:pt x="7050" y="2177"/>
                  </a:lnTo>
                  <a:lnTo>
                    <a:pt x="7189" y="1694"/>
                  </a:lnTo>
                  <a:lnTo>
                    <a:pt x="204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7" name="Google Shape;2396;p11">
              <a:extLst>
                <a:ext uri="{FF2B5EF4-FFF2-40B4-BE49-F238E27FC236}">
                  <a16:creationId xmlns:a16="http://schemas.microsoft.com/office/drawing/2014/main" id="{84FF7BCC-7070-1441-12CE-A9BCFA30B83B}"/>
                </a:ext>
              </a:extLst>
            </p:cNvPr>
            <p:cNvSpPr/>
            <p:nvPr/>
          </p:nvSpPr>
          <p:spPr>
            <a:xfrm>
              <a:off x="5951625" y="1728350"/>
              <a:ext cx="200450" cy="213425"/>
            </a:xfrm>
            <a:custGeom>
              <a:avLst/>
              <a:gdLst/>
              <a:ahLst/>
              <a:cxnLst/>
              <a:rect l="l" t="t" r="r" b="b"/>
              <a:pathLst>
                <a:path w="8018" h="8537" extrusionOk="0">
                  <a:moveTo>
                    <a:pt x="933" y="1"/>
                  </a:moveTo>
                  <a:lnTo>
                    <a:pt x="761" y="35"/>
                  </a:lnTo>
                  <a:lnTo>
                    <a:pt x="622" y="104"/>
                  </a:lnTo>
                  <a:lnTo>
                    <a:pt x="484" y="208"/>
                  </a:lnTo>
                  <a:lnTo>
                    <a:pt x="346" y="346"/>
                  </a:lnTo>
                  <a:lnTo>
                    <a:pt x="242" y="519"/>
                  </a:lnTo>
                  <a:lnTo>
                    <a:pt x="138" y="726"/>
                  </a:lnTo>
                  <a:lnTo>
                    <a:pt x="35" y="1003"/>
                  </a:lnTo>
                  <a:lnTo>
                    <a:pt x="0" y="1210"/>
                  </a:lnTo>
                  <a:lnTo>
                    <a:pt x="0" y="1383"/>
                  </a:lnTo>
                  <a:lnTo>
                    <a:pt x="35" y="1556"/>
                  </a:lnTo>
                  <a:lnTo>
                    <a:pt x="69" y="1694"/>
                  </a:lnTo>
                  <a:lnTo>
                    <a:pt x="138" y="1832"/>
                  </a:lnTo>
                  <a:lnTo>
                    <a:pt x="208" y="1971"/>
                  </a:lnTo>
                  <a:lnTo>
                    <a:pt x="415" y="2212"/>
                  </a:lnTo>
                  <a:lnTo>
                    <a:pt x="657" y="2420"/>
                  </a:lnTo>
                  <a:lnTo>
                    <a:pt x="968" y="2593"/>
                  </a:lnTo>
                  <a:lnTo>
                    <a:pt x="1590" y="2938"/>
                  </a:lnTo>
                  <a:lnTo>
                    <a:pt x="1728" y="3007"/>
                  </a:lnTo>
                  <a:lnTo>
                    <a:pt x="1832" y="3111"/>
                  </a:lnTo>
                  <a:lnTo>
                    <a:pt x="1866" y="3180"/>
                  </a:lnTo>
                  <a:lnTo>
                    <a:pt x="1901" y="3249"/>
                  </a:lnTo>
                  <a:lnTo>
                    <a:pt x="1935" y="3353"/>
                  </a:lnTo>
                  <a:lnTo>
                    <a:pt x="1901" y="3422"/>
                  </a:lnTo>
                  <a:lnTo>
                    <a:pt x="1832" y="3595"/>
                  </a:lnTo>
                  <a:lnTo>
                    <a:pt x="1763" y="3733"/>
                  </a:lnTo>
                  <a:lnTo>
                    <a:pt x="1694" y="3906"/>
                  </a:lnTo>
                  <a:lnTo>
                    <a:pt x="1694" y="3975"/>
                  </a:lnTo>
                  <a:lnTo>
                    <a:pt x="1694" y="4044"/>
                  </a:lnTo>
                  <a:lnTo>
                    <a:pt x="1728" y="4113"/>
                  </a:lnTo>
                  <a:lnTo>
                    <a:pt x="1763" y="4182"/>
                  </a:lnTo>
                  <a:lnTo>
                    <a:pt x="1901" y="4320"/>
                  </a:lnTo>
                  <a:lnTo>
                    <a:pt x="2039" y="4389"/>
                  </a:lnTo>
                  <a:lnTo>
                    <a:pt x="2143" y="4459"/>
                  </a:lnTo>
                  <a:lnTo>
                    <a:pt x="2246" y="4493"/>
                  </a:lnTo>
                  <a:lnTo>
                    <a:pt x="2523" y="4528"/>
                  </a:lnTo>
                  <a:lnTo>
                    <a:pt x="2972" y="4562"/>
                  </a:lnTo>
                  <a:lnTo>
                    <a:pt x="3179" y="4631"/>
                  </a:lnTo>
                  <a:lnTo>
                    <a:pt x="3387" y="4700"/>
                  </a:lnTo>
                  <a:lnTo>
                    <a:pt x="3525" y="4804"/>
                  </a:lnTo>
                  <a:lnTo>
                    <a:pt x="3629" y="4942"/>
                  </a:lnTo>
                  <a:lnTo>
                    <a:pt x="3629" y="5011"/>
                  </a:lnTo>
                  <a:lnTo>
                    <a:pt x="3629" y="5115"/>
                  </a:lnTo>
                  <a:lnTo>
                    <a:pt x="3560" y="5288"/>
                  </a:lnTo>
                  <a:lnTo>
                    <a:pt x="3387" y="5530"/>
                  </a:lnTo>
                  <a:lnTo>
                    <a:pt x="3076" y="5806"/>
                  </a:lnTo>
                  <a:lnTo>
                    <a:pt x="2938" y="5944"/>
                  </a:lnTo>
                  <a:lnTo>
                    <a:pt x="2799" y="6083"/>
                  </a:lnTo>
                  <a:lnTo>
                    <a:pt x="2730" y="6186"/>
                  </a:lnTo>
                  <a:lnTo>
                    <a:pt x="2696" y="6290"/>
                  </a:lnTo>
                  <a:lnTo>
                    <a:pt x="2696" y="6394"/>
                  </a:lnTo>
                  <a:lnTo>
                    <a:pt x="2696" y="6497"/>
                  </a:lnTo>
                  <a:lnTo>
                    <a:pt x="2765" y="6567"/>
                  </a:lnTo>
                  <a:lnTo>
                    <a:pt x="2834" y="6601"/>
                  </a:lnTo>
                  <a:lnTo>
                    <a:pt x="3007" y="6670"/>
                  </a:lnTo>
                  <a:lnTo>
                    <a:pt x="3283" y="6705"/>
                  </a:lnTo>
                  <a:lnTo>
                    <a:pt x="3525" y="6636"/>
                  </a:lnTo>
                  <a:lnTo>
                    <a:pt x="3801" y="6567"/>
                  </a:lnTo>
                  <a:lnTo>
                    <a:pt x="4043" y="6428"/>
                  </a:lnTo>
                  <a:lnTo>
                    <a:pt x="4216" y="6290"/>
                  </a:lnTo>
                  <a:lnTo>
                    <a:pt x="4389" y="6186"/>
                  </a:lnTo>
                  <a:lnTo>
                    <a:pt x="4562" y="6117"/>
                  </a:lnTo>
                  <a:lnTo>
                    <a:pt x="4700" y="6083"/>
                  </a:lnTo>
                  <a:lnTo>
                    <a:pt x="4838" y="6083"/>
                  </a:lnTo>
                  <a:lnTo>
                    <a:pt x="4976" y="6186"/>
                  </a:lnTo>
                  <a:lnTo>
                    <a:pt x="5149" y="6394"/>
                  </a:lnTo>
                  <a:lnTo>
                    <a:pt x="5184" y="6497"/>
                  </a:lnTo>
                  <a:lnTo>
                    <a:pt x="5184" y="6601"/>
                  </a:lnTo>
                  <a:lnTo>
                    <a:pt x="5149" y="6843"/>
                  </a:lnTo>
                  <a:lnTo>
                    <a:pt x="5046" y="7119"/>
                  </a:lnTo>
                  <a:lnTo>
                    <a:pt x="4907" y="7396"/>
                  </a:lnTo>
                  <a:lnTo>
                    <a:pt x="4804" y="7707"/>
                  </a:lnTo>
                  <a:lnTo>
                    <a:pt x="4700" y="7983"/>
                  </a:lnTo>
                  <a:lnTo>
                    <a:pt x="4631" y="8260"/>
                  </a:lnTo>
                  <a:lnTo>
                    <a:pt x="4665" y="8363"/>
                  </a:lnTo>
                  <a:lnTo>
                    <a:pt x="4700" y="8467"/>
                  </a:lnTo>
                  <a:lnTo>
                    <a:pt x="4700" y="8502"/>
                  </a:lnTo>
                  <a:lnTo>
                    <a:pt x="4769" y="8536"/>
                  </a:lnTo>
                  <a:lnTo>
                    <a:pt x="4907" y="8536"/>
                  </a:lnTo>
                  <a:lnTo>
                    <a:pt x="5115" y="8502"/>
                  </a:lnTo>
                  <a:lnTo>
                    <a:pt x="5391" y="8433"/>
                  </a:lnTo>
                  <a:lnTo>
                    <a:pt x="5668" y="8329"/>
                  </a:lnTo>
                  <a:lnTo>
                    <a:pt x="5979" y="8156"/>
                  </a:lnTo>
                  <a:lnTo>
                    <a:pt x="6324" y="7983"/>
                  </a:lnTo>
                  <a:lnTo>
                    <a:pt x="6635" y="7776"/>
                  </a:lnTo>
                  <a:lnTo>
                    <a:pt x="6981" y="7534"/>
                  </a:lnTo>
                  <a:lnTo>
                    <a:pt x="7257" y="7292"/>
                  </a:lnTo>
                  <a:lnTo>
                    <a:pt x="7499" y="7016"/>
                  </a:lnTo>
                  <a:lnTo>
                    <a:pt x="7706" y="6705"/>
                  </a:lnTo>
                  <a:lnTo>
                    <a:pt x="7879" y="6394"/>
                  </a:lnTo>
                  <a:lnTo>
                    <a:pt x="7948" y="6117"/>
                  </a:lnTo>
                  <a:lnTo>
                    <a:pt x="7948" y="5944"/>
                  </a:lnTo>
                  <a:lnTo>
                    <a:pt x="7948" y="5772"/>
                  </a:lnTo>
                  <a:lnTo>
                    <a:pt x="7914" y="5633"/>
                  </a:lnTo>
                  <a:lnTo>
                    <a:pt x="7845" y="5461"/>
                  </a:lnTo>
                  <a:lnTo>
                    <a:pt x="7741" y="5219"/>
                  </a:lnTo>
                  <a:lnTo>
                    <a:pt x="7672" y="4942"/>
                  </a:lnTo>
                  <a:lnTo>
                    <a:pt x="7637" y="4700"/>
                  </a:lnTo>
                  <a:lnTo>
                    <a:pt x="7672" y="4459"/>
                  </a:lnTo>
                  <a:lnTo>
                    <a:pt x="7741" y="4009"/>
                  </a:lnTo>
                  <a:lnTo>
                    <a:pt x="7845" y="3560"/>
                  </a:lnTo>
                  <a:lnTo>
                    <a:pt x="7983" y="3145"/>
                  </a:lnTo>
                  <a:lnTo>
                    <a:pt x="8017" y="2904"/>
                  </a:lnTo>
                  <a:lnTo>
                    <a:pt x="8017" y="2696"/>
                  </a:lnTo>
                  <a:lnTo>
                    <a:pt x="7983" y="2454"/>
                  </a:lnTo>
                  <a:lnTo>
                    <a:pt x="7948" y="2212"/>
                  </a:lnTo>
                  <a:lnTo>
                    <a:pt x="7845" y="1936"/>
                  </a:lnTo>
                  <a:lnTo>
                    <a:pt x="7706" y="1694"/>
                  </a:lnTo>
                  <a:lnTo>
                    <a:pt x="7603" y="1556"/>
                  </a:lnTo>
                  <a:lnTo>
                    <a:pt x="7499" y="1452"/>
                  </a:lnTo>
                  <a:lnTo>
                    <a:pt x="7361" y="1348"/>
                  </a:lnTo>
                  <a:lnTo>
                    <a:pt x="7223" y="1314"/>
                  </a:lnTo>
                  <a:lnTo>
                    <a:pt x="6946" y="1245"/>
                  </a:lnTo>
                  <a:lnTo>
                    <a:pt x="6635" y="1210"/>
                  </a:lnTo>
                  <a:lnTo>
                    <a:pt x="5840" y="1210"/>
                  </a:lnTo>
                  <a:lnTo>
                    <a:pt x="5668" y="1176"/>
                  </a:lnTo>
                  <a:lnTo>
                    <a:pt x="5460" y="1072"/>
                  </a:lnTo>
                  <a:lnTo>
                    <a:pt x="5287" y="934"/>
                  </a:lnTo>
                  <a:lnTo>
                    <a:pt x="5184" y="796"/>
                  </a:lnTo>
                  <a:lnTo>
                    <a:pt x="5080" y="623"/>
                  </a:lnTo>
                  <a:lnTo>
                    <a:pt x="4976" y="485"/>
                  </a:lnTo>
                  <a:lnTo>
                    <a:pt x="4873" y="346"/>
                  </a:lnTo>
                  <a:lnTo>
                    <a:pt x="4665" y="208"/>
                  </a:lnTo>
                  <a:lnTo>
                    <a:pt x="4423" y="104"/>
                  </a:lnTo>
                  <a:lnTo>
                    <a:pt x="4251" y="35"/>
                  </a:lnTo>
                  <a:lnTo>
                    <a:pt x="4078" y="1"/>
                  </a:lnTo>
                  <a:lnTo>
                    <a:pt x="3905" y="1"/>
                  </a:lnTo>
                  <a:lnTo>
                    <a:pt x="3732" y="35"/>
                  </a:lnTo>
                  <a:lnTo>
                    <a:pt x="3456" y="139"/>
                  </a:lnTo>
                  <a:lnTo>
                    <a:pt x="3214" y="277"/>
                  </a:lnTo>
                  <a:lnTo>
                    <a:pt x="2972" y="415"/>
                  </a:lnTo>
                  <a:lnTo>
                    <a:pt x="2765" y="519"/>
                  </a:lnTo>
                  <a:lnTo>
                    <a:pt x="2592" y="588"/>
                  </a:lnTo>
                  <a:lnTo>
                    <a:pt x="2488" y="588"/>
                  </a:lnTo>
                  <a:lnTo>
                    <a:pt x="2385" y="554"/>
                  </a:lnTo>
                  <a:lnTo>
                    <a:pt x="2108" y="381"/>
                  </a:lnTo>
                  <a:lnTo>
                    <a:pt x="1763" y="208"/>
                  </a:lnTo>
                  <a:lnTo>
                    <a:pt x="1417" y="70"/>
                  </a:lnTo>
                  <a:lnTo>
                    <a:pt x="1072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8" name="Google Shape;2397;p11">
              <a:extLst>
                <a:ext uri="{FF2B5EF4-FFF2-40B4-BE49-F238E27FC236}">
                  <a16:creationId xmlns:a16="http://schemas.microsoft.com/office/drawing/2014/main" id="{8E2E1C1D-412E-0151-8D88-B446F217B49B}"/>
                </a:ext>
              </a:extLst>
            </p:cNvPr>
            <p:cNvSpPr/>
            <p:nvPr/>
          </p:nvSpPr>
          <p:spPr>
            <a:xfrm>
              <a:off x="5788350" y="4358975"/>
              <a:ext cx="118375" cy="213400"/>
            </a:xfrm>
            <a:custGeom>
              <a:avLst/>
              <a:gdLst/>
              <a:ahLst/>
              <a:cxnLst/>
              <a:rect l="l" t="t" r="r" b="b"/>
              <a:pathLst>
                <a:path w="4735" h="8536" extrusionOk="0">
                  <a:moveTo>
                    <a:pt x="4734" y="0"/>
                  </a:moveTo>
                  <a:lnTo>
                    <a:pt x="35" y="173"/>
                  </a:lnTo>
                  <a:lnTo>
                    <a:pt x="0" y="2523"/>
                  </a:lnTo>
                  <a:lnTo>
                    <a:pt x="0" y="4527"/>
                  </a:lnTo>
                  <a:lnTo>
                    <a:pt x="35" y="5425"/>
                  </a:lnTo>
                  <a:lnTo>
                    <a:pt x="69" y="6186"/>
                  </a:lnTo>
                  <a:lnTo>
                    <a:pt x="1382" y="8535"/>
                  </a:lnTo>
                  <a:lnTo>
                    <a:pt x="4458" y="6462"/>
                  </a:lnTo>
                  <a:lnTo>
                    <a:pt x="473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9" name="Google Shape;2398;p11">
              <a:extLst>
                <a:ext uri="{FF2B5EF4-FFF2-40B4-BE49-F238E27FC236}">
                  <a16:creationId xmlns:a16="http://schemas.microsoft.com/office/drawing/2014/main" id="{9CB43610-32D1-29EF-0840-8C6929962877}"/>
                </a:ext>
              </a:extLst>
            </p:cNvPr>
            <p:cNvSpPr/>
            <p:nvPr/>
          </p:nvSpPr>
          <p:spPr>
            <a:xfrm>
              <a:off x="5566325" y="4473875"/>
              <a:ext cx="349025" cy="152925"/>
            </a:xfrm>
            <a:custGeom>
              <a:avLst/>
              <a:gdLst/>
              <a:ahLst/>
              <a:cxnLst/>
              <a:rect l="l" t="t" r="r" b="b"/>
              <a:pathLst>
                <a:path w="13961" h="6117" extrusionOk="0">
                  <a:moveTo>
                    <a:pt x="13477" y="0"/>
                  </a:moveTo>
                  <a:lnTo>
                    <a:pt x="13097" y="104"/>
                  </a:lnTo>
                  <a:lnTo>
                    <a:pt x="12579" y="276"/>
                  </a:lnTo>
                  <a:lnTo>
                    <a:pt x="11957" y="449"/>
                  </a:lnTo>
                  <a:lnTo>
                    <a:pt x="11266" y="587"/>
                  </a:lnTo>
                  <a:lnTo>
                    <a:pt x="10920" y="657"/>
                  </a:lnTo>
                  <a:lnTo>
                    <a:pt x="10574" y="691"/>
                  </a:lnTo>
                  <a:lnTo>
                    <a:pt x="10194" y="691"/>
                  </a:lnTo>
                  <a:lnTo>
                    <a:pt x="9849" y="657"/>
                  </a:lnTo>
                  <a:lnTo>
                    <a:pt x="9503" y="622"/>
                  </a:lnTo>
                  <a:lnTo>
                    <a:pt x="9192" y="518"/>
                  </a:lnTo>
                  <a:lnTo>
                    <a:pt x="8881" y="380"/>
                  </a:lnTo>
                  <a:lnTo>
                    <a:pt x="8570" y="173"/>
                  </a:lnTo>
                  <a:lnTo>
                    <a:pt x="8501" y="138"/>
                  </a:lnTo>
                  <a:lnTo>
                    <a:pt x="8294" y="138"/>
                  </a:lnTo>
                  <a:lnTo>
                    <a:pt x="8190" y="173"/>
                  </a:lnTo>
                  <a:lnTo>
                    <a:pt x="7983" y="311"/>
                  </a:lnTo>
                  <a:lnTo>
                    <a:pt x="7775" y="553"/>
                  </a:lnTo>
                  <a:lnTo>
                    <a:pt x="7533" y="795"/>
                  </a:lnTo>
                  <a:lnTo>
                    <a:pt x="7361" y="1071"/>
                  </a:lnTo>
                  <a:lnTo>
                    <a:pt x="7222" y="1382"/>
                  </a:lnTo>
                  <a:lnTo>
                    <a:pt x="7119" y="1659"/>
                  </a:lnTo>
                  <a:lnTo>
                    <a:pt x="7050" y="1797"/>
                  </a:lnTo>
                  <a:lnTo>
                    <a:pt x="6981" y="1935"/>
                  </a:lnTo>
                  <a:lnTo>
                    <a:pt x="6877" y="2073"/>
                  </a:lnTo>
                  <a:lnTo>
                    <a:pt x="6739" y="2212"/>
                  </a:lnTo>
                  <a:lnTo>
                    <a:pt x="6428" y="2419"/>
                  </a:lnTo>
                  <a:lnTo>
                    <a:pt x="6047" y="2626"/>
                  </a:lnTo>
                  <a:lnTo>
                    <a:pt x="5598" y="2799"/>
                  </a:lnTo>
                  <a:lnTo>
                    <a:pt x="5080" y="2972"/>
                  </a:lnTo>
                  <a:lnTo>
                    <a:pt x="4562" y="3110"/>
                  </a:lnTo>
                  <a:lnTo>
                    <a:pt x="4009" y="3214"/>
                  </a:lnTo>
                  <a:lnTo>
                    <a:pt x="2903" y="3387"/>
                  </a:lnTo>
                  <a:lnTo>
                    <a:pt x="1901" y="3490"/>
                  </a:lnTo>
                  <a:lnTo>
                    <a:pt x="518" y="3663"/>
                  </a:lnTo>
                  <a:lnTo>
                    <a:pt x="415" y="3698"/>
                  </a:lnTo>
                  <a:lnTo>
                    <a:pt x="346" y="3767"/>
                  </a:lnTo>
                  <a:lnTo>
                    <a:pt x="242" y="3905"/>
                  </a:lnTo>
                  <a:lnTo>
                    <a:pt x="173" y="4078"/>
                  </a:lnTo>
                  <a:lnTo>
                    <a:pt x="104" y="4250"/>
                  </a:lnTo>
                  <a:lnTo>
                    <a:pt x="35" y="4458"/>
                  </a:lnTo>
                  <a:lnTo>
                    <a:pt x="0" y="4700"/>
                  </a:lnTo>
                  <a:lnTo>
                    <a:pt x="0" y="4907"/>
                  </a:lnTo>
                  <a:lnTo>
                    <a:pt x="35" y="5149"/>
                  </a:lnTo>
                  <a:lnTo>
                    <a:pt x="104" y="5356"/>
                  </a:lnTo>
                  <a:lnTo>
                    <a:pt x="242" y="5564"/>
                  </a:lnTo>
                  <a:lnTo>
                    <a:pt x="415" y="5736"/>
                  </a:lnTo>
                  <a:lnTo>
                    <a:pt x="622" y="5909"/>
                  </a:lnTo>
                  <a:lnTo>
                    <a:pt x="899" y="6013"/>
                  </a:lnTo>
                  <a:lnTo>
                    <a:pt x="1244" y="6082"/>
                  </a:lnTo>
                  <a:lnTo>
                    <a:pt x="1659" y="6117"/>
                  </a:lnTo>
                  <a:lnTo>
                    <a:pt x="7084" y="6117"/>
                  </a:lnTo>
                  <a:lnTo>
                    <a:pt x="12648" y="6082"/>
                  </a:lnTo>
                  <a:lnTo>
                    <a:pt x="12821" y="6047"/>
                  </a:lnTo>
                  <a:lnTo>
                    <a:pt x="12993" y="6013"/>
                  </a:lnTo>
                  <a:lnTo>
                    <a:pt x="13132" y="5944"/>
                  </a:lnTo>
                  <a:lnTo>
                    <a:pt x="13270" y="5875"/>
                  </a:lnTo>
                  <a:lnTo>
                    <a:pt x="13408" y="5771"/>
                  </a:lnTo>
                  <a:lnTo>
                    <a:pt x="13512" y="5633"/>
                  </a:lnTo>
                  <a:lnTo>
                    <a:pt x="13581" y="5494"/>
                  </a:lnTo>
                  <a:lnTo>
                    <a:pt x="13650" y="5322"/>
                  </a:lnTo>
                  <a:lnTo>
                    <a:pt x="13788" y="4631"/>
                  </a:lnTo>
                  <a:lnTo>
                    <a:pt x="13892" y="3836"/>
                  </a:lnTo>
                  <a:lnTo>
                    <a:pt x="13926" y="2937"/>
                  </a:lnTo>
                  <a:lnTo>
                    <a:pt x="13961" y="2073"/>
                  </a:lnTo>
                  <a:lnTo>
                    <a:pt x="13926" y="1279"/>
                  </a:lnTo>
                  <a:lnTo>
                    <a:pt x="13823" y="622"/>
                  </a:lnTo>
                  <a:lnTo>
                    <a:pt x="13754" y="380"/>
                  </a:lnTo>
                  <a:lnTo>
                    <a:pt x="13684" y="173"/>
                  </a:lnTo>
                  <a:lnTo>
                    <a:pt x="13581" y="35"/>
                  </a:lnTo>
                  <a:lnTo>
                    <a:pt x="1347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0" name="Google Shape;2399;p11">
              <a:extLst>
                <a:ext uri="{FF2B5EF4-FFF2-40B4-BE49-F238E27FC236}">
                  <a16:creationId xmlns:a16="http://schemas.microsoft.com/office/drawing/2014/main" id="{9493684B-9CDF-141A-2B68-65806D7EF08C}"/>
                </a:ext>
              </a:extLst>
            </p:cNvPr>
            <p:cNvSpPr/>
            <p:nvPr/>
          </p:nvSpPr>
          <p:spPr>
            <a:xfrm>
              <a:off x="6238425" y="4358975"/>
              <a:ext cx="118400" cy="213400"/>
            </a:xfrm>
            <a:custGeom>
              <a:avLst/>
              <a:gdLst/>
              <a:ahLst/>
              <a:cxnLst/>
              <a:rect l="l" t="t" r="r" b="b"/>
              <a:pathLst>
                <a:path w="4736" h="8536" extrusionOk="0">
                  <a:moveTo>
                    <a:pt x="4735" y="0"/>
                  </a:moveTo>
                  <a:lnTo>
                    <a:pt x="36" y="207"/>
                  </a:lnTo>
                  <a:lnTo>
                    <a:pt x="1" y="2557"/>
                  </a:lnTo>
                  <a:lnTo>
                    <a:pt x="36" y="4561"/>
                  </a:lnTo>
                  <a:lnTo>
                    <a:pt x="70" y="5460"/>
                  </a:lnTo>
                  <a:lnTo>
                    <a:pt x="105" y="6220"/>
                  </a:lnTo>
                  <a:lnTo>
                    <a:pt x="1418" y="8535"/>
                  </a:lnTo>
                  <a:lnTo>
                    <a:pt x="4528" y="6462"/>
                  </a:lnTo>
                  <a:lnTo>
                    <a:pt x="473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1" name="Google Shape;2400;p11">
              <a:extLst>
                <a:ext uri="{FF2B5EF4-FFF2-40B4-BE49-F238E27FC236}">
                  <a16:creationId xmlns:a16="http://schemas.microsoft.com/office/drawing/2014/main" id="{869BE36F-952D-F4E0-1D17-8A1DCC7CCEF2}"/>
                </a:ext>
              </a:extLst>
            </p:cNvPr>
            <p:cNvSpPr/>
            <p:nvPr/>
          </p:nvSpPr>
          <p:spPr>
            <a:xfrm>
              <a:off x="6019000" y="4457450"/>
              <a:ext cx="349050" cy="171950"/>
            </a:xfrm>
            <a:custGeom>
              <a:avLst/>
              <a:gdLst/>
              <a:ahLst/>
              <a:cxnLst/>
              <a:rect l="l" t="t" r="r" b="b"/>
              <a:pathLst>
                <a:path w="13962" h="6878" extrusionOk="0">
                  <a:moveTo>
                    <a:pt x="13547" y="0"/>
                  </a:moveTo>
                  <a:lnTo>
                    <a:pt x="13167" y="70"/>
                  </a:lnTo>
                  <a:lnTo>
                    <a:pt x="12717" y="104"/>
                  </a:lnTo>
                  <a:lnTo>
                    <a:pt x="11508" y="173"/>
                  </a:lnTo>
                  <a:lnTo>
                    <a:pt x="10022" y="242"/>
                  </a:lnTo>
                  <a:lnTo>
                    <a:pt x="8398" y="346"/>
                  </a:lnTo>
                  <a:lnTo>
                    <a:pt x="8225" y="381"/>
                  </a:lnTo>
                  <a:lnTo>
                    <a:pt x="8087" y="450"/>
                  </a:lnTo>
                  <a:lnTo>
                    <a:pt x="8018" y="553"/>
                  </a:lnTo>
                  <a:lnTo>
                    <a:pt x="7949" y="692"/>
                  </a:lnTo>
                  <a:lnTo>
                    <a:pt x="7880" y="1072"/>
                  </a:lnTo>
                  <a:lnTo>
                    <a:pt x="7776" y="1555"/>
                  </a:lnTo>
                  <a:lnTo>
                    <a:pt x="7741" y="1694"/>
                  </a:lnTo>
                  <a:lnTo>
                    <a:pt x="7638" y="1867"/>
                  </a:lnTo>
                  <a:lnTo>
                    <a:pt x="7534" y="2005"/>
                  </a:lnTo>
                  <a:lnTo>
                    <a:pt x="7396" y="2143"/>
                  </a:lnTo>
                  <a:lnTo>
                    <a:pt x="7050" y="2419"/>
                  </a:lnTo>
                  <a:lnTo>
                    <a:pt x="6601" y="2661"/>
                  </a:lnTo>
                  <a:lnTo>
                    <a:pt x="6117" y="2903"/>
                  </a:lnTo>
                  <a:lnTo>
                    <a:pt x="5564" y="3145"/>
                  </a:lnTo>
                  <a:lnTo>
                    <a:pt x="4942" y="3352"/>
                  </a:lnTo>
                  <a:lnTo>
                    <a:pt x="4355" y="3525"/>
                  </a:lnTo>
                  <a:lnTo>
                    <a:pt x="3111" y="3871"/>
                  </a:lnTo>
                  <a:lnTo>
                    <a:pt x="1970" y="4113"/>
                  </a:lnTo>
                  <a:lnTo>
                    <a:pt x="1072" y="4320"/>
                  </a:lnTo>
                  <a:lnTo>
                    <a:pt x="484" y="4424"/>
                  </a:lnTo>
                  <a:lnTo>
                    <a:pt x="415" y="4458"/>
                  </a:lnTo>
                  <a:lnTo>
                    <a:pt x="312" y="4527"/>
                  </a:lnTo>
                  <a:lnTo>
                    <a:pt x="208" y="4666"/>
                  </a:lnTo>
                  <a:lnTo>
                    <a:pt x="139" y="4838"/>
                  </a:lnTo>
                  <a:lnTo>
                    <a:pt x="70" y="5011"/>
                  </a:lnTo>
                  <a:lnTo>
                    <a:pt x="1" y="5218"/>
                  </a:lnTo>
                  <a:lnTo>
                    <a:pt x="1" y="5460"/>
                  </a:lnTo>
                  <a:lnTo>
                    <a:pt x="1" y="5668"/>
                  </a:lnTo>
                  <a:lnTo>
                    <a:pt x="35" y="5910"/>
                  </a:lnTo>
                  <a:lnTo>
                    <a:pt x="104" y="6117"/>
                  </a:lnTo>
                  <a:lnTo>
                    <a:pt x="208" y="6324"/>
                  </a:lnTo>
                  <a:lnTo>
                    <a:pt x="381" y="6497"/>
                  </a:lnTo>
                  <a:lnTo>
                    <a:pt x="623" y="6670"/>
                  </a:lnTo>
                  <a:lnTo>
                    <a:pt x="899" y="6774"/>
                  </a:lnTo>
                  <a:lnTo>
                    <a:pt x="1245" y="6843"/>
                  </a:lnTo>
                  <a:lnTo>
                    <a:pt x="1659" y="6877"/>
                  </a:lnTo>
                  <a:lnTo>
                    <a:pt x="7085" y="6808"/>
                  </a:lnTo>
                  <a:lnTo>
                    <a:pt x="12648" y="6739"/>
                  </a:lnTo>
                  <a:lnTo>
                    <a:pt x="12821" y="6704"/>
                  </a:lnTo>
                  <a:lnTo>
                    <a:pt x="12994" y="6670"/>
                  </a:lnTo>
                  <a:lnTo>
                    <a:pt x="13132" y="6601"/>
                  </a:lnTo>
                  <a:lnTo>
                    <a:pt x="13270" y="6532"/>
                  </a:lnTo>
                  <a:lnTo>
                    <a:pt x="13409" y="6393"/>
                  </a:lnTo>
                  <a:lnTo>
                    <a:pt x="13512" y="6290"/>
                  </a:lnTo>
                  <a:lnTo>
                    <a:pt x="13581" y="6117"/>
                  </a:lnTo>
                  <a:lnTo>
                    <a:pt x="13650" y="5979"/>
                  </a:lnTo>
                  <a:lnTo>
                    <a:pt x="13789" y="5253"/>
                  </a:lnTo>
                  <a:lnTo>
                    <a:pt x="13892" y="4389"/>
                  </a:lnTo>
                  <a:lnTo>
                    <a:pt x="13961" y="3387"/>
                  </a:lnTo>
                  <a:lnTo>
                    <a:pt x="13961" y="2419"/>
                  </a:lnTo>
                  <a:lnTo>
                    <a:pt x="13961" y="1486"/>
                  </a:lnTo>
                  <a:lnTo>
                    <a:pt x="13892" y="726"/>
                  </a:lnTo>
                  <a:lnTo>
                    <a:pt x="13823" y="450"/>
                  </a:lnTo>
                  <a:lnTo>
                    <a:pt x="13754" y="208"/>
                  </a:lnTo>
                  <a:lnTo>
                    <a:pt x="13650" y="70"/>
                  </a:lnTo>
                  <a:lnTo>
                    <a:pt x="13616" y="35"/>
                  </a:lnTo>
                  <a:lnTo>
                    <a:pt x="1354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2" name="Google Shape;2401;p11">
              <a:extLst>
                <a:ext uri="{FF2B5EF4-FFF2-40B4-BE49-F238E27FC236}">
                  <a16:creationId xmlns:a16="http://schemas.microsoft.com/office/drawing/2014/main" id="{5C1170B6-F7E9-6BC4-02D2-92AC1EAC18DB}"/>
                </a:ext>
              </a:extLst>
            </p:cNvPr>
            <p:cNvSpPr/>
            <p:nvPr/>
          </p:nvSpPr>
          <p:spPr>
            <a:xfrm>
              <a:off x="5740825" y="2709750"/>
              <a:ext cx="672150" cy="1752050"/>
            </a:xfrm>
            <a:custGeom>
              <a:avLst/>
              <a:gdLst/>
              <a:ahLst/>
              <a:cxnLst/>
              <a:rect l="l" t="t" r="r" b="b"/>
              <a:pathLst>
                <a:path w="26886" h="70082" extrusionOk="0">
                  <a:moveTo>
                    <a:pt x="17210" y="1"/>
                  </a:moveTo>
                  <a:lnTo>
                    <a:pt x="16277" y="35"/>
                  </a:lnTo>
                  <a:lnTo>
                    <a:pt x="14445" y="174"/>
                  </a:lnTo>
                  <a:lnTo>
                    <a:pt x="12648" y="346"/>
                  </a:lnTo>
                  <a:lnTo>
                    <a:pt x="10989" y="554"/>
                  </a:lnTo>
                  <a:lnTo>
                    <a:pt x="9504" y="796"/>
                  </a:lnTo>
                  <a:lnTo>
                    <a:pt x="8225" y="1003"/>
                  </a:lnTo>
                  <a:lnTo>
                    <a:pt x="7257" y="1176"/>
                  </a:lnTo>
                  <a:lnTo>
                    <a:pt x="6428" y="1349"/>
                  </a:lnTo>
                  <a:lnTo>
                    <a:pt x="5910" y="4942"/>
                  </a:lnTo>
                  <a:lnTo>
                    <a:pt x="5149" y="9849"/>
                  </a:lnTo>
                  <a:lnTo>
                    <a:pt x="3283" y="21668"/>
                  </a:lnTo>
                  <a:lnTo>
                    <a:pt x="1486" y="32657"/>
                  </a:lnTo>
                  <a:lnTo>
                    <a:pt x="484" y="38600"/>
                  </a:lnTo>
                  <a:lnTo>
                    <a:pt x="415" y="39050"/>
                  </a:lnTo>
                  <a:lnTo>
                    <a:pt x="346" y="39602"/>
                  </a:lnTo>
                  <a:lnTo>
                    <a:pt x="242" y="41054"/>
                  </a:lnTo>
                  <a:lnTo>
                    <a:pt x="139" y="42885"/>
                  </a:lnTo>
                  <a:lnTo>
                    <a:pt x="104" y="45028"/>
                  </a:lnTo>
                  <a:lnTo>
                    <a:pt x="1" y="49935"/>
                  </a:lnTo>
                  <a:lnTo>
                    <a:pt x="1" y="55187"/>
                  </a:lnTo>
                  <a:lnTo>
                    <a:pt x="35" y="60267"/>
                  </a:lnTo>
                  <a:lnTo>
                    <a:pt x="70" y="64587"/>
                  </a:lnTo>
                  <a:lnTo>
                    <a:pt x="104" y="68734"/>
                  </a:lnTo>
                  <a:lnTo>
                    <a:pt x="312" y="69045"/>
                  </a:lnTo>
                  <a:lnTo>
                    <a:pt x="588" y="69321"/>
                  </a:lnTo>
                  <a:lnTo>
                    <a:pt x="934" y="69528"/>
                  </a:lnTo>
                  <a:lnTo>
                    <a:pt x="1279" y="69736"/>
                  </a:lnTo>
                  <a:lnTo>
                    <a:pt x="1694" y="69874"/>
                  </a:lnTo>
                  <a:lnTo>
                    <a:pt x="2143" y="69978"/>
                  </a:lnTo>
                  <a:lnTo>
                    <a:pt x="2592" y="70047"/>
                  </a:lnTo>
                  <a:lnTo>
                    <a:pt x="3111" y="70081"/>
                  </a:lnTo>
                  <a:lnTo>
                    <a:pt x="3594" y="70081"/>
                  </a:lnTo>
                  <a:lnTo>
                    <a:pt x="4113" y="70012"/>
                  </a:lnTo>
                  <a:lnTo>
                    <a:pt x="4631" y="69943"/>
                  </a:lnTo>
                  <a:lnTo>
                    <a:pt x="5115" y="69839"/>
                  </a:lnTo>
                  <a:lnTo>
                    <a:pt x="5633" y="69701"/>
                  </a:lnTo>
                  <a:lnTo>
                    <a:pt x="6082" y="69528"/>
                  </a:lnTo>
                  <a:lnTo>
                    <a:pt x="6566" y="69321"/>
                  </a:lnTo>
                  <a:lnTo>
                    <a:pt x="6981" y="69114"/>
                  </a:lnTo>
                  <a:lnTo>
                    <a:pt x="7050" y="68975"/>
                  </a:lnTo>
                  <a:lnTo>
                    <a:pt x="7085" y="68734"/>
                  </a:lnTo>
                  <a:lnTo>
                    <a:pt x="7188" y="67939"/>
                  </a:lnTo>
                  <a:lnTo>
                    <a:pt x="7257" y="66764"/>
                  </a:lnTo>
                  <a:lnTo>
                    <a:pt x="7292" y="65278"/>
                  </a:lnTo>
                  <a:lnTo>
                    <a:pt x="7326" y="61477"/>
                  </a:lnTo>
                  <a:lnTo>
                    <a:pt x="7396" y="56915"/>
                  </a:lnTo>
                  <a:lnTo>
                    <a:pt x="7465" y="52043"/>
                  </a:lnTo>
                  <a:lnTo>
                    <a:pt x="7568" y="49589"/>
                  </a:lnTo>
                  <a:lnTo>
                    <a:pt x="7672" y="47205"/>
                  </a:lnTo>
                  <a:lnTo>
                    <a:pt x="7810" y="44924"/>
                  </a:lnTo>
                  <a:lnTo>
                    <a:pt x="8018" y="42816"/>
                  </a:lnTo>
                  <a:lnTo>
                    <a:pt x="8121" y="41814"/>
                  </a:lnTo>
                  <a:lnTo>
                    <a:pt x="8259" y="40881"/>
                  </a:lnTo>
                  <a:lnTo>
                    <a:pt x="8398" y="40017"/>
                  </a:lnTo>
                  <a:lnTo>
                    <a:pt x="8536" y="39222"/>
                  </a:lnTo>
                  <a:lnTo>
                    <a:pt x="9020" y="37218"/>
                  </a:lnTo>
                  <a:lnTo>
                    <a:pt x="9573" y="35076"/>
                  </a:lnTo>
                  <a:lnTo>
                    <a:pt x="10195" y="32829"/>
                  </a:lnTo>
                  <a:lnTo>
                    <a:pt x="10886" y="30618"/>
                  </a:lnTo>
                  <a:lnTo>
                    <a:pt x="11542" y="28441"/>
                  </a:lnTo>
                  <a:lnTo>
                    <a:pt x="12233" y="26367"/>
                  </a:lnTo>
                  <a:lnTo>
                    <a:pt x="13408" y="22808"/>
                  </a:lnTo>
                  <a:lnTo>
                    <a:pt x="14203" y="20493"/>
                  </a:lnTo>
                  <a:lnTo>
                    <a:pt x="14549" y="19594"/>
                  </a:lnTo>
                  <a:lnTo>
                    <a:pt x="15620" y="26989"/>
                  </a:lnTo>
                  <a:lnTo>
                    <a:pt x="16000" y="29477"/>
                  </a:lnTo>
                  <a:lnTo>
                    <a:pt x="16277" y="31516"/>
                  </a:lnTo>
                  <a:lnTo>
                    <a:pt x="16518" y="33486"/>
                  </a:lnTo>
                  <a:lnTo>
                    <a:pt x="16691" y="35559"/>
                  </a:lnTo>
                  <a:lnTo>
                    <a:pt x="16864" y="38117"/>
                  </a:lnTo>
                  <a:lnTo>
                    <a:pt x="17037" y="41434"/>
                  </a:lnTo>
                  <a:lnTo>
                    <a:pt x="17486" y="50799"/>
                  </a:lnTo>
                  <a:lnTo>
                    <a:pt x="17866" y="59334"/>
                  </a:lnTo>
                  <a:lnTo>
                    <a:pt x="18246" y="67939"/>
                  </a:lnTo>
                  <a:lnTo>
                    <a:pt x="19352" y="68181"/>
                  </a:lnTo>
                  <a:lnTo>
                    <a:pt x="20320" y="68353"/>
                  </a:lnTo>
                  <a:lnTo>
                    <a:pt x="21184" y="68492"/>
                  </a:lnTo>
                  <a:lnTo>
                    <a:pt x="21978" y="68561"/>
                  </a:lnTo>
                  <a:lnTo>
                    <a:pt x="22739" y="68561"/>
                  </a:lnTo>
                  <a:lnTo>
                    <a:pt x="23084" y="68492"/>
                  </a:lnTo>
                  <a:lnTo>
                    <a:pt x="23464" y="68457"/>
                  </a:lnTo>
                  <a:lnTo>
                    <a:pt x="23844" y="68353"/>
                  </a:lnTo>
                  <a:lnTo>
                    <a:pt x="24225" y="68250"/>
                  </a:lnTo>
                  <a:lnTo>
                    <a:pt x="24605" y="68112"/>
                  </a:lnTo>
                  <a:lnTo>
                    <a:pt x="25019" y="67939"/>
                  </a:lnTo>
                  <a:lnTo>
                    <a:pt x="25054" y="66315"/>
                  </a:lnTo>
                  <a:lnTo>
                    <a:pt x="25123" y="63619"/>
                  </a:lnTo>
                  <a:lnTo>
                    <a:pt x="25296" y="56155"/>
                  </a:lnTo>
                  <a:lnTo>
                    <a:pt x="25399" y="51939"/>
                  </a:lnTo>
                  <a:lnTo>
                    <a:pt x="25469" y="47792"/>
                  </a:lnTo>
                  <a:lnTo>
                    <a:pt x="25503" y="44026"/>
                  </a:lnTo>
                  <a:lnTo>
                    <a:pt x="25469" y="42332"/>
                  </a:lnTo>
                  <a:lnTo>
                    <a:pt x="25469" y="40847"/>
                  </a:lnTo>
                  <a:lnTo>
                    <a:pt x="25434" y="39430"/>
                  </a:lnTo>
                  <a:lnTo>
                    <a:pt x="25434" y="37909"/>
                  </a:lnTo>
                  <a:lnTo>
                    <a:pt x="25469" y="34730"/>
                  </a:lnTo>
                  <a:lnTo>
                    <a:pt x="25572" y="31447"/>
                  </a:lnTo>
                  <a:lnTo>
                    <a:pt x="25745" y="28199"/>
                  </a:lnTo>
                  <a:lnTo>
                    <a:pt x="25952" y="25123"/>
                  </a:lnTo>
                  <a:lnTo>
                    <a:pt x="26125" y="22393"/>
                  </a:lnTo>
                  <a:lnTo>
                    <a:pt x="26332" y="20113"/>
                  </a:lnTo>
                  <a:lnTo>
                    <a:pt x="26505" y="18454"/>
                  </a:lnTo>
                  <a:lnTo>
                    <a:pt x="26643" y="17141"/>
                  </a:lnTo>
                  <a:lnTo>
                    <a:pt x="26747" y="15931"/>
                  </a:lnTo>
                  <a:lnTo>
                    <a:pt x="26816" y="14895"/>
                  </a:lnTo>
                  <a:lnTo>
                    <a:pt x="26851" y="13893"/>
                  </a:lnTo>
                  <a:lnTo>
                    <a:pt x="26885" y="12165"/>
                  </a:lnTo>
                  <a:lnTo>
                    <a:pt x="26851" y="10644"/>
                  </a:lnTo>
                  <a:lnTo>
                    <a:pt x="26782" y="9297"/>
                  </a:lnTo>
                  <a:lnTo>
                    <a:pt x="26713" y="7776"/>
                  </a:lnTo>
                  <a:lnTo>
                    <a:pt x="26713" y="7016"/>
                  </a:lnTo>
                  <a:lnTo>
                    <a:pt x="26713" y="6256"/>
                  </a:lnTo>
                  <a:lnTo>
                    <a:pt x="26678" y="5046"/>
                  </a:lnTo>
                  <a:lnTo>
                    <a:pt x="26609" y="3768"/>
                  </a:lnTo>
                  <a:lnTo>
                    <a:pt x="26574" y="3456"/>
                  </a:lnTo>
                  <a:lnTo>
                    <a:pt x="26505" y="3180"/>
                  </a:lnTo>
                  <a:lnTo>
                    <a:pt x="26402" y="2904"/>
                  </a:lnTo>
                  <a:lnTo>
                    <a:pt x="26263" y="2627"/>
                  </a:lnTo>
                  <a:lnTo>
                    <a:pt x="26125" y="2385"/>
                  </a:lnTo>
                  <a:lnTo>
                    <a:pt x="25952" y="2143"/>
                  </a:lnTo>
                  <a:lnTo>
                    <a:pt x="25780" y="1936"/>
                  </a:lnTo>
                  <a:lnTo>
                    <a:pt x="25572" y="1729"/>
                  </a:lnTo>
                  <a:lnTo>
                    <a:pt x="25330" y="1556"/>
                  </a:lnTo>
                  <a:lnTo>
                    <a:pt x="25088" y="1383"/>
                  </a:lnTo>
                  <a:lnTo>
                    <a:pt x="24501" y="1038"/>
                  </a:lnTo>
                  <a:lnTo>
                    <a:pt x="23879" y="796"/>
                  </a:lnTo>
                  <a:lnTo>
                    <a:pt x="23188" y="554"/>
                  </a:lnTo>
                  <a:lnTo>
                    <a:pt x="22462" y="381"/>
                  </a:lnTo>
                  <a:lnTo>
                    <a:pt x="21667" y="243"/>
                  </a:lnTo>
                  <a:lnTo>
                    <a:pt x="20838" y="139"/>
                  </a:lnTo>
                  <a:lnTo>
                    <a:pt x="19940" y="70"/>
                  </a:lnTo>
                  <a:lnTo>
                    <a:pt x="19076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3" name="Google Shape;2402;p11">
              <a:extLst>
                <a:ext uri="{FF2B5EF4-FFF2-40B4-BE49-F238E27FC236}">
                  <a16:creationId xmlns:a16="http://schemas.microsoft.com/office/drawing/2014/main" id="{611283AC-5901-B861-405F-5EB0C20794E7}"/>
                </a:ext>
              </a:extLst>
            </p:cNvPr>
            <p:cNvSpPr/>
            <p:nvPr/>
          </p:nvSpPr>
          <p:spPr>
            <a:xfrm>
              <a:off x="5740825" y="2709750"/>
              <a:ext cx="672150" cy="1752050"/>
            </a:xfrm>
            <a:custGeom>
              <a:avLst/>
              <a:gdLst/>
              <a:ahLst/>
              <a:cxnLst/>
              <a:rect l="l" t="t" r="r" b="b"/>
              <a:pathLst>
                <a:path w="26886" h="70082" fill="none" extrusionOk="0">
                  <a:moveTo>
                    <a:pt x="26747" y="15931"/>
                  </a:moveTo>
                  <a:lnTo>
                    <a:pt x="26747" y="15931"/>
                  </a:lnTo>
                  <a:lnTo>
                    <a:pt x="26643" y="17141"/>
                  </a:lnTo>
                  <a:lnTo>
                    <a:pt x="26505" y="18454"/>
                  </a:lnTo>
                  <a:lnTo>
                    <a:pt x="26505" y="18454"/>
                  </a:lnTo>
                  <a:lnTo>
                    <a:pt x="26332" y="20113"/>
                  </a:lnTo>
                  <a:lnTo>
                    <a:pt x="26125" y="22393"/>
                  </a:lnTo>
                  <a:lnTo>
                    <a:pt x="25952" y="25123"/>
                  </a:lnTo>
                  <a:lnTo>
                    <a:pt x="25745" y="28199"/>
                  </a:lnTo>
                  <a:lnTo>
                    <a:pt x="25572" y="31447"/>
                  </a:lnTo>
                  <a:lnTo>
                    <a:pt x="25469" y="34730"/>
                  </a:lnTo>
                  <a:lnTo>
                    <a:pt x="25434" y="37909"/>
                  </a:lnTo>
                  <a:lnTo>
                    <a:pt x="25434" y="39430"/>
                  </a:lnTo>
                  <a:lnTo>
                    <a:pt x="25469" y="40847"/>
                  </a:lnTo>
                  <a:lnTo>
                    <a:pt x="25469" y="40847"/>
                  </a:lnTo>
                  <a:lnTo>
                    <a:pt x="25469" y="42332"/>
                  </a:lnTo>
                  <a:lnTo>
                    <a:pt x="25503" y="44026"/>
                  </a:lnTo>
                  <a:lnTo>
                    <a:pt x="25469" y="47792"/>
                  </a:lnTo>
                  <a:lnTo>
                    <a:pt x="25399" y="51939"/>
                  </a:lnTo>
                  <a:lnTo>
                    <a:pt x="25296" y="56155"/>
                  </a:lnTo>
                  <a:lnTo>
                    <a:pt x="25123" y="63619"/>
                  </a:lnTo>
                  <a:lnTo>
                    <a:pt x="25054" y="66315"/>
                  </a:lnTo>
                  <a:lnTo>
                    <a:pt x="25019" y="67939"/>
                  </a:lnTo>
                  <a:lnTo>
                    <a:pt x="25019" y="67939"/>
                  </a:lnTo>
                  <a:lnTo>
                    <a:pt x="24605" y="68112"/>
                  </a:lnTo>
                  <a:lnTo>
                    <a:pt x="24225" y="68250"/>
                  </a:lnTo>
                  <a:lnTo>
                    <a:pt x="23844" y="68353"/>
                  </a:lnTo>
                  <a:lnTo>
                    <a:pt x="23464" y="68457"/>
                  </a:lnTo>
                  <a:lnTo>
                    <a:pt x="23084" y="68492"/>
                  </a:lnTo>
                  <a:lnTo>
                    <a:pt x="22739" y="68561"/>
                  </a:lnTo>
                  <a:lnTo>
                    <a:pt x="22358" y="68561"/>
                  </a:lnTo>
                  <a:lnTo>
                    <a:pt x="21978" y="68561"/>
                  </a:lnTo>
                  <a:lnTo>
                    <a:pt x="21184" y="68492"/>
                  </a:lnTo>
                  <a:lnTo>
                    <a:pt x="20320" y="68353"/>
                  </a:lnTo>
                  <a:lnTo>
                    <a:pt x="19352" y="68181"/>
                  </a:lnTo>
                  <a:lnTo>
                    <a:pt x="18246" y="67939"/>
                  </a:lnTo>
                  <a:lnTo>
                    <a:pt x="18246" y="67939"/>
                  </a:lnTo>
                  <a:lnTo>
                    <a:pt x="17866" y="59334"/>
                  </a:lnTo>
                  <a:lnTo>
                    <a:pt x="17486" y="50799"/>
                  </a:lnTo>
                  <a:lnTo>
                    <a:pt x="17037" y="41434"/>
                  </a:lnTo>
                  <a:lnTo>
                    <a:pt x="17037" y="41434"/>
                  </a:lnTo>
                  <a:lnTo>
                    <a:pt x="16864" y="38117"/>
                  </a:lnTo>
                  <a:lnTo>
                    <a:pt x="16691" y="35559"/>
                  </a:lnTo>
                  <a:lnTo>
                    <a:pt x="16518" y="33486"/>
                  </a:lnTo>
                  <a:lnTo>
                    <a:pt x="16277" y="31516"/>
                  </a:lnTo>
                  <a:lnTo>
                    <a:pt x="16000" y="29477"/>
                  </a:lnTo>
                  <a:lnTo>
                    <a:pt x="15620" y="26989"/>
                  </a:lnTo>
                  <a:lnTo>
                    <a:pt x="14549" y="19594"/>
                  </a:lnTo>
                  <a:lnTo>
                    <a:pt x="14549" y="19594"/>
                  </a:lnTo>
                  <a:lnTo>
                    <a:pt x="14549" y="19594"/>
                  </a:lnTo>
                  <a:lnTo>
                    <a:pt x="14203" y="20493"/>
                  </a:lnTo>
                  <a:lnTo>
                    <a:pt x="13408" y="22808"/>
                  </a:lnTo>
                  <a:lnTo>
                    <a:pt x="13408" y="22808"/>
                  </a:lnTo>
                  <a:lnTo>
                    <a:pt x="12233" y="26367"/>
                  </a:lnTo>
                  <a:lnTo>
                    <a:pt x="11542" y="28441"/>
                  </a:lnTo>
                  <a:lnTo>
                    <a:pt x="10886" y="30618"/>
                  </a:lnTo>
                  <a:lnTo>
                    <a:pt x="10195" y="32829"/>
                  </a:lnTo>
                  <a:lnTo>
                    <a:pt x="9573" y="35076"/>
                  </a:lnTo>
                  <a:lnTo>
                    <a:pt x="9020" y="37218"/>
                  </a:lnTo>
                  <a:lnTo>
                    <a:pt x="8536" y="39222"/>
                  </a:lnTo>
                  <a:lnTo>
                    <a:pt x="8536" y="39222"/>
                  </a:lnTo>
                  <a:lnTo>
                    <a:pt x="8398" y="40017"/>
                  </a:lnTo>
                  <a:lnTo>
                    <a:pt x="8259" y="40881"/>
                  </a:lnTo>
                  <a:lnTo>
                    <a:pt x="8121" y="41814"/>
                  </a:lnTo>
                  <a:lnTo>
                    <a:pt x="8018" y="42816"/>
                  </a:lnTo>
                  <a:lnTo>
                    <a:pt x="7810" y="44924"/>
                  </a:lnTo>
                  <a:lnTo>
                    <a:pt x="7672" y="47205"/>
                  </a:lnTo>
                  <a:lnTo>
                    <a:pt x="7568" y="49589"/>
                  </a:lnTo>
                  <a:lnTo>
                    <a:pt x="7465" y="52043"/>
                  </a:lnTo>
                  <a:lnTo>
                    <a:pt x="7396" y="56915"/>
                  </a:lnTo>
                  <a:lnTo>
                    <a:pt x="7326" y="61477"/>
                  </a:lnTo>
                  <a:lnTo>
                    <a:pt x="7292" y="65278"/>
                  </a:lnTo>
                  <a:lnTo>
                    <a:pt x="7257" y="66764"/>
                  </a:lnTo>
                  <a:lnTo>
                    <a:pt x="7188" y="67939"/>
                  </a:lnTo>
                  <a:lnTo>
                    <a:pt x="7085" y="68734"/>
                  </a:lnTo>
                  <a:lnTo>
                    <a:pt x="7050" y="68975"/>
                  </a:lnTo>
                  <a:lnTo>
                    <a:pt x="6981" y="69114"/>
                  </a:lnTo>
                  <a:lnTo>
                    <a:pt x="6981" y="69114"/>
                  </a:lnTo>
                  <a:lnTo>
                    <a:pt x="6566" y="69321"/>
                  </a:lnTo>
                  <a:lnTo>
                    <a:pt x="6082" y="69528"/>
                  </a:lnTo>
                  <a:lnTo>
                    <a:pt x="5633" y="69701"/>
                  </a:lnTo>
                  <a:lnTo>
                    <a:pt x="5115" y="69839"/>
                  </a:lnTo>
                  <a:lnTo>
                    <a:pt x="4631" y="69943"/>
                  </a:lnTo>
                  <a:lnTo>
                    <a:pt x="4113" y="70012"/>
                  </a:lnTo>
                  <a:lnTo>
                    <a:pt x="3594" y="70081"/>
                  </a:lnTo>
                  <a:lnTo>
                    <a:pt x="3111" y="70081"/>
                  </a:lnTo>
                  <a:lnTo>
                    <a:pt x="2592" y="70047"/>
                  </a:lnTo>
                  <a:lnTo>
                    <a:pt x="2143" y="69978"/>
                  </a:lnTo>
                  <a:lnTo>
                    <a:pt x="1694" y="69874"/>
                  </a:lnTo>
                  <a:lnTo>
                    <a:pt x="1279" y="69736"/>
                  </a:lnTo>
                  <a:lnTo>
                    <a:pt x="934" y="69528"/>
                  </a:lnTo>
                  <a:lnTo>
                    <a:pt x="588" y="69321"/>
                  </a:lnTo>
                  <a:lnTo>
                    <a:pt x="312" y="69045"/>
                  </a:lnTo>
                  <a:lnTo>
                    <a:pt x="104" y="68734"/>
                  </a:lnTo>
                  <a:lnTo>
                    <a:pt x="104" y="68734"/>
                  </a:lnTo>
                  <a:lnTo>
                    <a:pt x="70" y="64587"/>
                  </a:lnTo>
                  <a:lnTo>
                    <a:pt x="35" y="60267"/>
                  </a:lnTo>
                  <a:lnTo>
                    <a:pt x="1" y="55187"/>
                  </a:lnTo>
                  <a:lnTo>
                    <a:pt x="1" y="49935"/>
                  </a:lnTo>
                  <a:lnTo>
                    <a:pt x="104" y="45028"/>
                  </a:lnTo>
                  <a:lnTo>
                    <a:pt x="139" y="42885"/>
                  </a:lnTo>
                  <a:lnTo>
                    <a:pt x="242" y="41054"/>
                  </a:lnTo>
                  <a:lnTo>
                    <a:pt x="346" y="39602"/>
                  </a:lnTo>
                  <a:lnTo>
                    <a:pt x="415" y="39050"/>
                  </a:lnTo>
                  <a:lnTo>
                    <a:pt x="484" y="38600"/>
                  </a:lnTo>
                  <a:lnTo>
                    <a:pt x="484" y="38600"/>
                  </a:lnTo>
                  <a:lnTo>
                    <a:pt x="1486" y="32657"/>
                  </a:lnTo>
                  <a:lnTo>
                    <a:pt x="3283" y="21668"/>
                  </a:lnTo>
                  <a:lnTo>
                    <a:pt x="5149" y="9849"/>
                  </a:lnTo>
                  <a:lnTo>
                    <a:pt x="5910" y="4942"/>
                  </a:lnTo>
                  <a:lnTo>
                    <a:pt x="6428" y="1349"/>
                  </a:lnTo>
                  <a:lnTo>
                    <a:pt x="6428" y="1349"/>
                  </a:lnTo>
                  <a:lnTo>
                    <a:pt x="7257" y="1176"/>
                  </a:lnTo>
                  <a:lnTo>
                    <a:pt x="8225" y="1003"/>
                  </a:lnTo>
                  <a:lnTo>
                    <a:pt x="9504" y="796"/>
                  </a:lnTo>
                  <a:lnTo>
                    <a:pt x="10989" y="554"/>
                  </a:lnTo>
                  <a:lnTo>
                    <a:pt x="12648" y="346"/>
                  </a:lnTo>
                  <a:lnTo>
                    <a:pt x="14445" y="174"/>
                  </a:lnTo>
                  <a:lnTo>
                    <a:pt x="16277" y="35"/>
                  </a:lnTo>
                  <a:lnTo>
                    <a:pt x="17210" y="1"/>
                  </a:lnTo>
                  <a:lnTo>
                    <a:pt x="18143" y="1"/>
                  </a:lnTo>
                  <a:lnTo>
                    <a:pt x="19076" y="1"/>
                  </a:lnTo>
                  <a:lnTo>
                    <a:pt x="19940" y="70"/>
                  </a:lnTo>
                  <a:lnTo>
                    <a:pt x="20838" y="139"/>
                  </a:lnTo>
                  <a:lnTo>
                    <a:pt x="21667" y="243"/>
                  </a:lnTo>
                  <a:lnTo>
                    <a:pt x="22462" y="381"/>
                  </a:lnTo>
                  <a:lnTo>
                    <a:pt x="23188" y="554"/>
                  </a:lnTo>
                  <a:lnTo>
                    <a:pt x="23879" y="796"/>
                  </a:lnTo>
                  <a:lnTo>
                    <a:pt x="24501" y="1038"/>
                  </a:lnTo>
                  <a:lnTo>
                    <a:pt x="25088" y="1383"/>
                  </a:lnTo>
                  <a:lnTo>
                    <a:pt x="25330" y="1556"/>
                  </a:lnTo>
                  <a:lnTo>
                    <a:pt x="25572" y="1729"/>
                  </a:lnTo>
                  <a:lnTo>
                    <a:pt x="25780" y="1936"/>
                  </a:lnTo>
                  <a:lnTo>
                    <a:pt x="25952" y="2143"/>
                  </a:lnTo>
                  <a:lnTo>
                    <a:pt x="26125" y="2385"/>
                  </a:lnTo>
                  <a:lnTo>
                    <a:pt x="26263" y="2627"/>
                  </a:lnTo>
                  <a:lnTo>
                    <a:pt x="26402" y="2904"/>
                  </a:lnTo>
                  <a:lnTo>
                    <a:pt x="26505" y="3180"/>
                  </a:lnTo>
                  <a:lnTo>
                    <a:pt x="26574" y="3456"/>
                  </a:lnTo>
                  <a:lnTo>
                    <a:pt x="26609" y="3768"/>
                  </a:lnTo>
                  <a:lnTo>
                    <a:pt x="26609" y="3768"/>
                  </a:lnTo>
                  <a:lnTo>
                    <a:pt x="26678" y="5046"/>
                  </a:lnTo>
                  <a:lnTo>
                    <a:pt x="26713" y="6256"/>
                  </a:lnTo>
                  <a:lnTo>
                    <a:pt x="26713" y="6256"/>
                  </a:lnTo>
                  <a:lnTo>
                    <a:pt x="26713" y="7016"/>
                  </a:lnTo>
                  <a:lnTo>
                    <a:pt x="26713" y="7776"/>
                  </a:lnTo>
                  <a:lnTo>
                    <a:pt x="26782" y="9297"/>
                  </a:lnTo>
                  <a:lnTo>
                    <a:pt x="26782" y="9297"/>
                  </a:lnTo>
                  <a:lnTo>
                    <a:pt x="26851" y="10644"/>
                  </a:lnTo>
                  <a:lnTo>
                    <a:pt x="26885" y="12165"/>
                  </a:lnTo>
                  <a:lnTo>
                    <a:pt x="26851" y="13893"/>
                  </a:lnTo>
                  <a:lnTo>
                    <a:pt x="26816" y="14895"/>
                  </a:lnTo>
                  <a:lnTo>
                    <a:pt x="26747" y="1593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4" name="Google Shape;2403;p11">
              <a:extLst>
                <a:ext uri="{FF2B5EF4-FFF2-40B4-BE49-F238E27FC236}">
                  <a16:creationId xmlns:a16="http://schemas.microsoft.com/office/drawing/2014/main" id="{D64EE57C-8220-1BF3-34D0-50829DAE8E9C}"/>
                </a:ext>
              </a:extLst>
            </p:cNvPr>
            <p:cNvSpPr/>
            <p:nvPr/>
          </p:nvSpPr>
          <p:spPr>
            <a:xfrm>
              <a:off x="6146000" y="3107150"/>
              <a:ext cx="1750" cy="900"/>
            </a:xfrm>
            <a:custGeom>
              <a:avLst/>
              <a:gdLst/>
              <a:ahLst/>
              <a:cxnLst/>
              <a:rect l="l" t="t" r="r" b="b"/>
              <a:pathLst>
                <a:path w="70" h="36" extrusionOk="0">
                  <a:moveTo>
                    <a:pt x="0" y="1"/>
                  </a:moveTo>
                  <a:lnTo>
                    <a:pt x="35" y="35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3434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5" name="Google Shape;2404;p11">
              <a:extLst>
                <a:ext uri="{FF2B5EF4-FFF2-40B4-BE49-F238E27FC236}">
                  <a16:creationId xmlns:a16="http://schemas.microsoft.com/office/drawing/2014/main" id="{E6846825-7891-0E1C-0928-D43F0391C7E0}"/>
                </a:ext>
              </a:extLst>
            </p:cNvPr>
            <p:cNvSpPr/>
            <p:nvPr/>
          </p:nvSpPr>
          <p:spPr>
            <a:xfrm>
              <a:off x="6146000" y="3107150"/>
              <a:ext cx="1750" cy="900"/>
            </a:xfrm>
            <a:custGeom>
              <a:avLst/>
              <a:gdLst/>
              <a:ahLst/>
              <a:cxnLst/>
              <a:rect l="l" t="t" r="r" b="b"/>
              <a:pathLst>
                <a:path w="70" h="36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35" y="35"/>
                  </a:lnTo>
                  <a:lnTo>
                    <a:pt x="7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6" name="Google Shape;2405;p11">
              <a:extLst>
                <a:ext uri="{FF2B5EF4-FFF2-40B4-BE49-F238E27FC236}">
                  <a16:creationId xmlns:a16="http://schemas.microsoft.com/office/drawing/2014/main" id="{F017ECB3-BD73-4912-DFB4-8BFE8F9A9C71}"/>
                </a:ext>
              </a:extLst>
            </p:cNvPr>
            <p:cNvSpPr/>
            <p:nvPr/>
          </p:nvSpPr>
          <p:spPr>
            <a:xfrm>
              <a:off x="6084650" y="3115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131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7" name="Google Shape;2406;p11">
              <a:extLst>
                <a:ext uri="{FF2B5EF4-FFF2-40B4-BE49-F238E27FC236}">
                  <a16:creationId xmlns:a16="http://schemas.microsoft.com/office/drawing/2014/main" id="{6C5F339C-1DDA-7144-DAC2-AC3EB7D25791}"/>
                </a:ext>
              </a:extLst>
            </p:cNvPr>
            <p:cNvSpPr/>
            <p:nvPr/>
          </p:nvSpPr>
          <p:spPr>
            <a:xfrm>
              <a:off x="6084650" y="3115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8" name="Google Shape;2407;p11">
              <a:extLst>
                <a:ext uri="{FF2B5EF4-FFF2-40B4-BE49-F238E27FC236}">
                  <a16:creationId xmlns:a16="http://schemas.microsoft.com/office/drawing/2014/main" id="{8996A1D7-4D2A-78C3-C1E9-1739B446968E}"/>
                </a:ext>
              </a:extLst>
            </p:cNvPr>
            <p:cNvSpPr/>
            <p:nvPr/>
          </p:nvSpPr>
          <p:spPr>
            <a:xfrm>
              <a:off x="6087250" y="3199600"/>
              <a:ext cx="17300" cy="47525"/>
            </a:xfrm>
            <a:custGeom>
              <a:avLst/>
              <a:gdLst/>
              <a:ahLst/>
              <a:cxnLst/>
              <a:rect l="l" t="t" r="r" b="b"/>
              <a:pathLst>
                <a:path w="692" h="1901" extrusionOk="0">
                  <a:moveTo>
                    <a:pt x="692" y="0"/>
                  </a:moveTo>
                  <a:lnTo>
                    <a:pt x="692" y="0"/>
                  </a:lnTo>
                  <a:lnTo>
                    <a:pt x="1" y="1901"/>
                  </a:lnTo>
                  <a:lnTo>
                    <a:pt x="1" y="1901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rgbClr val="8686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9" name="Google Shape;2408;p11">
              <a:extLst>
                <a:ext uri="{FF2B5EF4-FFF2-40B4-BE49-F238E27FC236}">
                  <a16:creationId xmlns:a16="http://schemas.microsoft.com/office/drawing/2014/main" id="{26AFB68F-C647-0374-F3DE-EBDF843D4050}"/>
                </a:ext>
              </a:extLst>
            </p:cNvPr>
            <p:cNvSpPr/>
            <p:nvPr/>
          </p:nvSpPr>
          <p:spPr>
            <a:xfrm>
              <a:off x="6087250" y="3199600"/>
              <a:ext cx="17300" cy="47525"/>
            </a:xfrm>
            <a:custGeom>
              <a:avLst/>
              <a:gdLst/>
              <a:ahLst/>
              <a:cxnLst/>
              <a:rect l="l" t="t" r="r" b="b"/>
              <a:pathLst>
                <a:path w="692" h="1901" fill="none" extrusionOk="0">
                  <a:moveTo>
                    <a:pt x="692" y="0"/>
                  </a:moveTo>
                  <a:lnTo>
                    <a:pt x="692" y="0"/>
                  </a:lnTo>
                  <a:lnTo>
                    <a:pt x="1" y="1901"/>
                  </a:lnTo>
                  <a:lnTo>
                    <a:pt x="1" y="1901"/>
                  </a:lnTo>
                  <a:lnTo>
                    <a:pt x="69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0" name="Google Shape;2409;p11">
              <a:extLst>
                <a:ext uri="{FF2B5EF4-FFF2-40B4-BE49-F238E27FC236}">
                  <a16:creationId xmlns:a16="http://schemas.microsoft.com/office/drawing/2014/main" id="{B9C0003A-B269-3425-B849-96FC33BB58CC}"/>
                </a:ext>
              </a:extLst>
            </p:cNvPr>
            <p:cNvSpPr/>
            <p:nvPr/>
          </p:nvSpPr>
          <p:spPr>
            <a:xfrm>
              <a:off x="6065650" y="3115800"/>
              <a:ext cx="38900" cy="193525"/>
            </a:xfrm>
            <a:custGeom>
              <a:avLst/>
              <a:gdLst/>
              <a:ahLst/>
              <a:cxnLst/>
              <a:rect l="l" t="t" r="r" b="b"/>
              <a:pathLst>
                <a:path w="1556" h="7741" extrusionOk="0">
                  <a:moveTo>
                    <a:pt x="761" y="0"/>
                  </a:moveTo>
                  <a:lnTo>
                    <a:pt x="1" y="7741"/>
                  </a:lnTo>
                  <a:lnTo>
                    <a:pt x="865" y="5253"/>
                  </a:lnTo>
                  <a:lnTo>
                    <a:pt x="1556" y="3352"/>
                  </a:lnTo>
                  <a:lnTo>
                    <a:pt x="1107" y="1625"/>
                  </a:lnTo>
                  <a:lnTo>
                    <a:pt x="865" y="588"/>
                  </a:lnTo>
                  <a:lnTo>
                    <a:pt x="796" y="139"/>
                  </a:lnTo>
                  <a:lnTo>
                    <a:pt x="761" y="0"/>
                  </a:lnTo>
                  <a:close/>
                </a:path>
              </a:pathLst>
            </a:custGeom>
            <a:solidFill>
              <a:srgbClr val="3131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1" name="Google Shape;2410;p11">
              <a:extLst>
                <a:ext uri="{FF2B5EF4-FFF2-40B4-BE49-F238E27FC236}">
                  <a16:creationId xmlns:a16="http://schemas.microsoft.com/office/drawing/2014/main" id="{CE934C5E-9D8D-ABB2-E83E-A2430D80489E}"/>
                </a:ext>
              </a:extLst>
            </p:cNvPr>
            <p:cNvSpPr/>
            <p:nvPr/>
          </p:nvSpPr>
          <p:spPr>
            <a:xfrm>
              <a:off x="6065650" y="3115800"/>
              <a:ext cx="38900" cy="193525"/>
            </a:xfrm>
            <a:custGeom>
              <a:avLst/>
              <a:gdLst/>
              <a:ahLst/>
              <a:cxnLst/>
              <a:rect l="l" t="t" r="r" b="b"/>
              <a:pathLst>
                <a:path w="1556" h="7741" fill="none" extrusionOk="0">
                  <a:moveTo>
                    <a:pt x="761" y="0"/>
                  </a:moveTo>
                  <a:lnTo>
                    <a:pt x="1" y="7741"/>
                  </a:lnTo>
                  <a:lnTo>
                    <a:pt x="1" y="7741"/>
                  </a:lnTo>
                  <a:lnTo>
                    <a:pt x="865" y="5253"/>
                  </a:lnTo>
                  <a:lnTo>
                    <a:pt x="865" y="5253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556" y="3352"/>
                  </a:lnTo>
                  <a:lnTo>
                    <a:pt x="1107" y="1625"/>
                  </a:lnTo>
                  <a:lnTo>
                    <a:pt x="865" y="588"/>
                  </a:lnTo>
                  <a:lnTo>
                    <a:pt x="796" y="139"/>
                  </a:lnTo>
                  <a:lnTo>
                    <a:pt x="76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2" name="Google Shape;2411;p11">
              <a:extLst>
                <a:ext uri="{FF2B5EF4-FFF2-40B4-BE49-F238E27FC236}">
                  <a16:creationId xmlns:a16="http://schemas.microsoft.com/office/drawing/2014/main" id="{F918D897-06B2-277F-C48A-443D1E8DB351}"/>
                </a:ext>
              </a:extLst>
            </p:cNvPr>
            <p:cNvSpPr/>
            <p:nvPr/>
          </p:nvSpPr>
          <p:spPr>
            <a:xfrm>
              <a:off x="6194375" y="2923150"/>
              <a:ext cx="105425" cy="96775"/>
            </a:xfrm>
            <a:custGeom>
              <a:avLst/>
              <a:gdLst/>
              <a:ahLst/>
              <a:cxnLst/>
              <a:rect l="l" t="t" r="r" b="b"/>
              <a:pathLst>
                <a:path w="4217" h="3871" extrusionOk="0">
                  <a:moveTo>
                    <a:pt x="1" y="0"/>
                  </a:moveTo>
                  <a:lnTo>
                    <a:pt x="104" y="311"/>
                  </a:lnTo>
                  <a:lnTo>
                    <a:pt x="243" y="622"/>
                  </a:lnTo>
                  <a:lnTo>
                    <a:pt x="415" y="899"/>
                  </a:lnTo>
                  <a:lnTo>
                    <a:pt x="588" y="1210"/>
                  </a:lnTo>
                  <a:lnTo>
                    <a:pt x="795" y="1486"/>
                  </a:lnTo>
                  <a:lnTo>
                    <a:pt x="1037" y="1763"/>
                  </a:lnTo>
                  <a:lnTo>
                    <a:pt x="1556" y="2246"/>
                  </a:lnTo>
                  <a:lnTo>
                    <a:pt x="2178" y="2730"/>
                  </a:lnTo>
                  <a:lnTo>
                    <a:pt x="2834" y="3145"/>
                  </a:lnTo>
                  <a:lnTo>
                    <a:pt x="3491" y="3525"/>
                  </a:lnTo>
                  <a:lnTo>
                    <a:pt x="4216" y="3871"/>
                  </a:lnTo>
                  <a:lnTo>
                    <a:pt x="3664" y="3594"/>
                  </a:lnTo>
                  <a:lnTo>
                    <a:pt x="3975" y="2938"/>
                  </a:lnTo>
                  <a:lnTo>
                    <a:pt x="3525" y="2834"/>
                  </a:lnTo>
                  <a:lnTo>
                    <a:pt x="3111" y="2696"/>
                  </a:lnTo>
                  <a:lnTo>
                    <a:pt x="2661" y="2523"/>
                  </a:lnTo>
                  <a:lnTo>
                    <a:pt x="2247" y="2316"/>
                  </a:lnTo>
                  <a:lnTo>
                    <a:pt x="1832" y="2074"/>
                  </a:lnTo>
                  <a:lnTo>
                    <a:pt x="1452" y="1797"/>
                  </a:lnTo>
                  <a:lnTo>
                    <a:pt x="1072" y="1452"/>
                  </a:lnTo>
                  <a:lnTo>
                    <a:pt x="692" y="1106"/>
                  </a:lnTo>
                  <a:lnTo>
                    <a:pt x="450" y="830"/>
                  </a:lnTo>
                  <a:lnTo>
                    <a:pt x="277" y="553"/>
                  </a:lnTo>
                  <a:lnTo>
                    <a:pt x="104" y="27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8384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3" name="Google Shape;2412;p11">
              <a:extLst>
                <a:ext uri="{FF2B5EF4-FFF2-40B4-BE49-F238E27FC236}">
                  <a16:creationId xmlns:a16="http://schemas.microsoft.com/office/drawing/2014/main" id="{5F47AAC2-8B32-B910-05D5-9BC5B525CD87}"/>
                </a:ext>
              </a:extLst>
            </p:cNvPr>
            <p:cNvSpPr/>
            <p:nvPr/>
          </p:nvSpPr>
          <p:spPr>
            <a:xfrm>
              <a:off x="6194375" y="2923150"/>
              <a:ext cx="105425" cy="96775"/>
            </a:xfrm>
            <a:custGeom>
              <a:avLst/>
              <a:gdLst/>
              <a:ahLst/>
              <a:cxnLst/>
              <a:rect l="l" t="t" r="r" b="b"/>
              <a:pathLst>
                <a:path w="4217" h="387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04" y="311"/>
                  </a:lnTo>
                  <a:lnTo>
                    <a:pt x="243" y="622"/>
                  </a:lnTo>
                  <a:lnTo>
                    <a:pt x="415" y="899"/>
                  </a:lnTo>
                  <a:lnTo>
                    <a:pt x="588" y="1210"/>
                  </a:lnTo>
                  <a:lnTo>
                    <a:pt x="795" y="1486"/>
                  </a:lnTo>
                  <a:lnTo>
                    <a:pt x="1037" y="1763"/>
                  </a:lnTo>
                  <a:lnTo>
                    <a:pt x="1556" y="2246"/>
                  </a:lnTo>
                  <a:lnTo>
                    <a:pt x="2178" y="2730"/>
                  </a:lnTo>
                  <a:lnTo>
                    <a:pt x="2834" y="3145"/>
                  </a:lnTo>
                  <a:lnTo>
                    <a:pt x="3491" y="3525"/>
                  </a:lnTo>
                  <a:lnTo>
                    <a:pt x="4216" y="3871"/>
                  </a:lnTo>
                  <a:lnTo>
                    <a:pt x="4216" y="3871"/>
                  </a:lnTo>
                  <a:lnTo>
                    <a:pt x="3664" y="3594"/>
                  </a:lnTo>
                  <a:lnTo>
                    <a:pt x="3664" y="3594"/>
                  </a:lnTo>
                  <a:lnTo>
                    <a:pt x="3975" y="2938"/>
                  </a:lnTo>
                  <a:lnTo>
                    <a:pt x="3975" y="2938"/>
                  </a:lnTo>
                  <a:lnTo>
                    <a:pt x="3525" y="2834"/>
                  </a:lnTo>
                  <a:lnTo>
                    <a:pt x="3111" y="2696"/>
                  </a:lnTo>
                  <a:lnTo>
                    <a:pt x="2661" y="2523"/>
                  </a:lnTo>
                  <a:lnTo>
                    <a:pt x="2247" y="2316"/>
                  </a:lnTo>
                  <a:lnTo>
                    <a:pt x="1832" y="2074"/>
                  </a:lnTo>
                  <a:lnTo>
                    <a:pt x="1452" y="1797"/>
                  </a:lnTo>
                  <a:lnTo>
                    <a:pt x="1072" y="1452"/>
                  </a:lnTo>
                  <a:lnTo>
                    <a:pt x="692" y="1106"/>
                  </a:lnTo>
                  <a:lnTo>
                    <a:pt x="692" y="1106"/>
                  </a:lnTo>
                  <a:lnTo>
                    <a:pt x="450" y="830"/>
                  </a:lnTo>
                  <a:lnTo>
                    <a:pt x="277" y="553"/>
                  </a:lnTo>
                  <a:lnTo>
                    <a:pt x="104" y="27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4" name="Google Shape;2413;p11">
              <a:extLst>
                <a:ext uri="{FF2B5EF4-FFF2-40B4-BE49-F238E27FC236}">
                  <a16:creationId xmlns:a16="http://schemas.microsoft.com/office/drawing/2014/main" id="{15BE7204-57EF-D769-3207-2C326764B600}"/>
                </a:ext>
              </a:extLst>
            </p:cNvPr>
            <p:cNvSpPr/>
            <p:nvPr/>
          </p:nvSpPr>
          <p:spPr>
            <a:xfrm>
              <a:off x="6412075" y="3016450"/>
              <a:ext cx="900" cy="41500"/>
            </a:xfrm>
            <a:custGeom>
              <a:avLst/>
              <a:gdLst/>
              <a:ahLst/>
              <a:cxnLst/>
              <a:rect l="l" t="t" r="r" b="b"/>
              <a:pathLst>
                <a:path w="36" h="1660" extrusionOk="0">
                  <a:moveTo>
                    <a:pt x="35" y="0"/>
                  </a:moveTo>
                  <a:lnTo>
                    <a:pt x="1" y="1659"/>
                  </a:lnTo>
                  <a:lnTo>
                    <a:pt x="35" y="933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B1B1B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5" name="Google Shape;2414;p11">
              <a:extLst>
                <a:ext uri="{FF2B5EF4-FFF2-40B4-BE49-F238E27FC236}">
                  <a16:creationId xmlns:a16="http://schemas.microsoft.com/office/drawing/2014/main" id="{BF80F05D-2890-A392-1A5E-44EA28F3DE70}"/>
                </a:ext>
              </a:extLst>
            </p:cNvPr>
            <p:cNvSpPr/>
            <p:nvPr/>
          </p:nvSpPr>
          <p:spPr>
            <a:xfrm>
              <a:off x="6412075" y="3016450"/>
              <a:ext cx="900" cy="41500"/>
            </a:xfrm>
            <a:custGeom>
              <a:avLst/>
              <a:gdLst/>
              <a:ahLst/>
              <a:cxnLst/>
              <a:rect l="l" t="t" r="r" b="b"/>
              <a:pathLst>
                <a:path w="36" h="1660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1" y="1659"/>
                  </a:lnTo>
                  <a:lnTo>
                    <a:pt x="1" y="1659"/>
                  </a:lnTo>
                  <a:lnTo>
                    <a:pt x="35" y="933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6" name="Google Shape;2415;p11">
              <a:extLst>
                <a:ext uri="{FF2B5EF4-FFF2-40B4-BE49-F238E27FC236}">
                  <a16:creationId xmlns:a16="http://schemas.microsoft.com/office/drawing/2014/main" id="{01C41114-457D-A37E-D9E7-26DB07B32B8F}"/>
                </a:ext>
              </a:extLst>
            </p:cNvPr>
            <p:cNvSpPr/>
            <p:nvPr/>
          </p:nvSpPr>
          <p:spPr>
            <a:xfrm>
              <a:off x="6391350" y="3016450"/>
              <a:ext cx="21625" cy="41500"/>
            </a:xfrm>
            <a:custGeom>
              <a:avLst/>
              <a:gdLst/>
              <a:ahLst/>
              <a:cxnLst/>
              <a:rect l="l" t="t" r="r" b="b"/>
              <a:pathLst>
                <a:path w="865" h="1660" extrusionOk="0">
                  <a:moveTo>
                    <a:pt x="864" y="0"/>
                  </a:moveTo>
                  <a:lnTo>
                    <a:pt x="104" y="1383"/>
                  </a:lnTo>
                  <a:lnTo>
                    <a:pt x="70" y="1417"/>
                  </a:lnTo>
                  <a:lnTo>
                    <a:pt x="0" y="1452"/>
                  </a:lnTo>
                  <a:lnTo>
                    <a:pt x="830" y="1659"/>
                  </a:lnTo>
                  <a:lnTo>
                    <a:pt x="864" y="0"/>
                  </a:lnTo>
                  <a:close/>
                </a:path>
              </a:pathLst>
            </a:custGeom>
            <a:solidFill>
              <a:srgbClr val="38384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7" name="Google Shape;2416;p11">
              <a:extLst>
                <a:ext uri="{FF2B5EF4-FFF2-40B4-BE49-F238E27FC236}">
                  <a16:creationId xmlns:a16="http://schemas.microsoft.com/office/drawing/2014/main" id="{283D5F46-E866-3176-FA1E-4AAB791973D1}"/>
                </a:ext>
              </a:extLst>
            </p:cNvPr>
            <p:cNvSpPr/>
            <p:nvPr/>
          </p:nvSpPr>
          <p:spPr>
            <a:xfrm>
              <a:off x="6391350" y="3016450"/>
              <a:ext cx="21625" cy="41500"/>
            </a:xfrm>
            <a:custGeom>
              <a:avLst/>
              <a:gdLst/>
              <a:ahLst/>
              <a:cxnLst/>
              <a:rect l="l" t="t" r="r" b="b"/>
              <a:pathLst>
                <a:path w="865" h="1660" fill="none" extrusionOk="0">
                  <a:moveTo>
                    <a:pt x="864" y="0"/>
                  </a:moveTo>
                  <a:lnTo>
                    <a:pt x="864" y="0"/>
                  </a:lnTo>
                  <a:lnTo>
                    <a:pt x="104" y="1383"/>
                  </a:lnTo>
                  <a:lnTo>
                    <a:pt x="104" y="1383"/>
                  </a:lnTo>
                  <a:lnTo>
                    <a:pt x="70" y="1417"/>
                  </a:lnTo>
                  <a:lnTo>
                    <a:pt x="0" y="1452"/>
                  </a:lnTo>
                  <a:lnTo>
                    <a:pt x="0" y="1452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30" y="1659"/>
                  </a:lnTo>
                  <a:lnTo>
                    <a:pt x="86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8" name="Google Shape;2417;p11">
              <a:extLst>
                <a:ext uri="{FF2B5EF4-FFF2-40B4-BE49-F238E27FC236}">
                  <a16:creationId xmlns:a16="http://schemas.microsoft.com/office/drawing/2014/main" id="{A3FFFE27-E435-F426-8931-641FF013C37D}"/>
                </a:ext>
              </a:extLst>
            </p:cNvPr>
            <p:cNvSpPr/>
            <p:nvPr/>
          </p:nvSpPr>
          <p:spPr>
            <a:xfrm>
              <a:off x="5885950" y="1997025"/>
              <a:ext cx="484700" cy="919225"/>
            </a:xfrm>
            <a:custGeom>
              <a:avLst/>
              <a:gdLst/>
              <a:ahLst/>
              <a:cxnLst/>
              <a:rect l="l" t="t" r="r" b="b"/>
              <a:pathLst>
                <a:path w="19388" h="36769" extrusionOk="0">
                  <a:moveTo>
                    <a:pt x="8744" y="1"/>
                  </a:moveTo>
                  <a:lnTo>
                    <a:pt x="8502" y="70"/>
                  </a:lnTo>
                  <a:lnTo>
                    <a:pt x="8260" y="208"/>
                  </a:lnTo>
                  <a:lnTo>
                    <a:pt x="8087" y="381"/>
                  </a:lnTo>
                  <a:lnTo>
                    <a:pt x="7880" y="588"/>
                  </a:lnTo>
                  <a:lnTo>
                    <a:pt x="7534" y="1038"/>
                  </a:lnTo>
                  <a:lnTo>
                    <a:pt x="7154" y="1556"/>
                  </a:lnTo>
                  <a:lnTo>
                    <a:pt x="6981" y="1798"/>
                  </a:lnTo>
                  <a:lnTo>
                    <a:pt x="6774" y="2005"/>
                  </a:lnTo>
                  <a:lnTo>
                    <a:pt x="6567" y="2212"/>
                  </a:lnTo>
                  <a:lnTo>
                    <a:pt x="6325" y="2351"/>
                  </a:lnTo>
                  <a:lnTo>
                    <a:pt x="6048" y="2454"/>
                  </a:lnTo>
                  <a:lnTo>
                    <a:pt x="5737" y="2523"/>
                  </a:lnTo>
                  <a:lnTo>
                    <a:pt x="5461" y="2523"/>
                  </a:lnTo>
                  <a:lnTo>
                    <a:pt x="5254" y="2489"/>
                  </a:lnTo>
                  <a:lnTo>
                    <a:pt x="5081" y="2420"/>
                  </a:lnTo>
                  <a:lnTo>
                    <a:pt x="4977" y="2316"/>
                  </a:lnTo>
                  <a:lnTo>
                    <a:pt x="4839" y="2074"/>
                  </a:lnTo>
                  <a:lnTo>
                    <a:pt x="4735" y="1936"/>
                  </a:lnTo>
                  <a:lnTo>
                    <a:pt x="4597" y="1763"/>
                  </a:lnTo>
                  <a:lnTo>
                    <a:pt x="4424" y="1590"/>
                  </a:lnTo>
                  <a:lnTo>
                    <a:pt x="4321" y="1521"/>
                  </a:lnTo>
                  <a:lnTo>
                    <a:pt x="4217" y="1452"/>
                  </a:lnTo>
                  <a:lnTo>
                    <a:pt x="3975" y="1452"/>
                  </a:lnTo>
                  <a:lnTo>
                    <a:pt x="3837" y="1521"/>
                  </a:lnTo>
                  <a:lnTo>
                    <a:pt x="3699" y="1660"/>
                  </a:lnTo>
                  <a:lnTo>
                    <a:pt x="3318" y="2074"/>
                  </a:lnTo>
                  <a:lnTo>
                    <a:pt x="2938" y="2523"/>
                  </a:lnTo>
                  <a:lnTo>
                    <a:pt x="2593" y="2973"/>
                  </a:lnTo>
                  <a:lnTo>
                    <a:pt x="2282" y="3422"/>
                  </a:lnTo>
                  <a:lnTo>
                    <a:pt x="2005" y="3906"/>
                  </a:lnTo>
                  <a:lnTo>
                    <a:pt x="1729" y="4424"/>
                  </a:lnTo>
                  <a:lnTo>
                    <a:pt x="1487" y="4942"/>
                  </a:lnTo>
                  <a:lnTo>
                    <a:pt x="1280" y="5461"/>
                  </a:lnTo>
                  <a:lnTo>
                    <a:pt x="1072" y="6014"/>
                  </a:lnTo>
                  <a:lnTo>
                    <a:pt x="899" y="6567"/>
                  </a:lnTo>
                  <a:lnTo>
                    <a:pt x="727" y="7119"/>
                  </a:lnTo>
                  <a:lnTo>
                    <a:pt x="588" y="7707"/>
                  </a:lnTo>
                  <a:lnTo>
                    <a:pt x="347" y="8882"/>
                  </a:lnTo>
                  <a:lnTo>
                    <a:pt x="174" y="10091"/>
                  </a:lnTo>
                  <a:lnTo>
                    <a:pt x="36" y="11335"/>
                  </a:lnTo>
                  <a:lnTo>
                    <a:pt x="1" y="12614"/>
                  </a:lnTo>
                  <a:lnTo>
                    <a:pt x="1" y="13893"/>
                  </a:lnTo>
                  <a:lnTo>
                    <a:pt x="36" y="15171"/>
                  </a:lnTo>
                  <a:lnTo>
                    <a:pt x="105" y="16484"/>
                  </a:lnTo>
                  <a:lnTo>
                    <a:pt x="243" y="17763"/>
                  </a:lnTo>
                  <a:lnTo>
                    <a:pt x="381" y="19076"/>
                  </a:lnTo>
                  <a:lnTo>
                    <a:pt x="554" y="20320"/>
                  </a:lnTo>
                  <a:lnTo>
                    <a:pt x="761" y="21599"/>
                  </a:lnTo>
                  <a:lnTo>
                    <a:pt x="969" y="22808"/>
                  </a:lnTo>
                  <a:lnTo>
                    <a:pt x="1452" y="25158"/>
                  </a:lnTo>
                  <a:lnTo>
                    <a:pt x="1902" y="27300"/>
                  </a:lnTo>
                  <a:lnTo>
                    <a:pt x="2351" y="29236"/>
                  </a:lnTo>
                  <a:lnTo>
                    <a:pt x="2696" y="30894"/>
                  </a:lnTo>
                  <a:lnTo>
                    <a:pt x="2938" y="32207"/>
                  </a:lnTo>
                  <a:lnTo>
                    <a:pt x="3007" y="32726"/>
                  </a:lnTo>
                  <a:lnTo>
                    <a:pt x="3042" y="33140"/>
                  </a:lnTo>
                  <a:lnTo>
                    <a:pt x="3042" y="33451"/>
                  </a:lnTo>
                  <a:lnTo>
                    <a:pt x="3007" y="33555"/>
                  </a:lnTo>
                  <a:lnTo>
                    <a:pt x="2973" y="33659"/>
                  </a:lnTo>
                  <a:lnTo>
                    <a:pt x="2904" y="33762"/>
                  </a:lnTo>
                  <a:lnTo>
                    <a:pt x="2904" y="33901"/>
                  </a:lnTo>
                  <a:lnTo>
                    <a:pt x="2904" y="34039"/>
                  </a:lnTo>
                  <a:lnTo>
                    <a:pt x="2973" y="34177"/>
                  </a:lnTo>
                  <a:lnTo>
                    <a:pt x="3111" y="34315"/>
                  </a:lnTo>
                  <a:lnTo>
                    <a:pt x="3249" y="34488"/>
                  </a:lnTo>
                  <a:lnTo>
                    <a:pt x="3629" y="34799"/>
                  </a:lnTo>
                  <a:lnTo>
                    <a:pt x="4148" y="35110"/>
                  </a:lnTo>
                  <a:lnTo>
                    <a:pt x="4804" y="35387"/>
                  </a:lnTo>
                  <a:lnTo>
                    <a:pt x="5530" y="35698"/>
                  </a:lnTo>
                  <a:lnTo>
                    <a:pt x="6325" y="35974"/>
                  </a:lnTo>
                  <a:lnTo>
                    <a:pt x="7189" y="36216"/>
                  </a:lnTo>
                  <a:lnTo>
                    <a:pt x="8087" y="36423"/>
                  </a:lnTo>
                  <a:lnTo>
                    <a:pt x="9055" y="36596"/>
                  </a:lnTo>
                  <a:lnTo>
                    <a:pt x="10022" y="36700"/>
                  </a:lnTo>
                  <a:lnTo>
                    <a:pt x="10955" y="36769"/>
                  </a:lnTo>
                  <a:lnTo>
                    <a:pt x="11923" y="36769"/>
                  </a:lnTo>
                  <a:lnTo>
                    <a:pt x="12821" y="36700"/>
                  </a:lnTo>
                  <a:lnTo>
                    <a:pt x="13271" y="36631"/>
                  </a:lnTo>
                  <a:lnTo>
                    <a:pt x="13720" y="36527"/>
                  </a:lnTo>
                  <a:lnTo>
                    <a:pt x="14273" y="36389"/>
                  </a:lnTo>
                  <a:lnTo>
                    <a:pt x="14791" y="36181"/>
                  </a:lnTo>
                  <a:lnTo>
                    <a:pt x="15275" y="35974"/>
                  </a:lnTo>
                  <a:lnTo>
                    <a:pt x="15724" y="35732"/>
                  </a:lnTo>
                  <a:lnTo>
                    <a:pt x="16139" y="35490"/>
                  </a:lnTo>
                  <a:lnTo>
                    <a:pt x="16519" y="35214"/>
                  </a:lnTo>
                  <a:lnTo>
                    <a:pt x="16864" y="34903"/>
                  </a:lnTo>
                  <a:lnTo>
                    <a:pt x="17210" y="34592"/>
                  </a:lnTo>
                  <a:lnTo>
                    <a:pt x="17487" y="34281"/>
                  </a:lnTo>
                  <a:lnTo>
                    <a:pt x="17763" y="33935"/>
                  </a:lnTo>
                  <a:lnTo>
                    <a:pt x="18005" y="33590"/>
                  </a:lnTo>
                  <a:lnTo>
                    <a:pt x="18212" y="33210"/>
                  </a:lnTo>
                  <a:lnTo>
                    <a:pt x="18420" y="32829"/>
                  </a:lnTo>
                  <a:lnTo>
                    <a:pt x="18592" y="32484"/>
                  </a:lnTo>
                  <a:lnTo>
                    <a:pt x="18869" y="31724"/>
                  </a:lnTo>
                  <a:lnTo>
                    <a:pt x="19076" y="30963"/>
                  </a:lnTo>
                  <a:lnTo>
                    <a:pt x="19214" y="30238"/>
                  </a:lnTo>
                  <a:lnTo>
                    <a:pt x="19318" y="29547"/>
                  </a:lnTo>
                  <a:lnTo>
                    <a:pt x="19353" y="28890"/>
                  </a:lnTo>
                  <a:lnTo>
                    <a:pt x="19387" y="28303"/>
                  </a:lnTo>
                  <a:lnTo>
                    <a:pt x="19353" y="27784"/>
                  </a:lnTo>
                  <a:lnTo>
                    <a:pt x="19283" y="27093"/>
                  </a:lnTo>
                  <a:lnTo>
                    <a:pt x="18592" y="22946"/>
                  </a:lnTo>
                  <a:lnTo>
                    <a:pt x="17176" y="15137"/>
                  </a:lnTo>
                  <a:lnTo>
                    <a:pt x="15171" y="4113"/>
                  </a:lnTo>
                  <a:lnTo>
                    <a:pt x="14618" y="3837"/>
                  </a:lnTo>
                  <a:lnTo>
                    <a:pt x="14031" y="3491"/>
                  </a:lnTo>
                  <a:lnTo>
                    <a:pt x="13271" y="3007"/>
                  </a:lnTo>
                  <a:lnTo>
                    <a:pt x="12372" y="2420"/>
                  </a:lnTo>
                  <a:lnTo>
                    <a:pt x="11370" y="1694"/>
                  </a:lnTo>
                  <a:lnTo>
                    <a:pt x="10333" y="899"/>
                  </a:lnTo>
                  <a:lnTo>
                    <a:pt x="9297" y="35"/>
                  </a:lnTo>
                  <a:lnTo>
                    <a:pt x="902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9" name="Google Shape;2418;p11">
              <a:extLst>
                <a:ext uri="{FF2B5EF4-FFF2-40B4-BE49-F238E27FC236}">
                  <a16:creationId xmlns:a16="http://schemas.microsoft.com/office/drawing/2014/main" id="{7BD8407B-1244-EFD3-2BC4-7E6343DD7428}"/>
                </a:ext>
              </a:extLst>
            </p:cNvPr>
            <p:cNvSpPr/>
            <p:nvPr/>
          </p:nvSpPr>
          <p:spPr>
            <a:xfrm>
              <a:off x="5885950" y="1997025"/>
              <a:ext cx="484700" cy="919225"/>
            </a:xfrm>
            <a:custGeom>
              <a:avLst/>
              <a:gdLst/>
              <a:ahLst/>
              <a:cxnLst/>
              <a:rect l="l" t="t" r="r" b="b"/>
              <a:pathLst>
                <a:path w="19388" h="36769" fill="none" extrusionOk="0">
                  <a:moveTo>
                    <a:pt x="9297" y="35"/>
                  </a:moveTo>
                  <a:lnTo>
                    <a:pt x="9297" y="35"/>
                  </a:lnTo>
                  <a:lnTo>
                    <a:pt x="9020" y="1"/>
                  </a:lnTo>
                  <a:lnTo>
                    <a:pt x="8744" y="1"/>
                  </a:lnTo>
                  <a:lnTo>
                    <a:pt x="8502" y="70"/>
                  </a:lnTo>
                  <a:lnTo>
                    <a:pt x="8260" y="208"/>
                  </a:lnTo>
                  <a:lnTo>
                    <a:pt x="8087" y="381"/>
                  </a:lnTo>
                  <a:lnTo>
                    <a:pt x="7880" y="588"/>
                  </a:lnTo>
                  <a:lnTo>
                    <a:pt x="7534" y="1038"/>
                  </a:lnTo>
                  <a:lnTo>
                    <a:pt x="7154" y="1556"/>
                  </a:lnTo>
                  <a:lnTo>
                    <a:pt x="6981" y="1798"/>
                  </a:lnTo>
                  <a:lnTo>
                    <a:pt x="6774" y="2005"/>
                  </a:lnTo>
                  <a:lnTo>
                    <a:pt x="6567" y="2212"/>
                  </a:lnTo>
                  <a:lnTo>
                    <a:pt x="6325" y="2351"/>
                  </a:lnTo>
                  <a:lnTo>
                    <a:pt x="6048" y="2454"/>
                  </a:lnTo>
                  <a:lnTo>
                    <a:pt x="5737" y="2523"/>
                  </a:lnTo>
                  <a:lnTo>
                    <a:pt x="5737" y="2523"/>
                  </a:lnTo>
                  <a:lnTo>
                    <a:pt x="5461" y="2523"/>
                  </a:lnTo>
                  <a:lnTo>
                    <a:pt x="5254" y="2489"/>
                  </a:lnTo>
                  <a:lnTo>
                    <a:pt x="5081" y="2420"/>
                  </a:lnTo>
                  <a:lnTo>
                    <a:pt x="4977" y="2316"/>
                  </a:lnTo>
                  <a:lnTo>
                    <a:pt x="4839" y="2074"/>
                  </a:lnTo>
                  <a:lnTo>
                    <a:pt x="4735" y="1936"/>
                  </a:lnTo>
                  <a:lnTo>
                    <a:pt x="4597" y="1763"/>
                  </a:lnTo>
                  <a:lnTo>
                    <a:pt x="4597" y="1763"/>
                  </a:lnTo>
                  <a:lnTo>
                    <a:pt x="4424" y="1590"/>
                  </a:lnTo>
                  <a:lnTo>
                    <a:pt x="4321" y="1521"/>
                  </a:lnTo>
                  <a:lnTo>
                    <a:pt x="4217" y="1452"/>
                  </a:lnTo>
                  <a:lnTo>
                    <a:pt x="4079" y="1452"/>
                  </a:lnTo>
                  <a:lnTo>
                    <a:pt x="3975" y="1452"/>
                  </a:lnTo>
                  <a:lnTo>
                    <a:pt x="3837" y="1521"/>
                  </a:lnTo>
                  <a:lnTo>
                    <a:pt x="3699" y="1660"/>
                  </a:lnTo>
                  <a:lnTo>
                    <a:pt x="3699" y="1660"/>
                  </a:lnTo>
                  <a:lnTo>
                    <a:pt x="3318" y="2074"/>
                  </a:lnTo>
                  <a:lnTo>
                    <a:pt x="2938" y="2523"/>
                  </a:lnTo>
                  <a:lnTo>
                    <a:pt x="2593" y="2973"/>
                  </a:lnTo>
                  <a:lnTo>
                    <a:pt x="2282" y="3422"/>
                  </a:lnTo>
                  <a:lnTo>
                    <a:pt x="2005" y="3906"/>
                  </a:lnTo>
                  <a:lnTo>
                    <a:pt x="1729" y="4424"/>
                  </a:lnTo>
                  <a:lnTo>
                    <a:pt x="1487" y="4942"/>
                  </a:lnTo>
                  <a:lnTo>
                    <a:pt x="1280" y="5461"/>
                  </a:lnTo>
                  <a:lnTo>
                    <a:pt x="1072" y="6014"/>
                  </a:lnTo>
                  <a:lnTo>
                    <a:pt x="899" y="6567"/>
                  </a:lnTo>
                  <a:lnTo>
                    <a:pt x="727" y="7119"/>
                  </a:lnTo>
                  <a:lnTo>
                    <a:pt x="588" y="7707"/>
                  </a:lnTo>
                  <a:lnTo>
                    <a:pt x="347" y="8882"/>
                  </a:lnTo>
                  <a:lnTo>
                    <a:pt x="174" y="10091"/>
                  </a:lnTo>
                  <a:lnTo>
                    <a:pt x="36" y="11335"/>
                  </a:lnTo>
                  <a:lnTo>
                    <a:pt x="1" y="12614"/>
                  </a:lnTo>
                  <a:lnTo>
                    <a:pt x="1" y="13893"/>
                  </a:lnTo>
                  <a:lnTo>
                    <a:pt x="36" y="15171"/>
                  </a:lnTo>
                  <a:lnTo>
                    <a:pt x="105" y="16484"/>
                  </a:lnTo>
                  <a:lnTo>
                    <a:pt x="243" y="17763"/>
                  </a:lnTo>
                  <a:lnTo>
                    <a:pt x="381" y="19076"/>
                  </a:lnTo>
                  <a:lnTo>
                    <a:pt x="554" y="20320"/>
                  </a:lnTo>
                  <a:lnTo>
                    <a:pt x="761" y="21599"/>
                  </a:lnTo>
                  <a:lnTo>
                    <a:pt x="969" y="22808"/>
                  </a:lnTo>
                  <a:lnTo>
                    <a:pt x="1452" y="25158"/>
                  </a:lnTo>
                  <a:lnTo>
                    <a:pt x="1902" y="27300"/>
                  </a:lnTo>
                  <a:lnTo>
                    <a:pt x="2351" y="29236"/>
                  </a:lnTo>
                  <a:lnTo>
                    <a:pt x="2696" y="30894"/>
                  </a:lnTo>
                  <a:lnTo>
                    <a:pt x="2938" y="32207"/>
                  </a:lnTo>
                  <a:lnTo>
                    <a:pt x="3007" y="32726"/>
                  </a:lnTo>
                  <a:lnTo>
                    <a:pt x="3042" y="33140"/>
                  </a:lnTo>
                  <a:lnTo>
                    <a:pt x="3042" y="33451"/>
                  </a:lnTo>
                  <a:lnTo>
                    <a:pt x="3007" y="33555"/>
                  </a:lnTo>
                  <a:lnTo>
                    <a:pt x="2973" y="33659"/>
                  </a:lnTo>
                  <a:lnTo>
                    <a:pt x="2973" y="33659"/>
                  </a:lnTo>
                  <a:lnTo>
                    <a:pt x="2904" y="33762"/>
                  </a:lnTo>
                  <a:lnTo>
                    <a:pt x="2904" y="33901"/>
                  </a:lnTo>
                  <a:lnTo>
                    <a:pt x="2904" y="34039"/>
                  </a:lnTo>
                  <a:lnTo>
                    <a:pt x="2973" y="34177"/>
                  </a:lnTo>
                  <a:lnTo>
                    <a:pt x="3111" y="34315"/>
                  </a:lnTo>
                  <a:lnTo>
                    <a:pt x="3249" y="34488"/>
                  </a:lnTo>
                  <a:lnTo>
                    <a:pt x="3629" y="34799"/>
                  </a:lnTo>
                  <a:lnTo>
                    <a:pt x="4148" y="35110"/>
                  </a:lnTo>
                  <a:lnTo>
                    <a:pt x="4804" y="35387"/>
                  </a:lnTo>
                  <a:lnTo>
                    <a:pt x="5530" y="35698"/>
                  </a:lnTo>
                  <a:lnTo>
                    <a:pt x="6325" y="35974"/>
                  </a:lnTo>
                  <a:lnTo>
                    <a:pt x="7189" y="36216"/>
                  </a:lnTo>
                  <a:lnTo>
                    <a:pt x="8087" y="36423"/>
                  </a:lnTo>
                  <a:lnTo>
                    <a:pt x="9055" y="36596"/>
                  </a:lnTo>
                  <a:lnTo>
                    <a:pt x="10022" y="36700"/>
                  </a:lnTo>
                  <a:lnTo>
                    <a:pt x="10955" y="36769"/>
                  </a:lnTo>
                  <a:lnTo>
                    <a:pt x="11923" y="36769"/>
                  </a:lnTo>
                  <a:lnTo>
                    <a:pt x="12821" y="36700"/>
                  </a:lnTo>
                  <a:lnTo>
                    <a:pt x="13271" y="36631"/>
                  </a:lnTo>
                  <a:lnTo>
                    <a:pt x="13720" y="36527"/>
                  </a:lnTo>
                  <a:lnTo>
                    <a:pt x="13720" y="36527"/>
                  </a:lnTo>
                  <a:lnTo>
                    <a:pt x="14273" y="36389"/>
                  </a:lnTo>
                  <a:lnTo>
                    <a:pt x="14791" y="36181"/>
                  </a:lnTo>
                  <a:lnTo>
                    <a:pt x="15275" y="35974"/>
                  </a:lnTo>
                  <a:lnTo>
                    <a:pt x="15724" y="35732"/>
                  </a:lnTo>
                  <a:lnTo>
                    <a:pt x="16139" y="35490"/>
                  </a:lnTo>
                  <a:lnTo>
                    <a:pt x="16519" y="35214"/>
                  </a:lnTo>
                  <a:lnTo>
                    <a:pt x="16864" y="34903"/>
                  </a:lnTo>
                  <a:lnTo>
                    <a:pt x="17210" y="34592"/>
                  </a:lnTo>
                  <a:lnTo>
                    <a:pt x="17487" y="34281"/>
                  </a:lnTo>
                  <a:lnTo>
                    <a:pt x="17763" y="33935"/>
                  </a:lnTo>
                  <a:lnTo>
                    <a:pt x="18005" y="33590"/>
                  </a:lnTo>
                  <a:lnTo>
                    <a:pt x="18212" y="33210"/>
                  </a:lnTo>
                  <a:lnTo>
                    <a:pt x="18420" y="32829"/>
                  </a:lnTo>
                  <a:lnTo>
                    <a:pt x="18592" y="32484"/>
                  </a:lnTo>
                  <a:lnTo>
                    <a:pt x="18869" y="31724"/>
                  </a:lnTo>
                  <a:lnTo>
                    <a:pt x="19076" y="30963"/>
                  </a:lnTo>
                  <a:lnTo>
                    <a:pt x="19214" y="30238"/>
                  </a:lnTo>
                  <a:lnTo>
                    <a:pt x="19318" y="29547"/>
                  </a:lnTo>
                  <a:lnTo>
                    <a:pt x="19353" y="28890"/>
                  </a:lnTo>
                  <a:lnTo>
                    <a:pt x="19387" y="28303"/>
                  </a:lnTo>
                  <a:lnTo>
                    <a:pt x="19353" y="27784"/>
                  </a:lnTo>
                  <a:lnTo>
                    <a:pt x="19283" y="27093"/>
                  </a:lnTo>
                  <a:lnTo>
                    <a:pt x="19283" y="27093"/>
                  </a:lnTo>
                  <a:lnTo>
                    <a:pt x="18592" y="22946"/>
                  </a:lnTo>
                  <a:lnTo>
                    <a:pt x="17176" y="15137"/>
                  </a:lnTo>
                  <a:lnTo>
                    <a:pt x="15171" y="4113"/>
                  </a:lnTo>
                  <a:lnTo>
                    <a:pt x="15171" y="4113"/>
                  </a:lnTo>
                  <a:lnTo>
                    <a:pt x="14618" y="3837"/>
                  </a:lnTo>
                  <a:lnTo>
                    <a:pt x="14031" y="3491"/>
                  </a:lnTo>
                  <a:lnTo>
                    <a:pt x="13271" y="3007"/>
                  </a:lnTo>
                  <a:lnTo>
                    <a:pt x="12372" y="2420"/>
                  </a:lnTo>
                  <a:lnTo>
                    <a:pt x="11370" y="1694"/>
                  </a:lnTo>
                  <a:lnTo>
                    <a:pt x="10333" y="899"/>
                  </a:lnTo>
                  <a:lnTo>
                    <a:pt x="9297" y="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0" name="Google Shape;2419;p11">
              <a:extLst>
                <a:ext uri="{FF2B5EF4-FFF2-40B4-BE49-F238E27FC236}">
                  <a16:creationId xmlns:a16="http://schemas.microsoft.com/office/drawing/2014/main" id="{34997090-625D-16C7-2320-69B426030F3E}"/>
                </a:ext>
              </a:extLst>
            </p:cNvPr>
            <p:cNvSpPr/>
            <p:nvPr/>
          </p:nvSpPr>
          <p:spPr>
            <a:xfrm>
              <a:off x="5226800" y="1711950"/>
              <a:ext cx="787900" cy="1279475"/>
            </a:xfrm>
            <a:custGeom>
              <a:avLst/>
              <a:gdLst/>
              <a:ahLst/>
              <a:cxnLst/>
              <a:rect l="l" t="t" r="r" b="b"/>
              <a:pathLst>
                <a:path w="31516" h="51179" extrusionOk="0">
                  <a:moveTo>
                    <a:pt x="2489" y="0"/>
                  </a:moveTo>
                  <a:lnTo>
                    <a:pt x="2385" y="69"/>
                  </a:lnTo>
                  <a:lnTo>
                    <a:pt x="2143" y="208"/>
                  </a:lnTo>
                  <a:lnTo>
                    <a:pt x="1867" y="449"/>
                  </a:lnTo>
                  <a:lnTo>
                    <a:pt x="1625" y="760"/>
                  </a:lnTo>
                  <a:lnTo>
                    <a:pt x="1348" y="1141"/>
                  </a:lnTo>
                  <a:lnTo>
                    <a:pt x="1106" y="1590"/>
                  </a:lnTo>
                  <a:lnTo>
                    <a:pt x="864" y="2039"/>
                  </a:lnTo>
                  <a:lnTo>
                    <a:pt x="657" y="2523"/>
                  </a:lnTo>
                  <a:lnTo>
                    <a:pt x="450" y="3007"/>
                  </a:lnTo>
                  <a:lnTo>
                    <a:pt x="277" y="3456"/>
                  </a:lnTo>
                  <a:lnTo>
                    <a:pt x="139" y="3905"/>
                  </a:lnTo>
                  <a:lnTo>
                    <a:pt x="35" y="4320"/>
                  </a:lnTo>
                  <a:lnTo>
                    <a:pt x="0" y="4665"/>
                  </a:lnTo>
                  <a:lnTo>
                    <a:pt x="0" y="4942"/>
                  </a:lnTo>
                  <a:lnTo>
                    <a:pt x="35" y="5080"/>
                  </a:lnTo>
                  <a:lnTo>
                    <a:pt x="70" y="5149"/>
                  </a:lnTo>
                  <a:lnTo>
                    <a:pt x="242" y="5322"/>
                  </a:lnTo>
                  <a:lnTo>
                    <a:pt x="588" y="5667"/>
                  </a:lnTo>
                  <a:lnTo>
                    <a:pt x="1694" y="6670"/>
                  </a:lnTo>
                  <a:lnTo>
                    <a:pt x="3283" y="8052"/>
                  </a:lnTo>
                  <a:lnTo>
                    <a:pt x="5149" y="9641"/>
                  </a:lnTo>
                  <a:lnTo>
                    <a:pt x="7085" y="11266"/>
                  </a:lnTo>
                  <a:lnTo>
                    <a:pt x="8951" y="12786"/>
                  </a:lnTo>
                  <a:lnTo>
                    <a:pt x="10575" y="14030"/>
                  </a:lnTo>
                  <a:lnTo>
                    <a:pt x="11231" y="14479"/>
                  </a:lnTo>
                  <a:lnTo>
                    <a:pt x="11784" y="14825"/>
                  </a:lnTo>
                  <a:lnTo>
                    <a:pt x="12406" y="15240"/>
                  </a:lnTo>
                  <a:lnTo>
                    <a:pt x="13166" y="15758"/>
                  </a:lnTo>
                  <a:lnTo>
                    <a:pt x="14860" y="16967"/>
                  </a:lnTo>
                  <a:lnTo>
                    <a:pt x="16691" y="18350"/>
                  </a:lnTo>
                  <a:lnTo>
                    <a:pt x="18557" y="19801"/>
                  </a:lnTo>
                  <a:lnTo>
                    <a:pt x="21840" y="22393"/>
                  </a:lnTo>
                  <a:lnTo>
                    <a:pt x="23602" y="23810"/>
                  </a:lnTo>
                  <a:lnTo>
                    <a:pt x="23741" y="23982"/>
                  </a:lnTo>
                  <a:lnTo>
                    <a:pt x="23948" y="24224"/>
                  </a:lnTo>
                  <a:lnTo>
                    <a:pt x="24121" y="24535"/>
                  </a:lnTo>
                  <a:lnTo>
                    <a:pt x="24328" y="24915"/>
                  </a:lnTo>
                  <a:lnTo>
                    <a:pt x="24743" y="25848"/>
                  </a:lnTo>
                  <a:lnTo>
                    <a:pt x="25123" y="26885"/>
                  </a:lnTo>
                  <a:lnTo>
                    <a:pt x="25469" y="27991"/>
                  </a:lnTo>
                  <a:lnTo>
                    <a:pt x="25745" y="29028"/>
                  </a:lnTo>
                  <a:lnTo>
                    <a:pt x="25814" y="29511"/>
                  </a:lnTo>
                  <a:lnTo>
                    <a:pt x="25883" y="29961"/>
                  </a:lnTo>
                  <a:lnTo>
                    <a:pt x="25883" y="30375"/>
                  </a:lnTo>
                  <a:lnTo>
                    <a:pt x="25883" y="30721"/>
                  </a:lnTo>
                  <a:lnTo>
                    <a:pt x="25572" y="32587"/>
                  </a:lnTo>
                  <a:lnTo>
                    <a:pt x="25434" y="33451"/>
                  </a:lnTo>
                  <a:lnTo>
                    <a:pt x="25330" y="34176"/>
                  </a:lnTo>
                  <a:lnTo>
                    <a:pt x="25158" y="35421"/>
                  </a:lnTo>
                  <a:lnTo>
                    <a:pt x="24916" y="37183"/>
                  </a:lnTo>
                  <a:lnTo>
                    <a:pt x="24674" y="39325"/>
                  </a:lnTo>
                  <a:lnTo>
                    <a:pt x="24570" y="40500"/>
                  </a:lnTo>
                  <a:lnTo>
                    <a:pt x="24501" y="41675"/>
                  </a:lnTo>
                  <a:lnTo>
                    <a:pt x="24466" y="42885"/>
                  </a:lnTo>
                  <a:lnTo>
                    <a:pt x="24466" y="44060"/>
                  </a:lnTo>
                  <a:lnTo>
                    <a:pt x="24535" y="45235"/>
                  </a:lnTo>
                  <a:lnTo>
                    <a:pt x="24674" y="46306"/>
                  </a:lnTo>
                  <a:lnTo>
                    <a:pt x="24777" y="46824"/>
                  </a:lnTo>
                  <a:lnTo>
                    <a:pt x="24881" y="47342"/>
                  </a:lnTo>
                  <a:lnTo>
                    <a:pt x="25019" y="47792"/>
                  </a:lnTo>
                  <a:lnTo>
                    <a:pt x="25192" y="48241"/>
                  </a:lnTo>
                  <a:lnTo>
                    <a:pt x="25365" y="48656"/>
                  </a:lnTo>
                  <a:lnTo>
                    <a:pt x="25572" y="49036"/>
                  </a:lnTo>
                  <a:lnTo>
                    <a:pt x="25814" y="49381"/>
                  </a:lnTo>
                  <a:lnTo>
                    <a:pt x="26091" y="49692"/>
                  </a:lnTo>
                  <a:lnTo>
                    <a:pt x="26436" y="50038"/>
                  </a:lnTo>
                  <a:lnTo>
                    <a:pt x="26782" y="50349"/>
                  </a:lnTo>
                  <a:lnTo>
                    <a:pt x="27093" y="50591"/>
                  </a:lnTo>
                  <a:lnTo>
                    <a:pt x="27438" y="50764"/>
                  </a:lnTo>
                  <a:lnTo>
                    <a:pt x="27749" y="50936"/>
                  </a:lnTo>
                  <a:lnTo>
                    <a:pt x="28060" y="51040"/>
                  </a:lnTo>
                  <a:lnTo>
                    <a:pt x="28337" y="51144"/>
                  </a:lnTo>
                  <a:lnTo>
                    <a:pt x="28648" y="51178"/>
                  </a:lnTo>
                  <a:lnTo>
                    <a:pt x="28924" y="51178"/>
                  </a:lnTo>
                  <a:lnTo>
                    <a:pt x="29201" y="51144"/>
                  </a:lnTo>
                  <a:lnTo>
                    <a:pt x="29443" y="51109"/>
                  </a:lnTo>
                  <a:lnTo>
                    <a:pt x="29719" y="51005"/>
                  </a:lnTo>
                  <a:lnTo>
                    <a:pt x="29961" y="50902"/>
                  </a:lnTo>
                  <a:lnTo>
                    <a:pt x="30203" y="50764"/>
                  </a:lnTo>
                  <a:lnTo>
                    <a:pt x="30410" y="50591"/>
                  </a:lnTo>
                  <a:lnTo>
                    <a:pt x="30617" y="50418"/>
                  </a:lnTo>
                  <a:lnTo>
                    <a:pt x="30790" y="50245"/>
                  </a:lnTo>
                  <a:lnTo>
                    <a:pt x="30963" y="50038"/>
                  </a:lnTo>
                  <a:lnTo>
                    <a:pt x="31067" y="49761"/>
                  </a:lnTo>
                  <a:lnTo>
                    <a:pt x="31170" y="49485"/>
                  </a:lnTo>
                  <a:lnTo>
                    <a:pt x="31274" y="49174"/>
                  </a:lnTo>
                  <a:lnTo>
                    <a:pt x="31343" y="48828"/>
                  </a:lnTo>
                  <a:lnTo>
                    <a:pt x="31447" y="48034"/>
                  </a:lnTo>
                  <a:lnTo>
                    <a:pt x="31516" y="47135"/>
                  </a:lnTo>
                  <a:lnTo>
                    <a:pt x="31516" y="46168"/>
                  </a:lnTo>
                  <a:lnTo>
                    <a:pt x="31481" y="45062"/>
                  </a:lnTo>
                  <a:lnTo>
                    <a:pt x="31447" y="43921"/>
                  </a:lnTo>
                  <a:lnTo>
                    <a:pt x="31309" y="41399"/>
                  </a:lnTo>
                  <a:lnTo>
                    <a:pt x="31205" y="38669"/>
                  </a:lnTo>
                  <a:lnTo>
                    <a:pt x="31205" y="37252"/>
                  </a:lnTo>
                  <a:lnTo>
                    <a:pt x="31205" y="35801"/>
                  </a:lnTo>
                  <a:lnTo>
                    <a:pt x="31274" y="34349"/>
                  </a:lnTo>
                  <a:lnTo>
                    <a:pt x="31378" y="32863"/>
                  </a:lnTo>
                  <a:lnTo>
                    <a:pt x="31447" y="31758"/>
                  </a:lnTo>
                  <a:lnTo>
                    <a:pt x="31447" y="30721"/>
                  </a:lnTo>
                  <a:lnTo>
                    <a:pt x="31378" y="29719"/>
                  </a:lnTo>
                  <a:lnTo>
                    <a:pt x="31274" y="28751"/>
                  </a:lnTo>
                  <a:lnTo>
                    <a:pt x="31136" y="27818"/>
                  </a:lnTo>
                  <a:lnTo>
                    <a:pt x="30928" y="26920"/>
                  </a:lnTo>
                  <a:lnTo>
                    <a:pt x="30548" y="25192"/>
                  </a:lnTo>
                  <a:lnTo>
                    <a:pt x="30134" y="23499"/>
                  </a:lnTo>
                  <a:lnTo>
                    <a:pt x="29961" y="22669"/>
                  </a:lnTo>
                  <a:lnTo>
                    <a:pt x="29823" y="21840"/>
                  </a:lnTo>
                  <a:lnTo>
                    <a:pt x="29719" y="20976"/>
                  </a:lnTo>
                  <a:lnTo>
                    <a:pt x="29684" y="20112"/>
                  </a:lnTo>
                  <a:lnTo>
                    <a:pt x="29684" y="19214"/>
                  </a:lnTo>
                  <a:lnTo>
                    <a:pt x="29788" y="18281"/>
                  </a:lnTo>
                  <a:lnTo>
                    <a:pt x="29926" y="16967"/>
                  </a:lnTo>
                  <a:lnTo>
                    <a:pt x="30030" y="15862"/>
                  </a:lnTo>
                  <a:lnTo>
                    <a:pt x="30065" y="14963"/>
                  </a:lnTo>
                  <a:lnTo>
                    <a:pt x="30099" y="14272"/>
                  </a:lnTo>
                  <a:lnTo>
                    <a:pt x="30065" y="13339"/>
                  </a:lnTo>
                  <a:lnTo>
                    <a:pt x="30065" y="13063"/>
                  </a:lnTo>
                  <a:lnTo>
                    <a:pt x="29408" y="13235"/>
                  </a:lnTo>
                  <a:lnTo>
                    <a:pt x="28786" y="13374"/>
                  </a:lnTo>
                  <a:lnTo>
                    <a:pt x="28164" y="13477"/>
                  </a:lnTo>
                  <a:lnTo>
                    <a:pt x="27542" y="13581"/>
                  </a:lnTo>
                  <a:lnTo>
                    <a:pt x="26954" y="13615"/>
                  </a:lnTo>
                  <a:lnTo>
                    <a:pt x="26367" y="13650"/>
                  </a:lnTo>
                  <a:lnTo>
                    <a:pt x="25192" y="13650"/>
                  </a:lnTo>
                  <a:lnTo>
                    <a:pt x="24639" y="13581"/>
                  </a:lnTo>
                  <a:lnTo>
                    <a:pt x="24052" y="13512"/>
                  </a:lnTo>
                  <a:lnTo>
                    <a:pt x="22980" y="13339"/>
                  </a:lnTo>
                  <a:lnTo>
                    <a:pt x="21909" y="13097"/>
                  </a:lnTo>
                  <a:lnTo>
                    <a:pt x="20873" y="12752"/>
                  </a:lnTo>
                  <a:lnTo>
                    <a:pt x="19905" y="12406"/>
                  </a:lnTo>
                  <a:lnTo>
                    <a:pt x="18937" y="11991"/>
                  </a:lnTo>
                  <a:lnTo>
                    <a:pt x="18004" y="11577"/>
                  </a:lnTo>
                  <a:lnTo>
                    <a:pt x="17140" y="11127"/>
                  </a:lnTo>
                  <a:lnTo>
                    <a:pt x="15482" y="10194"/>
                  </a:lnTo>
                  <a:lnTo>
                    <a:pt x="13996" y="9365"/>
                  </a:lnTo>
                  <a:lnTo>
                    <a:pt x="13616" y="9089"/>
                  </a:lnTo>
                  <a:lnTo>
                    <a:pt x="13097" y="8708"/>
                  </a:lnTo>
                  <a:lnTo>
                    <a:pt x="11681" y="7603"/>
                  </a:lnTo>
                  <a:lnTo>
                    <a:pt x="9987" y="6186"/>
                  </a:lnTo>
                  <a:lnTo>
                    <a:pt x="8156" y="4596"/>
                  </a:lnTo>
                  <a:lnTo>
                    <a:pt x="4735" y="1659"/>
                  </a:lnTo>
                  <a:lnTo>
                    <a:pt x="3491" y="622"/>
                  </a:lnTo>
                  <a:lnTo>
                    <a:pt x="2800" y="69"/>
                  </a:lnTo>
                  <a:lnTo>
                    <a:pt x="2696" y="35"/>
                  </a:lnTo>
                  <a:lnTo>
                    <a:pt x="2592" y="0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1" name="Google Shape;2420;p11">
              <a:extLst>
                <a:ext uri="{FF2B5EF4-FFF2-40B4-BE49-F238E27FC236}">
                  <a16:creationId xmlns:a16="http://schemas.microsoft.com/office/drawing/2014/main" id="{A964E455-073D-ECDB-F96E-91319D76C907}"/>
                </a:ext>
              </a:extLst>
            </p:cNvPr>
            <p:cNvSpPr/>
            <p:nvPr/>
          </p:nvSpPr>
          <p:spPr>
            <a:xfrm>
              <a:off x="6280775" y="3011275"/>
              <a:ext cx="110600" cy="54450"/>
            </a:xfrm>
            <a:custGeom>
              <a:avLst/>
              <a:gdLst/>
              <a:ahLst/>
              <a:cxnLst/>
              <a:rect l="l" t="t" r="r" b="b"/>
              <a:pathLst>
                <a:path w="4424" h="2178" extrusionOk="0">
                  <a:moveTo>
                    <a:pt x="484" y="0"/>
                  </a:moveTo>
                  <a:lnTo>
                    <a:pt x="380" y="104"/>
                  </a:lnTo>
                  <a:lnTo>
                    <a:pt x="311" y="173"/>
                  </a:lnTo>
                  <a:lnTo>
                    <a:pt x="104" y="276"/>
                  </a:lnTo>
                  <a:lnTo>
                    <a:pt x="35" y="346"/>
                  </a:lnTo>
                  <a:lnTo>
                    <a:pt x="0" y="380"/>
                  </a:lnTo>
                  <a:lnTo>
                    <a:pt x="0" y="415"/>
                  </a:lnTo>
                  <a:lnTo>
                    <a:pt x="69" y="484"/>
                  </a:lnTo>
                  <a:lnTo>
                    <a:pt x="277" y="622"/>
                  </a:lnTo>
                  <a:lnTo>
                    <a:pt x="691" y="829"/>
                  </a:lnTo>
                  <a:lnTo>
                    <a:pt x="1832" y="1348"/>
                  </a:lnTo>
                  <a:lnTo>
                    <a:pt x="3387" y="2073"/>
                  </a:lnTo>
                  <a:lnTo>
                    <a:pt x="3456" y="2108"/>
                  </a:lnTo>
                  <a:lnTo>
                    <a:pt x="3490" y="2143"/>
                  </a:lnTo>
                  <a:lnTo>
                    <a:pt x="3594" y="2177"/>
                  </a:lnTo>
                  <a:lnTo>
                    <a:pt x="3698" y="2143"/>
                  </a:lnTo>
                  <a:lnTo>
                    <a:pt x="3801" y="2108"/>
                  </a:lnTo>
                  <a:lnTo>
                    <a:pt x="3905" y="2004"/>
                  </a:lnTo>
                  <a:lnTo>
                    <a:pt x="4043" y="1866"/>
                  </a:lnTo>
                  <a:lnTo>
                    <a:pt x="4182" y="1659"/>
                  </a:lnTo>
                  <a:lnTo>
                    <a:pt x="4251" y="1451"/>
                  </a:lnTo>
                  <a:lnTo>
                    <a:pt x="4354" y="1140"/>
                  </a:lnTo>
                  <a:lnTo>
                    <a:pt x="4389" y="899"/>
                  </a:lnTo>
                  <a:lnTo>
                    <a:pt x="4423" y="795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79E9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2" name="Google Shape;2421;p11">
              <a:extLst>
                <a:ext uri="{FF2B5EF4-FFF2-40B4-BE49-F238E27FC236}">
                  <a16:creationId xmlns:a16="http://schemas.microsoft.com/office/drawing/2014/main" id="{25BF08E7-1A92-E44F-457B-87A3908BD5C1}"/>
                </a:ext>
              </a:extLst>
            </p:cNvPr>
            <p:cNvSpPr/>
            <p:nvPr/>
          </p:nvSpPr>
          <p:spPr>
            <a:xfrm>
              <a:off x="6110575" y="1997900"/>
              <a:ext cx="331775" cy="1002150"/>
            </a:xfrm>
            <a:custGeom>
              <a:avLst/>
              <a:gdLst/>
              <a:ahLst/>
              <a:cxnLst/>
              <a:rect l="l" t="t" r="r" b="b"/>
              <a:pathLst>
                <a:path w="13271" h="40086" extrusionOk="0">
                  <a:moveTo>
                    <a:pt x="312" y="0"/>
                  </a:moveTo>
                  <a:lnTo>
                    <a:pt x="243" y="1037"/>
                  </a:lnTo>
                  <a:lnTo>
                    <a:pt x="173" y="2627"/>
                  </a:lnTo>
                  <a:lnTo>
                    <a:pt x="104" y="4631"/>
                  </a:lnTo>
                  <a:lnTo>
                    <a:pt x="35" y="6981"/>
                  </a:lnTo>
                  <a:lnTo>
                    <a:pt x="1" y="9573"/>
                  </a:lnTo>
                  <a:lnTo>
                    <a:pt x="35" y="12268"/>
                  </a:lnTo>
                  <a:lnTo>
                    <a:pt x="139" y="15067"/>
                  </a:lnTo>
                  <a:lnTo>
                    <a:pt x="208" y="16415"/>
                  </a:lnTo>
                  <a:lnTo>
                    <a:pt x="312" y="17762"/>
                  </a:lnTo>
                  <a:lnTo>
                    <a:pt x="450" y="19076"/>
                  </a:lnTo>
                  <a:lnTo>
                    <a:pt x="657" y="20492"/>
                  </a:lnTo>
                  <a:lnTo>
                    <a:pt x="934" y="21944"/>
                  </a:lnTo>
                  <a:lnTo>
                    <a:pt x="1245" y="23395"/>
                  </a:lnTo>
                  <a:lnTo>
                    <a:pt x="1590" y="24846"/>
                  </a:lnTo>
                  <a:lnTo>
                    <a:pt x="1970" y="26229"/>
                  </a:lnTo>
                  <a:lnTo>
                    <a:pt x="2627" y="28544"/>
                  </a:lnTo>
                  <a:lnTo>
                    <a:pt x="2869" y="29442"/>
                  </a:lnTo>
                  <a:lnTo>
                    <a:pt x="3007" y="30272"/>
                  </a:lnTo>
                  <a:lnTo>
                    <a:pt x="3111" y="31067"/>
                  </a:lnTo>
                  <a:lnTo>
                    <a:pt x="3180" y="31792"/>
                  </a:lnTo>
                  <a:lnTo>
                    <a:pt x="3214" y="32483"/>
                  </a:lnTo>
                  <a:lnTo>
                    <a:pt x="3180" y="33175"/>
                  </a:lnTo>
                  <a:lnTo>
                    <a:pt x="3145" y="34384"/>
                  </a:lnTo>
                  <a:lnTo>
                    <a:pt x="3111" y="35455"/>
                  </a:lnTo>
                  <a:lnTo>
                    <a:pt x="3145" y="35974"/>
                  </a:lnTo>
                  <a:lnTo>
                    <a:pt x="3214" y="36423"/>
                  </a:lnTo>
                  <a:lnTo>
                    <a:pt x="3318" y="36872"/>
                  </a:lnTo>
                  <a:lnTo>
                    <a:pt x="3491" y="37321"/>
                  </a:lnTo>
                  <a:lnTo>
                    <a:pt x="3733" y="37736"/>
                  </a:lnTo>
                  <a:lnTo>
                    <a:pt x="4044" y="38116"/>
                  </a:lnTo>
                  <a:lnTo>
                    <a:pt x="4493" y="38565"/>
                  </a:lnTo>
                  <a:lnTo>
                    <a:pt x="4977" y="38945"/>
                  </a:lnTo>
                  <a:lnTo>
                    <a:pt x="5495" y="39256"/>
                  </a:lnTo>
                  <a:lnTo>
                    <a:pt x="6013" y="39533"/>
                  </a:lnTo>
                  <a:lnTo>
                    <a:pt x="6566" y="39740"/>
                  </a:lnTo>
                  <a:lnTo>
                    <a:pt x="7119" y="39913"/>
                  </a:lnTo>
                  <a:lnTo>
                    <a:pt x="7672" y="40017"/>
                  </a:lnTo>
                  <a:lnTo>
                    <a:pt x="8225" y="40051"/>
                  </a:lnTo>
                  <a:lnTo>
                    <a:pt x="8813" y="40086"/>
                  </a:lnTo>
                  <a:lnTo>
                    <a:pt x="9400" y="40051"/>
                  </a:lnTo>
                  <a:lnTo>
                    <a:pt x="9953" y="39948"/>
                  </a:lnTo>
                  <a:lnTo>
                    <a:pt x="10540" y="39809"/>
                  </a:lnTo>
                  <a:lnTo>
                    <a:pt x="11093" y="39637"/>
                  </a:lnTo>
                  <a:lnTo>
                    <a:pt x="11646" y="39429"/>
                  </a:lnTo>
                  <a:lnTo>
                    <a:pt x="12164" y="39187"/>
                  </a:lnTo>
                  <a:lnTo>
                    <a:pt x="12683" y="38876"/>
                  </a:lnTo>
                  <a:lnTo>
                    <a:pt x="12787" y="38773"/>
                  </a:lnTo>
                  <a:lnTo>
                    <a:pt x="12925" y="38669"/>
                  </a:lnTo>
                  <a:lnTo>
                    <a:pt x="12994" y="38496"/>
                  </a:lnTo>
                  <a:lnTo>
                    <a:pt x="13098" y="38323"/>
                  </a:lnTo>
                  <a:lnTo>
                    <a:pt x="13201" y="37909"/>
                  </a:lnTo>
                  <a:lnTo>
                    <a:pt x="13236" y="37390"/>
                  </a:lnTo>
                  <a:lnTo>
                    <a:pt x="13270" y="36803"/>
                  </a:lnTo>
                  <a:lnTo>
                    <a:pt x="13201" y="36146"/>
                  </a:lnTo>
                  <a:lnTo>
                    <a:pt x="13132" y="35421"/>
                  </a:lnTo>
                  <a:lnTo>
                    <a:pt x="13028" y="34626"/>
                  </a:lnTo>
                  <a:lnTo>
                    <a:pt x="12717" y="32933"/>
                  </a:lnTo>
                  <a:lnTo>
                    <a:pt x="12303" y="31136"/>
                  </a:lnTo>
                  <a:lnTo>
                    <a:pt x="11473" y="27507"/>
                  </a:lnTo>
                  <a:lnTo>
                    <a:pt x="11128" y="25918"/>
                  </a:lnTo>
                  <a:lnTo>
                    <a:pt x="10817" y="24466"/>
                  </a:lnTo>
                  <a:lnTo>
                    <a:pt x="10713" y="23810"/>
                  </a:lnTo>
                  <a:lnTo>
                    <a:pt x="10644" y="23222"/>
                  </a:lnTo>
                  <a:lnTo>
                    <a:pt x="10609" y="22669"/>
                  </a:lnTo>
                  <a:lnTo>
                    <a:pt x="10575" y="22186"/>
                  </a:lnTo>
                  <a:lnTo>
                    <a:pt x="10644" y="20320"/>
                  </a:lnTo>
                  <a:lnTo>
                    <a:pt x="10713" y="19041"/>
                  </a:lnTo>
                  <a:lnTo>
                    <a:pt x="10748" y="17520"/>
                  </a:lnTo>
                  <a:lnTo>
                    <a:pt x="10782" y="16657"/>
                  </a:lnTo>
                  <a:lnTo>
                    <a:pt x="10748" y="15620"/>
                  </a:lnTo>
                  <a:lnTo>
                    <a:pt x="10644" y="12994"/>
                  </a:lnTo>
                  <a:lnTo>
                    <a:pt x="10575" y="11715"/>
                  </a:lnTo>
                  <a:lnTo>
                    <a:pt x="10402" y="10402"/>
                  </a:lnTo>
                  <a:lnTo>
                    <a:pt x="10160" y="9054"/>
                  </a:lnTo>
                  <a:lnTo>
                    <a:pt x="9884" y="7741"/>
                  </a:lnTo>
                  <a:lnTo>
                    <a:pt x="9711" y="7119"/>
                  </a:lnTo>
                  <a:lnTo>
                    <a:pt x="9504" y="6497"/>
                  </a:lnTo>
                  <a:lnTo>
                    <a:pt x="9331" y="5944"/>
                  </a:lnTo>
                  <a:lnTo>
                    <a:pt x="9089" y="5391"/>
                  </a:lnTo>
                  <a:lnTo>
                    <a:pt x="8882" y="4907"/>
                  </a:lnTo>
                  <a:lnTo>
                    <a:pt x="8640" y="4458"/>
                  </a:lnTo>
                  <a:lnTo>
                    <a:pt x="8363" y="4078"/>
                  </a:lnTo>
                  <a:lnTo>
                    <a:pt x="8087" y="3767"/>
                  </a:lnTo>
                  <a:lnTo>
                    <a:pt x="7430" y="3110"/>
                  </a:lnTo>
                  <a:lnTo>
                    <a:pt x="6774" y="2558"/>
                  </a:lnTo>
                  <a:lnTo>
                    <a:pt x="6083" y="2074"/>
                  </a:lnTo>
                  <a:lnTo>
                    <a:pt x="5391" y="1625"/>
                  </a:lnTo>
                  <a:lnTo>
                    <a:pt x="4735" y="1279"/>
                  </a:lnTo>
                  <a:lnTo>
                    <a:pt x="4113" y="968"/>
                  </a:lnTo>
                  <a:lnTo>
                    <a:pt x="3491" y="726"/>
                  </a:lnTo>
                  <a:lnTo>
                    <a:pt x="2903" y="519"/>
                  </a:lnTo>
                  <a:lnTo>
                    <a:pt x="2350" y="346"/>
                  </a:lnTo>
                  <a:lnTo>
                    <a:pt x="1867" y="242"/>
                  </a:lnTo>
                  <a:lnTo>
                    <a:pt x="1037" y="7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3" name="Google Shape;2422;p11">
              <a:extLst>
                <a:ext uri="{FF2B5EF4-FFF2-40B4-BE49-F238E27FC236}">
                  <a16:creationId xmlns:a16="http://schemas.microsoft.com/office/drawing/2014/main" id="{979A4BCE-D2B7-4090-26DE-D52048E75859}"/>
                </a:ext>
              </a:extLst>
            </p:cNvPr>
            <p:cNvSpPr/>
            <p:nvPr/>
          </p:nvSpPr>
          <p:spPr>
            <a:xfrm>
              <a:off x="6110575" y="1997900"/>
              <a:ext cx="331775" cy="1002150"/>
            </a:xfrm>
            <a:custGeom>
              <a:avLst/>
              <a:gdLst/>
              <a:ahLst/>
              <a:cxnLst/>
              <a:rect l="l" t="t" r="r" b="b"/>
              <a:pathLst>
                <a:path w="13271" h="40086" fill="none" extrusionOk="0">
                  <a:moveTo>
                    <a:pt x="12683" y="38876"/>
                  </a:moveTo>
                  <a:lnTo>
                    <a:pt x="12683" y="38876"/>
                  </a:lnTo>
                  <a:lnTo>
                    <a:pt x="12164" y="39187"/>
                  </a:lnTo>
                  <a:lnTo>
                    <a:pt x="11646" y="39429"/>
                  </a:lnTo>
                  <a:lnTo>
                    <a:pt x="11093" y="39637"/>
                  </a:lnTo>
                  <a:lnTo>
                    <a:pt x="10540" y="39809"/>
                  </a:lnTo>
                  <a:lnTo>
                    <a:pt x="9953" y="39948"/>
                  </a:lnTo>
                  <a:lnTo>
                    <a:pt x="9400" y="40051"/>
                  </a:lnTo>
                  <a:lnTo>
                    <a:pt x="8813" y="40086"/>
                  </a:lnTo>
                  <a:lnTo>
                    <a:pt x="8225" y="40051"/>
                  </a:lnTo>
                  <a:lnTo>
                    <a:pt x="7672" y="40017"/>
                  </a:lnTo>
                  <a:lnTo>
                    <a:pt x="7119" y="39913"/>
                  </a:lnTo>
                  <a:lnTo>
                    <a:pt x="6566" y="39740"/>
                  </a:lnTo>
                  <a:lnTo>
                    <a:pt x="6013" y="39533"/>
                  </a:lnTo>
                  <a:lnTo>
                    <a:pt x="5495" y="39256"/>
                  </a:lnTo>
                  <a:lnTo>
                    <a:pt x="4977" y="38945"/>
                  </a:lnTo>
                  <a:lnTo>
                    <a:pt x="4493" y="38565"/>
                  </a:lnTo>
                  <a:lnTo>
                    <a:pt x="4044" y="38116"/>
                  </a:lnTo>
                  <a:lnTo>
                    <a:pt x="4044" y="38116"/>
                  </a:lnTo>
                  <a:lnTo>
                    <a:pt x="3733" y="37736"/>
                  </a:lnTo>
                  <a:lnTo>
                    <a:pt x="3491" y="37321"/>
                  </a:lnTo>
                  <a:lnTo>
                    <a:pt x="3318" y="36872"/>
                  </a:lnTo>
                  <a:lnTo>
                    <a:pt x="3214" y="36423"/>
                  </a:lnTo>
                  <a:lnTo>
                    <a:pt x="3145" y="35974"/>
                  </a:lnTo>
                  <a:lnTo>
                    <a:pt x="3111" y="35455"/>
                  </a:lnTo>
                  <a:lnTo>
                    <a:pt x="3145" y="34384"/>
                  </a:lnTo>
                  <a:lnTo>
                    <a:pt x="3180" y="33175"/>
                  </a:lnTo>
                  <a:lnTo>
                    <a:pt x="3214" y="32483"/>
                  </a:lnTo>
                  <a:lnTo>
                    <a:pt x="3180" y="31792"/>
                  </a:lnTo>
                  <a:lnTo>
                    <a:pt x="3111" y="31067"/>
                  </a:lnTo>
                  <a:lnTo>
                    <a:pt x="3007" y="30272"/>
                  </a:lnTo>
                  <a:lnTo>
                    <a:pt x="2869" y="29442"/>
                  </a:lnTo>
                  <a:lnTo>
                    <a:pt x="2627" y="28544"/>
                  </a:lnTo>
                  <a:lnTo>
                    <a:pt x="2627" y="28544"/>
                  </a:lnTo>
                  <a:lnTo>
                    <a:pt x="1970" y="26229"/>
                  </a:lnTo>
                  <a:lnTo>
                    <a:pt x="1590" y="24846"/>
                  </a:lnTo>
                  <a:lnTo>
                    <a:pt x="1245" y="23395"/>
                  </a:lnTo>
                  <a:lnTo>
                    <a:pt x="934" y="21944"/>
                  </a:lnTo>
                  <a:lnTo>
                    <a:pt x="657" y="20492"/>
                  </a:lnTo>
                  <a:lnTo>
                    <a:pt x="450" y="19076"/>
                  </a:lnTo>
                  <a:lnTo>
                    <a:pt x="312" y="17762"/>
                  </a:lnTo>
                  <a:lnTo>
                    <a:pt x="312" y="17762"/>
                  </a:lnTo>
                  <a:lnTo>
                    <a:pt x="208" y="16415"/>
                  </a:lnTo>
                  <a:lnTo>
                    <a:pt x="139" y="15067"/>
                  </a:lnTo>
                  <a:lnTo>
                    <a:pt x="35" y="12268"/>
                  </a:lnTo>
                  <a:lnTo>
                    <a:pt x="1" y="9573"/>
                  </a:lnTo>
                  <a:lnTo>
                    <a:pt x="35" y="6981"/>
                  </a:lnTo>
                  <a:lnTo>
                    <a:pt x="104" y="4631"/>
                  </a:lnTo>
                  <a:lnTo>
                    <a:pt x="173" y="2627"/>
                  </a:lnTo>
                  <a:lnTo>
                    <a:pt x="243" y="1037"/>
                  </a:lnTo>
                  <a:lnTo>
                    <a:pt x="312" y="0"/>
                  </a:lnTo>
                  <a:lnTo>
                    <a:pt x="312" y="0"/>
                  </a:lnTo>
                  <a:lnTo>
                    <a:pt x="519" y="0"/>
                  </a:lnTo>
                  <a:lnTo>
                    <a:pt x="1037" y="70"/>
                  </a:lnTo>
                  <a:lnTo>
                    <a:pt x="1867" y="242"/>
                  </a:lnTo>
                  <a:lnTo>
                    <a:pt x="2350" y="346"/>
                  </a:lnTo>
                  <a:lnTo>
                    <a:pt x="2903" y="519"/>
                  </a:lnTo>
                  <a:lnTo>
                    <a:pt x="3491" y="726"/>
                  </a:lnTo>
                  <a:lnTo>
                    <a:pt x="4113" y="968"/>
                  </a:lnTo>
                  <a:lnTo>
                    <a:pt x="4735" y="1279"/>
                  </a:lnTo>
                  <a:lnTo>
                    <a:pt x="5391" y="1625"/>
                  </a:lnTo>
                  <a:lnTo>
                    <a:pt x="6083" y="2074"/>
                  </a:lnTo>
                  <a:lnTo>
                    <a:pt x="6774" y="2558"/>
                  </a:lnTo>
                  <a:lnTo>
                    <a:pt x="7430" y="3110"/>
                  </a:lnTo>
                  <a:lnTo>
                    <a:pt x="8087" y="3767"/>
                  </a:lnTo>
                  <a:lnTo>
                    <a:pt x="8087" y="3767"/>
                  </a:lnTo>
                  <a:lnTo>
                    <a:pt x="8363" y="4078"/>
                  </a:lnTo>
                  <a:lnTo>
                    <a:pt x="8640" y="4458"/>
                  </a:lnTo>
                  <a:lnTo>
                    <a:pt x="8882" y="4907"/>
                  </a:lnTo>
                  <a:lnTo>
                    <a:pt x="9089" y="5391"/>
                  </a:lnTo>
                  <a:lnTo>
                    <a:pt x="9331" y="5944"/>
                  </a:lnTo>
                  <a:lnTo>
                    <a:pt x="9504" y="6497"/>
                  </a:lnTo>
                  <a:lnTo>
                    <a:pt x="9711" y="7119"/>
                  </a:lnTo>
                  <a:lnTo>
                    <a:pt x="9884" y="7741"/>
                  </a:lnTo>
                  <a:lnTo>
                    <a:pt x="10160" y="9054"/>
                  </a:lnTo>
                  <a:lnTo>
                    <a:pt x="10402" y="10402"/>
                  </a:lnTo>
                  <a:lnTo>
                    <a:pt x="10575" y="11715"/>
                  </a:lnTo>
                  <a:lnTo>
                    <a:pt x="10644" y="12994"/>
                  </a:lnTo>
                  <a:lnTo>
                    <a:pt x="10644" y="12994"/>
                  </a:lnTo>
                  <a:lnTo>
                    <a:pt x="10748" y="15620"/>
                  </a:lnTo>
                  <a:lnTo>
                    <a:pt x="10748" y="15620"/>
                  </a:lnTo>
                  <a:lnTo>
                    <a:pt x="10782" y="16657"/>
                  </a:lnTo>
                  <a:lnTo>
                    <a:pt x="10748" y="17520"/>
                  </a:lnTo>
                  <a:lnTo>
                    <a:pt x="10713" y="19041"/>
                  </a:lnTo>
                  <a:lnTo>
                    <a:pt x="10713" y="19041"/>
                  </a:lnTo>
                  <a:lnTo>
                    <a:pt x="10644" y="20320"/>
                  </a:lnTo>
                  <a:lnTo>
                    <a:pt x="10644" y="20320"/>
                  </a:lnTo>
                  <a:lnTo>
                    <a:pt x="10644" y="20320"/>
                  </a:lnTo>
                  <a:lnTo>
                    <a:pt x="10575" y="22186"/>
                  </a:lnTo>
                  <a:lnTo>
                    <a:pt x="10575" y="22186"/>
                  </a:lnTo>
                  <a:lnTo>
                    <a:pt x="10609" y="22669"/>
                  </a:lnTo>
                  <a:lnTo>
                    <a:pt x="10644" y="23222"/>
                  </a:lnTo>
                  <a:lnTo>
                    <a:pt x="10713" y="23810"/>
                  </a:lnTo>
                  <a:lnTo>
                    <a:pt x="10817" y="24466"/>
                  </a:lnTo>
                  <a:lnTo>
                    <a:pt x="11128" y="25918"/>
                  </a:lnTo>
                  <a:lnTo>
                    <a:pt x="11473" y="27507"/>
                  </a:lnTo>
                  <a:lnTo>
                    <a:pt x="11473" y="27507"/>
                  </a:lnTo>
                  <a:lnTo>
                    <a:pt x="11473" y="27507"/>
                  </a:lnTo>
                  <a:lnTo>
                    <a:pt x="12303" y="31136"/>
                  </a:lnTo>
                  <a:lnTo>
                    <a:pt x="12717" y="32933"/>
                  </a:lnTo>
                  <a:lnTo>
                    <a:pt x="13028" y="34626"/>
                  </a:lnTo>
                  <a:lnTo>
                    <a:pt x="13132" y="35421"/>
                  </a:lnTo>
                  <a:lnTo>
                    <a:pt x="13201" y="36146"/>
                  </a:lnTo>
                  <a:lnTo>
                    <a:pt x="13270" y="36803"/>
                  </a:lnTo>
                  <a:lnTo>
                    <a:pt x="13236" y="37390"/>
                  </a:lnTo>
                  <a:lnTo>
                    <a:pt x="13201" y="37909"/>
                  </a:lnTo>
                  <a:lnTo>
                    <a:pt x="13098" y="38323"/>
                  </a:lnTo>
                  <a:lnTo>
                    <a:pt x="12994" y="38496"/>
                  </a:lnTo>
                  <a:lnTo>
                    <a:pt x="12925" y="38669"/>
                  </a:lnTo>
                  <a:lnTo>
                    <a:pt x="12787" y="38773"/>
                  </a:lnTo>
                  <a:lnTo>
                    <a:pt x="12683" y="3887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4" name="Google Shape;2423;p11">
              <a:extLst>
                <a:ext uri="{FF2B5EF4-FFF2-40B4-BE49-F238E27FC236}">
                  <a16:creationId xmlns:a16="http://schemas.microsoft.com/office/drawing/2014/main" id="{A21C3A53-6471-9BCF-F697-FBE8C187B9E6}"/>
                </a:ext>
              </a:extLst>
            </p:cNvPr>
            <p:cNvSpPr/>
            <p:nvPr/>
          </p:nvSpPr>
          <p:spPr>
            <a:xfrm>
              <a:off x="6154650" y="2061825"/>
              <a:ext cx="450100" cy="991800"/>
            </a:xfrm>
            <a:custGeom>
              <a:avLst/>
              <a:gdLst/>
              <a:ahLst/>
              <a:cxnLst/>
              <a:rect l="l" t="t" r="r" b="b"/>
              <a:pathLst>
                <a:path w="18004" h="39672" extrusionOk="0">
                  <a:moveTo>
                    <a:pt x="2695" y="1"/>
                  </a:moveTo>
                  <a:lnTo>
                    <a:pt x="2177" y="35"/>
                  </a:lnTo>
                  <a:lnTo>
                    <a:pt x="1659" y="104"/>
                  </a:lnTo>
                  <a:lnTo>
                    <a:pt x="1209" y="208"/>
                  </a:lnTo>
                  <a:lnTo>
                    <a:pt x="795" y="381"/>
                  </a:lnTo>
                  <a:lnTo>
                    <a:pt x="622" y="484"/>
                  </a:lnTo>
                  <a:lnTo>
                    <a:pt x="484" y="623"/>
                  </a:lnTo>
                  <a:lnTo>
                    <a:pt x="346" y="761"/>
                  </a:lnTo>
                  <a:lnTo>
                    <a:pt x="207" y="899"/>
                  </a:lnTo>
                  <a:lnTo>
                    <a:pt x="138" y="1072"/>
                  </a:lnTo>
                  <a:lnTo>
                    <a:pt x="69" y="1279"/>
                  </a:lnTo>
                  <a:lnTo>
                    <a:pt x="35" y="1486"/>
                  </a:lnTo>
                  <a:lnTo>
                    <a:pt x="0" y="1694"/>
                  </a:lnTo>
                  <a:lnTo>
                    <a:pt x="35" y="2143"/>
                  </a:lnTo>
                  <a:lnTo>
                    <a:pt x="69" y="2592"/>
                  </a:lnTo>
                  <a:lnTo>
                    <a:pt x="138" y="3007"/>
                  </a:lnTo>
                  <a:lnTo>
                    <a:pt x="242" y="3387"/>
                  </a:lnTo>
                  <a:lnTo>
                    <a:pt x="449" y="4113"/>
                  </a:lnTo>
                  <a:lnTo>
                    <a:pt x="691" y="4735"/>
                  </a:lnTo>
                  <a:lnTo>
                    <a:pt x="933" y="5219"/>
                  </a:lnTo>
                  <a:lnTo>
                    <a:pt x="1106" y="5599"/>
                  </a:lnTo>
                  <a:lnTo>
                    <a:pt x="1313" y="5910"/>
                  </a:lnTo>
                  <a:lnTo>
                    <a:pt x="2972" y="8605"/>
                  </a:lnTo>
                  <a:lnTo>
                    <a:pt x="4458" y="10920"/>
                  </a:lnTo>
                  <a:lnTo>
                    <a:pt x="5736" y="12890"/>
                  </a:lnTo>
                  <a:lnTo>
                    <a:pt x="6842" y="14549"/>
                  </a:lnTo>
                  <a:lnTo>
                    <a:pt x="7810" y="15931"/>
                  </a:lnTo>
                  <a:lnTo>
                    <a:pt x="8605" y="17071"/>
                  </a:lnTo>
                  <a:lnTo>
                    <a:pt x="9849" y="18730"/>
                  </a:lnTo>
                  <a:lnTo>
                    <a:pt x="10643" y="19767"/>
                  </a:lnTo>
                  <a:lnTo>
                    <a:pt x="10920" y="20147"/>
                  </a:lnTo>
                  <a:lnTo>
                    <a:pt x="11127" y="20458"/>
                  </a:lnTo>
                  <a:lnTo>
                    <a:pt x="11265" y="20734"/>
                  </a:lnTo>
                  <a:lnTo>
                    <a:pt x="11369" y="21045"/>
                  </a:lnTo>
                  <a:lnTo>
                    <a:pt x="11438" y="21426"/>
                  </a:lnTo>
                  <a:lnTo>
                    <a:pt x="11507" y="21840"/>
                  </a:lnTo>
                  <a:lnTo>
                    <a:pt x="11507" y="22117"/>
                  </a:lnTo>
                  <a:lnTo>
                    <a:pt x="11473" y="22428"/>
                  </a:lnTo>
                  <a:lnTo>
                    <a:pt x="11404" y="22808"/>
                  </a:lnTo>
                  <a:lnTo>
                    <a:pt x="11300" y="23257"/>
                  </a:lnTo>
                  <a:lnTo>
                    <a:pt x="11024" y="24259"/>
                  </a:lnTo>
                  <a:lnTo>
                    <a:pt x="10609" y="25434"/>
                  </a:lnTo>
                  <a:lnTo>
                    <a:pt x="10160" y="26713"/>
                  </a:lnTo>
                  <a:lnTo>
                    <a:pt x="9641" y="28060"/>
                  </a:lnTo>
                  <a:lnTo>
                    <a:pt x="8466" y="30894"/>
                  </a:lnTo>
                  <a:lnTo>
                    <a:pt x="7291" y="33589"/>
                  </a:lnTo>
                  <a:lnTo>
                    <a:pt x="6255" y="35870"/>
                  </a:lnTo>
                  <a:lnTo>
                    <a:pt x="5253" y="38047"/>
                  </a:lnTo>
                  <a:lnTo>
                    <a:pt x="5875" y="38393"/>
                  </a:lnTo>
                  <a:lnTo>
                    <a:pt x="6497" y="38704"/>
                  </a:lnTo>
                  <a:lnTo>
                    <a:pt x="7257" y="39049"/>
                  </a:lnTo>
                  <a:lnTo>
                    <a:pt x="8017" y="39360"/>
                  </a:lnTo>
                  <a:lnTo>
                    <a:pt x="8397" y="39499"/>
                  </a:lnTo>
                  <a:lnTo>
                    <a:pt x="8708" y="39602"/>
                  </a:lnTo>
                  <a:lnTo>
                    <a:pt x="9019" y="39671"/>
                  </a:lnTo>
                  <a:lnTo>
                    <a:pt x="9261" y="39671"/>
                  </a:lnTo>
                  <a:lnTo>
                    <a:pt x="9468" y="39637"/>
                  </a:lnTo>
                  <a:lnTo>
                    <a:pt x="9538" y="39602"/>
                  </a:lnTo>
                  <a:lnTo>
                    <a:pt x="9572" y="39568"/>
                  </a:lnTo>
                  <a:lnTo>
                    <a:pt x="10090" y="38669"/>
                  </a:lnTo>
                  <a:lnTo>
                    <a:pt x="11127" y="36734"/>
                  </a:lnTo>
                  <a:lnTo>
                    <a:pt x="12509" y="34039"/>
                  </a:lnTo>
                  <a:lnTo>
                    <a:pt x="14064" y="30894"/>
                  </a:lnTo>
                  <a:lnTo>
                    <a:pt x="14859" y="29270"/>
                  </a:lnTo>
                  <a:lnTo>
                    <a:pt x="15585" y="27646"/>
                  </a:lnTo>
                  <a:lnTo>
                    <a:pt x="16276" y="26091"/>
                  </a:lnTo>
                  <a:lnTo>
                    <a:pt x="16864" y="24605"/>
                  </a:lnTo>
                  <a:lnTo>
                    <a:pt x="17382" y="23222"/>
                  </a:lnTo>
                  <a:lnTo>
                    <a:pt x="17589" y="22600"/>
                  </a:lnTo>
                  <a:lnTo>
                    <a:pt x="17727" y="22048"/>
                  </a:lnTo>
                  <a:lnTo>
                    <a:pt x="17866" y="21495"/>
                  </a:lnTo>
                  <a:lnTo>
                    <a:pt x="17969" y="21045"/>
                  </a:lnTo>
                  <a:lnTo>
                    <a:pt x="18004" y="20631"/>
                  </a:lnTo>
                  <a:lnTo>
                    <a:pt x="18004" y="20285"/>
                  </a:lnTo>
                  <a:lnTo>
                    <a:pt x="17935" y="19905"/>
                  </a:lnTo>
                  <a:lnTo>
                    <a:pt x="17831" y="19490"/>
                  </a:lnTo>
                  <a:lnTo>
                    <a:pt x="17658" y="19007"/>
                  </a:lnTo>
                  <a:lnTo>
                    <a:pt x="17451" y="18488"/>
                  </a:lnTo>
                  <a:lnTo>
                    <a:pt x="16898" y="17313"/>
                  </a:lnTo>
                  <a:lnTo>
                    <a:pt x="16172" y="15966"/>
                  </a:lnTo>
                  <a:lnTo>
                    <a:pt x="15378" y="14549"/>
                  </a:lnTo>
                  <a:lnTo>
                    <a:pt x="14445" y="13028"/>
                  </a:lnTo>
                  <a:lnTo>
                    <a:pt x="13477" y="11473"/>
                  </a:lnTo>
                  <a:lnTo>
                    <a:pt x="12475" y="9918"/>
                  </a:lnTo>
                  <a:lnTo>
                    <a:pt x="10436" y="6877"/>
                  </a:lnTo>
                  <a:lnTo>
                    <a:pt x="8570" y="4251"/>
                  </a:lnTo>
                  <a:lnTo>
                    <a:pt x="7119" y="2281"/>
                  </a:lnTo>
                  <a:lnTo>
                    <a:pt x="6289" y="1210"/>
                  </a:lnTo>
                  <a:lnTo>
                    <a:pt x="6047" y="968"/>
                  </a:lnTo>
                  <a:lnTo>
                    <a:pt x="5702" y="726"/>
                  </a:lnTo>
                  <a:lnTo>
                    <a:pt x="5287" y="519"/>
                  </a:lnTo>
                  <a:lnTo>
                    <a:pt x="4803" y="346"/>
                  </a:lnTo>
                  <a:lnTo>
                    <a:pt x="4320" y="208"/>
                  </a:lnTo>
                  <a:lnTo>
                    <a:pt x="3767" y="104"/>
                  </a:lnTo>
                  <a:lnTo>
                    <a:pt x="3214" y="35"/>
                  </a:lnTo>
                  <a:lnTo>
                    <a:pt x="2695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5" name="Google Shape;2424;p11">
              <a:extLst>
                <a:ext uri="{FF2B5EF4-FFF2-40B4-BE49-F238E27FC236}">
                  <a16:creationId xmlns:a16="http://schemas.microsoft.com/office/drawing/2014/main" id="{898A3152-A99C-461C-97DC-7EBCFFCC17F6}"/>
                </a:ext>
              </a:extLst>
            </p:cNvPr>
            <p:cNvSpPr/>
            <p:nvPr/>
          </p:nvSpPr>
          <p:spPr>
            <a:xfrm>
              <a:off x="6154650" y="2061825"/>
              <a:ext cx="450100" cy="991800"/>
            </a:xfrm>
            <a:custGeom>
              <a:avLst/>
              <a:gdLst/>
              <a:ahLst/>
              <a:cxnLst/>
              <a:rect l="l" t="t" r="r" b="b"/>
              <a:pathLst>
                <a:path w="18004" h="39672" fill="none" extrusionOk="0">
                  <a:moveTo>
                    <a:pt x="1313" y="5910"/>
                  </a:moveTo>
                  <a:lnTo>
                    <a:pt x="1313" y="5910"/>
                  </a:lnTo>
                  <a:lnTo>
                    <a:pt x="2972" y="8605"/>
                  </a:lnTo>
                  <a:lnTo>
                    <a:pt x="4458" y="10920"/>
                  </a:lnTo>
                  <a:lnTo>
                    <a:pt x="5736" y="12890"/>
                  </a:lnTo>
                  <a:lnTo>
                    <a:pt x="6842" y="14549"/>
                  </a:lnTo>
                  <a:lnTo>
                    <a:pt x="7810" y="15931"/>
                  </a:lnTo>
                  <a:lnTo>
                    <a:pt x="8605" y="17071"/>
                  </a:lnTo>
                  <a:lnTo>
                    <a:pt x="9849" y="18730"/>
                  </a:lnTo>
                  <a:lnTo>
                    <a:pt x="10643" y="19767"/>
                  </a:lnTo>
                  <a:lnTo>
                    <a:pt x="10920" y="20147"/>
                  </a:lnTo>
                  <a:lnTo>
                    <a:pt x="11127" y="20458"/>
                  </a:lnTo>
                  <a:lnTo>
                    <a:pt x="11265" y="20734"/>
                  </a:lnTo>
                  <a:lnTo>
                    <a:pt x="11369" y="21045"/>
                  </a:lnTo>
                  <a:lnTo>
                    <a:pt x="11438" y="21426"/>
                  </a:lnTo>
                  <a:lnTo>
                    <a:pt x="11507" y="21840"/>
                  </a:lnTo>
                  <a:lnTo>
                    <a:pt x="11507" y="21840"/>
                  </a:lnTo>
                  <a:lnTo>
                    <a:pt x="11507" y="22117"/>
                  </a:lnTo>
                  <a:lnTo>
                    <a:pt x="11473" y="22428"/>
                  </a:lnTo>
                  <a:lnTo>
                    <a:pt x="11404" y="22808"/>
                  </a:lnTo>
                  <a:lnTo>
                    <a:pt x="11300" y="23257"/>
                  </a:lnTo>
                  <a:lnTo>
                    <a:pt x="11024" y="24259"/>
                  </a:lnTo>
                  <a:lnTo>
                    <a:pt x="10609" y="25434"/>
                  </a:lnTo>
                  <a:lnTo>
                    <a:pt x="10160" y="26713"/>
                  </a:lnTo>
                  <a:lnTo>
                    <a:pt x="9641" y="28060"/>
                  </a:lnTo>
                  <a:lnTo>
                    <a:pt x="8466" y="30894"/>
                  </a:lnTo>
                  <a:lnTo>
                    <a:pt x="7291" y="33589"/>
                  </a:lnTo>
                  <a:lnTo>
                    <a:pt x="6255" y="35870"/>
                  </a:lnTo>
                  <a:lnTo>
                    <a:pt x="5253" y="38047"/>
                  </a:lnTo>
                  <a:lnTo>
                    <a:pt x="5253" y="38047"/>
                  </a:lnTo>
                  <a:lnTo>
                    <a:pt x="5875" y="38393"/>
                  </a:lnTo>
                  <a:lnTo>
                    <a:pt x="6497" y="38704"/>
                  </a:lnTo>
                  <a:lnTo>
                    <a:pt x="7257" y="39049"/>
                  </a:lnTo>
                  <a:lnTo>
                    <a:pt x="8017" y="39360"/>
                  </a:lnTo>
                  <a:lnTo>
                    <a:pt x="8397" y="39499"/>
                  </a:lnTo>
                  <a:lnTo>
                    <a:pt x="8708" y="39602"/>
                  </a:lnTo>
                  <a:lnTo>
                    <a:pt x="9019" y="39671"/>
                  </a:lnTo>
                  <a:lnTo>
                    <a:pt x="9261" y="39671"/>
                  </a:lnTo>
                  <a:lnTo>
                    <a:pt x="9468" y="39637"/>
                  </a:lnTo>
                  <a:lnTo>
                    <a:pt x="9538" y="39602"/>
                  </a:lnTo>
                  <a:lnTo>
                    <a:pt x="9572" y="39568"/>
                  </a:lnTo>
                  <a:lnTo>
                    <a:pt x="9572" y="39568"/>
                  </a:lnTo>
                  <a:lnTo>
                    <a:pt x="10090" y="38669"/>
                  </a:lnTo>
                  <a:lnTo>
                    <a:pt x="11127" y="36734"/>
                  </a:lnTo>
                  <a:lnTo>
                    <a:pt x="12509" y="34039"/>
                  </a:lnTo>
                  <a:lnTo>
                    <a:pt x="14064" y="30894"/>
                  </a:lnTo>
                  <a:lnTo>
                    <a:pt x="14859" y="29270"/>
                  </a:lnTo>
                  <a:lnTo>
                    <a:pt x="15585" y="27646"/>
                  </a:lnTo>
                  <a:lnTo>
                    <a:pt x="16276" y="26091"/>
                  </a:lnTo>
                  <a:lnTo>
                    <a:pt x="16864" y="24605"/>
                  </a:lnTo>
                  <a:lnTo>
                    <a:pt x="17382" y="23222"/>
                  </a:lnTo>
                  <a:lnTo>
                    <a:pt x="17589" y="22600"/>
                  </a:lnTo>
                  <a:lnTo>
                    <a:pt x="17727" y="22048"/>
                  </a:lnTo>
                  <a:lnTo>
                    <a:pt x="17866" y="21495"/>
                  </a:lnTo>
                  <a:lnTo>
                    <a:pt x="17969" y="21045"/>
                  </a:lnTo>
                  <a:lnTo>
                    <a:pt x="18004" y="20631"/>
                  </a:lnTo>
                  <a:lnTo>
                    <a:pt x="18004" y="20285"/>
                  </a:lnTo>
                  <a:lnTo>
                    <a:pt x="18004" y="20285"/>
                  </a:lnTo>
                  <a:lnTo>
                    <a:pt x="17935" y="19905"/>
                  </a:lnTo>
                  <a:lnTo>
                    <a:pt x="17831" y="19490"/>
                  </a:lnTo>
                  <a:lnTo>
                    <a:pt x="17658" y="19007"/>
                  </a:lnTo>
                  <a:lnTo>
                    <a:pt x="17451" y="18488"/>
                  </a:lnTo>
                  <a:lnTo>
                    <a:pt x="16898" y="17313"/>
                  </a:lnTo>
                  <a:lnTo>
                    <a:pt x="16172" y="15966"/>
                  </a:lnTo>
                  <a:lnTo>
                    <a:pt x="15378" y="14549"/>
                  </a:lnTo>
                  <a:lnTo>
                    <a:pt x="14445" y="13028"/>
                  </a:lnTo>
                  <a:lnTo>
                    <a:pt x="13477" y="11473"/>
                  </a:lnTo>
                  <a:lnTo>
                    <a:pt x="12475" y="9918"/>
                  </a:lnTo>
                  <a:lnTo>
                    <a:pt x="10436" y="6877"/>
                  </a:lnTo>
                  <a:lnTo>
                    <a:pt x="8570" y="4251"/>
                  </a:lnTo>
                  <a:lnTo>
                    <a:pt x="7119" y="2281"/>
                  </a:lnTo>
                  <a:lnTo>
                    <a:pt x="6289" y="1210"/>
                  </a:lnTo>
                  <a:lnTo>
                    <a:pt x="6289" y="1210"/>
                  </a:lnTo>
                  <a:lnTo>
                    <a:pt x="6047" y="968"/>
                  </a:lnTo>
                  <a:lnTo>
                    <a:pt x="5702" y="726"/>
                  </a:lnTo>
                  <a:lnTo>
                    <a:pt x="5287" y="519"/>
                  </a:lnTo>
                  <a:lnTo>
                    <a:pt x="4803" y="346"/>
                  </a:lnTo>
                  <a:lnTo>
                    <a:pt x="4320" y="208"/>
                  </a:lnTo>
                  <a:lnTo>
                    <a:pt x="3767" y="104"/>
                  </a:lnTo>
                  <a:lnTo>
                    <a:pt x="3214" y="35"/>
                  </a:lnTo>
                  <a:lnTo>
                    <a:pt x="2695" y="1"/>
                  </a:lnTo>
                  <a:lnTo>
                    <a:pt x="2177" y="35"/>
                  </a:lnTo>
                  <a:lnTo>
                    <a:pt x="1659" y="104"/>
                  </a:lnTo>
                  <a:lnTo>
                    <a:pt x="1209" y="208"/>
                  </a:lnTo>
                  <a:lnTo>
                    <a:pt x="795" y="381"/>
                  </a:lnTo>
                  <a:lnTo>
                    <a:pt x="622" y="484"/>
                  </a:lnTo>
                  <a:lnTo>
                    <a:pt x="484" y="623"/>
                  </a:lnTo>
                  <a:lnTo>
                    <a:pt x="346" y="761"/>
                  </a:lnTo>
                  <a:lnTo>
                    <a:pt x="207" y="899"/>
                  </a:lnTo>
                  <a:lnTo>
                    <a:pt x="138" y="1072"/>
                  </a:lnTo>
                  <a:lnTo>
                    <a:pt x="69" y="1279"/>
                  </a:lnTo>
                  <a:lnTo>
                    <a:pt x="35" y="1486"/>
                  </a:lnTo>
                  <a:lnTo>
                    <a:pt x="0" y="1694"/>
                  </a:lnTo>
                  <a:lnTo>
                    <a:pt x="0" y="1694"/>
                  </a:lnTo>
                  <a:lnTo>
                    <a:pt x="35" y="2143"/>
                  </a:lnTo>
                  <a:lnTo>
                    <a:pt x="69" y="2592"/>
                  </a:lnTo>
                  <a:lnTo>
                    <a:pt x="138" y="3007"/>
                  </a:lnTo>
                  <a:lnTo>
                    <a:pt x="242" y="3387"/>
                  </a:lnTo>
                  <a:lnTo>
                    <a:pt x="449" y="4113"/>
                  </a:lnTo>
                  <a:lnTo>
                    <a:pt x="691" y="4735"/>
                  </a:lnTo>
                  <a:lnTo>
                    <a:pt x="933" y="5219"/>
                  </a:lnTo>
                  <a:lnTo>
                    <a:pt x="1106" y="5599"/>
                  </a:lnTo>
                  <a:lnTo>
                    <a:pt x="1313" y="59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6" name="Google Shape;2425;p11">
              <a:extLst>
                <a:ext uri="{FF2B5EF4-FFF2-40B4-BE49-F238E27FC236}">
                  <a16:creationId xmlns:a16="http://schemas.microsoft.com/office/drawing/2014/main" id="{94215C77-5A42-FFEE-CBF4-8523CF636CED}"/>
                </a:ext>
              </a:extLst>
            </p:cNvPr>
            <p:cNvSpPr/>
            <p:nvPr/>
          </p:nvSpPr>
          <p:spPr>
            <a:xfrm>
              <a:off x="6302375" y="2405675"/>
              <a:ext cx="95050" cy="279925"/>
            </a:xfrm>
            <a:custGeom>
              <a:avLst/>
              <a:gdLst/>
              <a:ahLst/>
              <a:cxnLst/>
              <a:rect l="l" t="t" r="r" b="b"/>
              <a:pathLst>
                <a:path w="3802" h="11197" extrusionOk="0">
                  <a:moveTo>
                    <a:pt x="0" y="0"/>
                  </a:moveTo>
                  <a:lnTo>
                    <a:pt x="35" y="380"/>
                  </a:lnTo>
                  <a:lnTo>
                    <a:pt x="104" y="1313"/>
                  </a:lnTo>
                  <a:lnTo>
                    <a:pt x="277" y="2730"/>
                  </a:lnTo>
                  <a:lnTo>
                    <a:pt x="415" y="3525"/>
                  </a:lnTo>
                  <a:lnTo>
                    <a:pt x="588" y="4423"/>
                  </a:lnTo>
                  <a:lnTo>
                    <a:pt x="795" y="5322"/>
                  </a:lnTo>
                  <a:lnTo>
                    <a:pt x="1037" y="6255"/>
                  </a:lnTo>
                  <a:lnTo>
                    <a:pt x="1348" y="7188"/>
                  </a:lnTo>
                  <a:lnTo>
                    <a:pt x="1693" y="8121"/>
                  </a:lnTo>
                  <a:lnTo>
                    <a:pt x="2143" y="8985"/>
                  </a:lnTo>
                  <a:lnTo>
                    <a:pt x="2350" y="9399"/>
                  </a:lnTo>
                  <a:lnTo>
                    <a:pt x="2626" y="9814"/>
                  </a:lnTo>
                  <a:lnTo>
                    <a:pt x="2868" y="10194"/>
                  </a:lnTo>
                  <a:lnTo>
                    <a:pt x="3179" y="10540"/>
                  </a:lnTo>
                  <a:lnTo>
                    <a:pt x="3456" y="10885"/>
                  </a:lnTo>
                  <a:lnTo>
                    <a:pt x="3801" y="11196"/>
                  </a:lnTo>
                  <a:lnTo>
                    <a:pt x="3801" y="11196"/>
                  </a:lnTo>
                  <a:lnTo>
                    <a:pt x="3456" y="9641"/>
                  </a:lnTo>
                  <a:lnTo>
                    <a:pt x="3179" y="8259"/>
                  </a:lnTo>
                  <a:lnTo>
                    <a:pt x="2972" y="7015"/>
                  </a:lnTo>
                  <a:lnTo>
                    <a:pt x="2937" y="6462"/>
                  </a:lnTo>
                  <a:lnTo>
                    <a:pt x="2903" y="5978"/>
                  </a:lnTo>
                  <a:lnTo>
                    <a:pt x="2903" y="5875"/>
                  </a:lnTo>
                  <a:lnTo>
                    <a:pt x="2972" y="4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7" name="Google Shape;2426;p11">
              <a:extLst>
                <a:ext uri="{FF2B5EF4-FFF2-40B4-BE49-F238E27FC236}">
                  <a16:creationId xmlns:a16="http://schemas.microsoft.com/office/drawing/2014/main" id="{40FE5BBB-AD61-14D2-1001-466637A4702F}"/>
                </a:ext>
              </a:extLst>
            </p:cNvPr>
            <p:cNvSpPr/>
            <p:nvPr/>
          </p:nvSpPr>
          <p:spPr>
            <a:xfrm>
              <a:off x="6302375" y="2405675"/>
              <a:ext cx="95050" cy="279925"/>
            </a:xfrm>
            <a:custGeom>
              <a:avLst/>
              <a:gdLst/>
              <a:ahLst/>
              <a:cxnLst/>
              <a:rect l="l" t="t" r="r" b="b"/>
              <a:pathLst>
                <a:path w="3802" h="11197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35" y="380"/>
                  </a:lnTo>
                  <a:lnTo>
                    <a:pt x="104" y="1313"/>
                  </a:lnTo>
                  <a:lnTo>
                    <a:pt x="277" y="2730"/>
                  </a:lnTo>
                  <a:lnTo>
                    <a:pt x="415" y="3525"/>
                  </a:lnTo>
                  <a:lnTo>
                    <a:pt x="588" y="4423"/>
                  </a:lnTo>
                  <a:lnTo>
                    <a:pt x="795" y="5322"/>
                  </a:lnTo>
                  <a:lnTo>
                    <a:pt x="1037" y="6255"/>
                  </a:lnTo>
                  <a:lnTo>
                    <a:pt x="1348" y="7188"/>
                  </a:lnTo>
                  <a:lnTo>
                    <a:pt x="1693" y="8121"/>
                  </a:lnTo>
                  <a:lnTo>
                    <a:pt x="2143" y="8985"/>
                  </a:lnTo>
                  <a:lnTo>
                    <a:pt x="2350" y="9399"/>
                  </a:lnTo>
                  <a:lnTo>
                    <a:pt x="2626" y="9814"/>
                  </a:lnTo>
                  <a:lnTo>
                    <a:pt x="2868" y="10194"/>
                  </a:lnTo>
                  <a:lnTo>
                    <a:pt x="3179" y="10540"/>
                  </a:lnTo>
                  <a:lnTo>
                    <a:pt x="3456" y="10885"/>
                  </a:lnTo>
                  <a:lnTo>
                    <a:pt x="3801" y="11196"/>
                  </a:lnTo>
                  <a:lnTo>
                    <a:pt x="3801" y="11196"/>
                  </a:lnTo>
                  <a:lnTo>
                    <a:pt x="3456" y="9641"/>
                  </a:lnTo>
                  <a:lnTo>
                    <a:pt x="3179" y="8259"/>
                  </a:lnTo>
                  <a:lnTo>
                    <a:pt x="2972" y="7015"/>
                  </a:lnTo>
                  <a:lnTo>
                    <a:pt x="2937" y="6462"/>
                  </a:lnTo>
                  <a:lnTo>
                    <a:pt x="2903" y="5978"/>
                  </a:lnTo>
                  <a:lnTo>
                    <a:pt x="2903" y="5978"/>
                  </a:lnTo>
                  <a:lnTo>
                    <a:pt x="2903" y="5875"/>
                  </a:lnTo>
                  <a:lnTo>
                    <a:pt x="2903" y="5875"/>
                  </a:lnTo>
                  <a:lnTo>
                    <a:pt x="2972" y="4009"/>
                  </a:lnTo>
                  <a:lnTo>
                    <a:pt x="2972" y="4009"/>
                  </a:lnTo>
                  <a:lnTo>
                    <a:pt x="2972" y="400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8" name="Google Shape;2427;p11">
              <a:extLst>
                <a:ext uri="{FF2B5EF4-FFF2-40B4-BE49-F238E27FC236}">
                  <a16:creationId xmlns:a16="http://schemas.microsoft.com/office/drawing/2014/main" id="{2FA19175-2E3B-2616-0E88-04BB655D8F7F}"/>
                </a:ext>
              </a:extLst>
            </p:cNvPr>
            <p:cNvSpPr/>
            <p:nvPr/>
          </p:nvSpPr>
          <p:spPr>
            <a:xfrm>
              <a:off x="6402575" y="27071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7C7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9" name="Google Shape;2428;p11">
              <a:extLst>
                <a:ext uri="{FF2B5EF4-FFF2-40B4-BE49-F238E27FC236}">
                  <a16:creationId xmlns:a16="http://schemas.microsoft.com/office/drawing/2014/main" id="{BACBAFBE-DB3F-8BEE-4B95-9E8FE4AFDF7D}"/>
                </a:ext>
              </a:extLst>
            </p:cNvPr>
            <p:cNvSpPr/>
            <p:nvPr/>
          </p:nvSpPr>
          <p:spPr>
            <a:xfrm>
              <a:off x="6402575" y="27071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0" name="Google Shape;2429;p11">
              <a:extLst>
                <a:ext uri="{FF2B5EF4-FFF2-40B4-BE49-F238E27FC236}">
                  <a16:creationId xmlns:a16="http://schemas.microsoft.com/office/drawing/2014/main" id="{94198A78-67C3-BDE7-63F6-20678FDBD0AD}"/>
                </a:ext>
              </a:extLst>
            </p:cNvPr>
            <p:cNvSpPr/>
            <p:nvPr/>
          </p:nvSpPr>
          <p:spPr>
            <a:xfrm>
              <a:off x="6298900" y="2707175"/>
              <a:ext cx="108900" cy="279050"/>
            </a:xfrm>
            <a:custGeom>
              <a:avLst/>
              <a:gdLst/>
              <a:ahLst/>
              <a:cxnLst/>
              <a:rect l="l" t="t" r="r" b="b"/>
              <a:pathLst>
                <a:path w="4356" h="11162" extrusionOk="0">
                  <a:moveTo>
                    <a:pt x="4148" y="0"/>
                  </a:moveTo>
                  <a:lnTo>
                    <a:pt x="1" y="11162"/>
                  </a:lnTo>
                  <a:lnTo>
                    <a:pt x="865" y="9227"/>
                  </a:lnTo>
                  <a:lnTo>
                    <a:pt x="2005" y="6670"/>
                  </a:lnTo>
                  <a:lnTo>
                    <a:pt x="3215" y="3801"/>
                  </a:lnTo>
                  <a:lnTo>
                    <a:pt x="3802" y="2350"/>
                  </a:lnTo>
                  <a:lnTo>
                    <a:pt x="4355" y="968"/>
                  </a:lnTo>
                  <a:lnTo>
                    <a:pt x="4148" y="0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1" name="Google Shape;2430;p11">
              <a:extLst>
                <a:ext uri="{FF2B5EF4-FFF2-40B4-BE49-F238E27FC236}">
                  <a16:creationId xmlns:a16="http://schemas.microsoft.com/office/drawing/2014/main" id="{E794CE9C-1764-C694-3FFA-5AD0EA851F34}"/>
                </a:ext>
              </a:extLst>
            </p:cNvPr>
            <p:cNvSpPr/>
            <p:nvPr/>
          </p:nvSpPr>
          <p:spPr>
            <a:xfrm>
              <a:off x="6298900" y="2707175"/>
              <a:ext cx="108900" cy="279050"/>
            </a:xfrm>
            <a:custGeom>
              <a:avLst/>
              <a:gdLst/>
              <a:ahLst/>
              <a:cxnLst/>
              <a:rect l="l" t="t" r="r" b="b"/>
              <a:pathLst>
                <a:path w="4356" h="11162" fill="none" extrusionOk="0">
                  <a:moveTo>
                    <a:pt x="4148" y="0"/>
                  </a:moveTo>
                  <a:lnTo>
                    <a:pt x="1" y="11162"/>
                  </a:lnTo>
                  <a:lnTo>
                    <a:pt x="1" y="11162"/>
                  </a:lnTo>
                  <a:lnTo>
                    <a:pt x="865" y="9227"/>
                  </a:lnTo>
                  <a:lnTo>
                    <a:pt x="2005" y="6670"/>
                  </a:lnTo>
                  <a:lnTo>
                    <a:pt x="3215" y="3801"/>
                  </a:lnTo>
                  <a:lnTo>
                    <a:pt x="3802" y="2350"/>
                  </a:lnTo>
                  <a:lnTo>
                    <a:pt x="4355" y="968"/>
                  </a:lnTo>
                  <a:lnTo>
                    <a:pt x="4148" y="0"/>
                  </a:lnTo>
                  <a:lnTo>
                    <a:pt x="4148" y="0"/>
                  </a:lnTo>
                  <a:lnTo>
                    <a:pt x="414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2" name="Google Shape;2431;p11">
              <a:extLst>
                <a:ext uri="{FF2B5EF4-FFF2-40B4-BE49-F238E27FC236}">
                  <a16:creationId xmlns:a16="http://schemas.microsoft.com/office/drawing/2014/main" id="{60740CA2-617D-007D-3AD0-A74C6F4B4445}"/>
                </a:ext>
              </a:extLst>
            </p:cNvPr>
            <p:cNvSpPr/>
            <p:nvPr/>
          </p:nvSpPr>
          <p:spPr>
            <a:xfrm>
              <a:off x="6295450" y="2731350"/>
              <a:ext cx="115800" cy="263525"/>
            </a:xfrm>
            <a:custGeom>
              <a:avLst/>
              <a:gdLst/>
              <a:ahLst/>
              <a:cxnLst/>
              <a:rect l="l" t="t" r="r" b="b"/>
              <a:pathLst>
                <a:path w="4632" h="10541" extrusionOk="0">
                  <a:moveTo>
                    <a:pt x="4493" y="1"/>
                  </a:moveTo>
                  <a:lnTo>
                    <a:pt x="3940" y="1383"/>
                  </a:lnTo>
                  <a:lnTo>
                    <a:pt x="3353" y="2834"/>
                  </a:lnTo>
                  <a:lnTo>
                    <a:pt x="2143" y="5703"/>
                  </a:lnTo>
                  <a:lnTo>
                    <a:pt x="1003" y="8260"/>
                  </a:lnTo>
                  <a:lnTo>
                    <a:pt x="139" y="10195"/>
                  </a:lnTo>
                  <a:lnTo>
                    <a:pt x="1" y="10540"/>
                  </a:lnTo>
                  <a:lnTo>
                    <a:pt x="692" y="9124"/>
                  </a:lnTo>
                  <a:lnTo>
                    <a:pt x="2247" y="5979"/>
                  </a:lnTo>
                  <a:lnTo>
                    <a:pt x="3076" y="4217"/>
                  </a:lnTo>
                  <a:lnTo>
                    <a:pt x="3802" y="2627"/>
                  </a:lnTo>
                  <a:lnTo>
                    <a:pt x="4355" y="1348"/>
                  </a:lnTo>
                  <a:lnTo>
                    <a:pt x="4562" y="899"/>
                  </a:lnTo>
                  <a:lnTo>
                    <a:pt x="4631" y="588"/>
                  </a:lnTo>
                  <a:lnTo>
                    <a:pt x="4493" y="1"/>
                  </a:lnTo>
                  <a:close/>
                </a:path>
              </a:pathLst>
            </a:custGeom>
            <a:solidFill>
              <a:srgbClr val="AC46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3" name="Google Shape;2432;p11">
              <a:extLst>
                <a:ext uri="{FF2B5EF4-FFF2-40B4-BE49-F238E27FC236}">
                  <a16:creationId xmlns:a16="http://schemas.microsoft.com/office/drawing/2014/main" id="{C53319E9-EE26-5153-16FA-53CEE93907EA}"/>
                </a:ext>
              </a:extLst>
            </p:cNvPr>
            <p:cNvSpPr/>
            <p:nvPr/>
          </p:nvSpPr>
          <p:spPr>
            <a:xfrm>
              <a:off x="6295450" y="2731350"/>
              <a:ext cx="115800" cy="263525"/>
            </a:xfrm>
            <a:custGeom>
              <a:avLst/>
              <a:gdLst/>
              <a:ahLst/>
              <a:cxnLst/>
              <a:rect l="l" t="t" r="r" b="b"/>
              <a:pathLst>
                <a:path w="4632" h="10541" fill="none" extrusionOk="0">
                  <a:moveTo>
                    <a:pt x="4493" y="1"/>
                  </a:moveTo>
                  <a:lnTo>
                    <a:pt x="4493" y="1"/>
                  </a:lnTo>
                  <a:lnTo>
                    <a:pt x="3940" y="1383"/>
                  </a:lnTo>
                  <a:lnTo>
                    <a:pt x="3353" y="2834"/>
                  </a:lnTo>
                  <a:lnTo>
                    <a:pt x="2143" y="5703"/>
                  </a:lnTo>
                  <a:lnTo>
                    <a:pt x="1003" y="8260"/>
                  </a:lnTo>
                  <a:lnTo>
                    <a:pt x="139" y="10195"/>
                  </a:lnTo>
                  <a:lnTo>
                    <a:pt x="1" y="10540"/>
                  </a:lnTo>
                  <a:lnTo>
                    <a:pt x="1" y="10540"/>
                  </a:lnTo>
                  <a:lnTo>
                    <a:pt x="692" y="9124"/>
                  </a:lnTo>
                  <a:lnTo>
                    <a:pt x="2247" y="5979"/>
                  </a:lnTo>
                  <a:lnTo>
                    <a:pt x="3076" y="4217"/>
                  </a:lnTo>
                  <a:lnTo>
                    <a:pt x="3802" y="2627"/>
                  </a:lnTo>
                  <a:lnTo>
                    <a:pt x="4355" y="1348"/>
                  </a:lnTo>
                  <a:lnTo>
                    <a:pt x="4562" y="899"/>
                  </a:lnTo>
                  <a:lnTo>
                    <a:pt x="4631" y="588"/>
                  </a:lnTo>
                  <a:lnTo>
                    <a:pt x="449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4" name="Google Shape;2433;p11">
              <a:extLst>
                <a:ext uri="{FF2B5EF4-FFF2-40B4-BE49-F238E27FC236}">
                  <a16:creationId xmlns:a16="http://schemas.microsoft.com/office/drawing/2014/main" id="{A460DC7D-4887-E071-7FC3-055578A86EF8}"/>
                </a:ext>
              </a:extLst>
            </p:cNvPr>
            <p:cNvSpPr/>
            <p:nvPr/>
          </p:nvSpPr>
          <p:spPr>
            <a:xfrm>
              <a:off x="6409500" y="2225100"/>
              <a:ext cx="15575" cy="23350"/>
            </a:xfrm>
            <a:custGeom>
              <a:avLst/>
              <a:gdLst/>
              <a:ahLst/>
              <a:cxnLst/>
              <a:rect l="l" t="t" r="r" b="b"/>
              <a:pathLst>
                <a:path w="623" h="934" extrusionOk="0">
                  <a:moveTo>
                    <a:pt x="0" y="1"/>
                  </a:moveTo>
                  <a:lnTo>
                    <a:pt x="622" y="934"/>
                  </a:lnTo>
                  <a:lnTo>
                    <a:pt x="311" y="41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7D7D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5" name="Google Shape;2434;p11">
              <a:extLst>
                <a:ext uri="{FF2B5EF4-FFF2-40B4-BE49-F238E27FC236}">
                  <a16:creationId xmlns:a16="http://schemas.microsoft.com/office/drawing/2014/main" id="{234A5DDF-1AF6-7575-B903-2D96D7F28575}"/>
                </a:ext>
              </a:extLst>
            </p:cNvPr>
            <p:cNvSpPr/>
            <p:nvPr/>
          </p:nvSpPr>
          <p:spPr>
            <a:xfrm>
              <a:off x="6409500" y="2225100"/>
              <a:ext cx="15575" cy="23350"/>
            </a:xfrm>
            <a:custGeom>
              <a:avLst/>
              <a:gdLst/>
              <a:ahLst/>
              <a:cxnLst/>
              <a:rect l="l" t="t" r="r" b="b"/>
              <a:pathLst>
                <a:path w="623" h="934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622" y="934"/>
                  </a:lnTo>
                  <a:lnTo>
                    <a:pt x="622" y="934"/>
                  </a:lnTo>
                  <a:lnTo>
                    <a:pt x="311" y="415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6" name="Google Shape;2435;p11">
              <a:extLst>
                <a:ext uri="{FF2B5EF4-FFF2-40B4-BE49-F238E27FC236}">
                  <a16:creationId xmlns:a16="http://schemas.microsoft.com/office/drawing/2014/main" id="{F2217281-119C-EB41-F768-0AE16FF4BE03}"/>
                </a:ext>
              </a:extLst>
            </p:cNvPr>
            <p:cNvSpPr/>
            <p:nvPr/>
          </p:nvSpPr>
          <p:spPr>
            <a:xfrm>
              <a:off x="6037150" y="2058375"/>
              <a:ext cx="875" cy="25"/>
            </a:xfrm>
            <a:custGeom>
              <a:avLst/>
              <a:gdLst/>
              <a:ahLst/>
              <a:cxnLst/>
              <a:rect l="l" t="t" r="r" b="b"/>
              <a:pathLst>
                <a:path w="35" h="1" extrusionOk="0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C994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7" name="Google Shape;2436;p11">
              <a:extLst>
                <a:ext uri="{FF2B5EF4-FFF2-40B4-BE49-F238E27FC236}">
                  <a16:creationId xmlns:a16="http://schemas.microsoft.com/office/drawing/2014/main" id="{EADC361F-1E80-C117-2769-5D31100F0549}"/>
                </a:ext>
              </a:extLst>
            </p:cNvPr>
            <p:cNvSpPr/>
            <p:nvPr/>
          </p:nvSpPr>
          <p:spPr>
            <a:xfrm>
              <a:off x="6037150" y="2058375"/>
              <a:ext cx="875" cy="25"/>
            </a:xfrm>
            <a:custGeom>
              <a:avLst/>
              <a:gdLst/>
              <a:ahLst/>
              <a:cxnLst/>
              <a:rect l="l" t="t" r="r" b="b"/>
              <a:pathLst>
                <a:path w="35" h="1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8" name="Google Shape;2437;p11">
              <a:extLst>
                <a:ext uri="{FF2B5EF4-FFF2-40B4-BE49-F238E27FC236}">
                  <a16:creationId xmlns:a16="http://schemas.microsoft.com/office/drawing/2014/main" id="{0CC00A05-F384-7963-8BC0-424F850B21AA}"/>
                </a:ext>
              </a:extLst>
            </p:cNvPr>
            <p:cNvSpPr/>
            <p:nvPr/>
          </p:nvSpPr>
          <p:spPr>
            <a:xfrm>
              <a:off x="6033700" y="2057500"/>
              <a:ext cx="78625" cy="137400"/>
            </a:xfrm>
            <a:custGeom>
              <a:avLst/>
              <a:gdLst/>
              <a:ahLst/>
              <a:cxnLst/>
              <a:rect l="l" t="t" r="r" b="b"/>
              <a:pathLst>
                <a:path w="3145" h="5496" extrusionOk="0">
                  <a:moveTo>
                    <a:pt x="242" y="1"/>
                  </a:moveTo>
                  <a:lnTo>
                    <a:pt x="173" y="35"/>
                  </a:lnTo>
                  <a:lnTo>
                    <a:pt x="138" y="35"/>
                  </a:lnTo>
                  <a:lnTo>
                    <a:pt x="35" y="104"/>
                  </a:lnTo>
                  <a:lnTo>
                    <a:pt x="0" y="243"/>
                  </a:lnTo>
                  <a:lnTo>
                    <a:pt x="0" y="381"/>
                  </a:lnTo>
                  <a:lnTo>
                    <a:pt x="0" y="554"/>
                  </a:lnTo>
                  <a:lnTo>
                    <a:pt x="69" y="726"/>
                  </a:lnTo>
                  <a:lnTo>
                    <a:pt x="173" y="899"/>
                  </a:lnTo>
                  <a:lnTo>
                    <a:pt x="242" y="1037"/>
                  </a:lnTo>
                  <a:lnTo>
                    <a:pt x="346" y="1072"/>
                  </a:lnTo>
                  <a:lnTo>
                    <a:pt x="380" y="1072"/>
                  </a:lnTo>
                  <a:lnTo>
                    <a:pt x="415" y="1107"/>
                  </a:lnTo>
                  <a:lnTo>
                    <a:pt x="484" y="1176"/>
                  </a:lnTo>
                  <a:lnTo>
                    <a:pt x="657" y="1521"/>
                  </a:lnTo>
                  <a:lnTo>
                    <a:pt x="1210" y="2627"/>
                  </a:lnTo>
                  <a:lnTo>
                    <a:pt x="1590" y="3353"/>
                  </a:lnTo>
                  <a:lnTo>
                    <a:pt x="2004" y="4078"/>
                  </a:lnTo>
                  <a:lnTo>
                    <a:pt x="2523" y="4804"/>
                  </a:lnTo>
                  <a:lnTo>
                    <a:pt x="2799" y="5150"/>
                  </a:lnTo>
                  <a:lnTo>
                    <a:pt x="3110" y="5495"/>
                  </a:lnTo>
                  <a:lnTo>
                    <a:pt x="3145" y="3145"/>
                  </a:lnTo>
                  <a:lnTo>
                    <a:pt x="2592" y="2662"/>
                  </a:lnTo>
                  <a:lnTo>
                    <a:pt x="2108" y="2178"/>
                  </a:lnTo>
                  <a:lnTo>
                    <a:pt x="1659" y="1659"/>
                  </a:lnTo>
                  <a:lnTo>
                    <a:pt x="1244" y="1210"/>
                  </a:lnTo>
                  <a:lnTo>
                    <a:pt x="1106" y="1037"/>
                  </a:lnTo>
                  <a:lnTo>
                    <a:pt x="1002" y="830"/>
                  </a:lnTo>
                  <a:lnTo>
                    <a:pt x="864" y="485"/>
                  </a:lnTo>
                  <a:lnTo>
                    <a:pt x="760" y="312"/>
                  </a:lnTo>
                  <a:lnTo>
                    <a:pt x="657" y="208"/>
                  </a:lnTo>
                  <a:lnTo>
                    <a:pt x="518" y="104"/>
                  </a:lnTo>
                  <a:lnTo>
                    <a:pt x="346" y="35"/>
                  </a:lnTo>
                  <a:lnTo>
                    <a:pt x="242" y="1"/>
                  </a:lnTo>
                  <a:close/>
                </a:path>
              </a:pathLst>
            </a:custGeom>
            <a:solidFill>
              <a:srgbClr val="D7D7D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9" name="Google Shape;2438;p11">
              <a:extLst>
                <a:ext uri="{FF2B5EF4-FFF2-40B4-BE49-F238E27FC236}">
                  <a16:creationId xmlns:a16="http://schemas.microsoft.com/office/drawing/2014/main" id="{010D18D6-351A-DF2F-177E-B3F1E5FB759A}"/>
                </a:ext>
              </a:extLst>
            </p:cNvPr>
            <p:cNvSpPr/>
            <p:nvPr/>
          </p:nvSpPr>
          <p:spPr>
            <a:xfrm>
              <a:off x="6033700" y="2057500"/>
              <a:ext cx="78625" cy="137400"/>
            </a:xfrm>
            <a:custGeom>
              <a:avLst/>
              <a:gdLst/>
              <a:ahLst/>
              <a:cxnLst/>
              <a:rect l="l" t="t" r="r" b="b"/>
              <a:pathLst>
                <a:path w="3145" h="5496" fill="none" extrusionOk="0">
                  <a:moveTo>
                    <a:pt x="242" y="1"/>
                  </a:moveTo>
                  <a:lnTo>
                    <a:pt x="242" y="1"/>
                  </a:lnTo>
                  <a:lnTo>
                    <a:pt x="173" y="35"/>
                  </a:lnTo>
                  <a:lnTo>
                    <a:pt x="173" y="35"/>
                  </a:lnTo>
                  <a:lnTo>
                    <a:pt x="138" y="35"/>
                  </a:lnTo>
                  <a:lnTo>
                    <a:pt x="138" y="35"/>
                  </a:lnTo>
                  <a:lnTo>
                    <a:pt x="35" y="104"/>
                  </a:lnTo>
                  <a:lnTo>
                    <a:pt x="0" y="243"/>
                  </a:lnTo>
                  <a:lnTo>
                    <a:pt x="0" y="381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69" y="726"/>
                  </a:lnTo>
                  <a:lnTo>
                    <a:pt x="173" y="899"/>
                  </a:lnTo>
                  <a:lnTo>
                    <a:pt x="242" y="1037"/>
                  </a:lnTo>
                  <a:lnTo>
                    <a:pt x="346" y="1072"/>
                  </a:lnTo>
                  <a:lnTo>
                    <a:pt x="346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380" y="1072"/>
                  </a:lnTo>
                  <a:lnTo>
                    <a:pt x="415" y="1107"/>
                  </a:lnTo>
                  <a:lnTo>
                    <a:pt x="484" y="1176"/>
                  </a:lnTo>
                  <a:lnTo>
                    <a:pt x="657" y="1521"/>
                  </a:lnTo>
                  <a:lnTo>
                    <a:pt x="1210" y="2627"/>
                  </a:lnTo>
                  <a:lnTo>
                    <a:pt x="1590" y="3353"/>
                  </a:lnTo>
                  <a:lnTo>
                    <a:pt x="2004" y="4078"/>
                  </a:lnTo>
                  <a:lnTo>
                    <a:pt x="2523" y="4804"/>
                  </a:lnTo>
                  <a:lnTo>
                    <a:pt x="2799" y="5150"/>
                  </a:lnTo>
                  <a:lnTo>
                    <a:pt x="3110" y="5495"/>
                  </a:lnTo>
                  <a:lnTo>
                    <a:pt x="3110" y="5495"/>
                  </a:lnTo>
                  <a:lnTo>
                    <a:pt x="3145" y="3145"/>
                  </a:lnTo>
                  <a:lnTo>
                    <a:pt x="3145" y="3145"/>
                  </a:lnTo>
                  <a:lnTo>
                    <a:pt x="2592" y="2662"/>
                  </a:lnTo>
                  <a:lnTo>
                    <a:pt x="2108" y="2178"/>
                  </a:lnTo>
                  <a:lnTo>
                    <a:pt x="1659" y="1659"/>
                  </a:lnTo>
                  <a:lnTo>
                    <a:pt x="1244" y="1210"/>
                  </a:lnTo>
                  <a:lnTo>
                    <a:pt x="1244" y="1210"/>
                  </a:lnTo>
                  <a:lnTo>
                    <a:pt x="1106" y="1037"/>
                  </a:lnTo>
                  <a:lnTo>
                    <a:pt x="1002" y="830"/>
                  </a:lnTo>
                  <a:lnTo>
                    <a:pt x="864" y="485"/>
                  </a:lnTo>
                  <a:lnTo>
                    <a:pt x="760" y="312"/>
                  </a:lnTo>
                  <a:lnTo>
                    <a:pt x="657" y="208"/>
                  </a:lnTo>
                  <a:lnTo>
                    <a:pt x="518" y="104"/>
                  </a:lnTo>
                  <a:lnTo>
                    <a:pt x="346" y="35"/>
                  </a:lnTo>
                  <a:lnTo>
                    <a:pt x="346" y="35"/>
                  </a:lnTo>
                  <a:lnTo>
                    <a:pt x="24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0" name="Google Shape;2439;p11">
              <a:extLst>
                <a:ext uri="{FF2B5EF4-FFF2-40B4-BE49-F238E27FC236}">
                  <a16:creationId xmlns:a16="http://schemas.microsoft.com/office/drawing/2014/main" id="{34CF2FF2-85A3-070E-C3BA-69CE6F110E8C}"/>
                </a:ext>
              </a:extLst>
            </p:cNvPr>
            <p:cNvSpPr/>
            <p:nvPr/>
          </p:nvSpPr>
          <p:spPr>
            <a:xfrm>
              <a:off x="6111450" y="2136125"/>
              <a:ext cx="94175" cy="102825"/>
            </a:xfrm>
            <a:custGeom>
              <a:avLst/>
              <a:gdLst/>
              <a:ahLst/>
              <a:cxnLst/>
              <a:rect l="l" t="t" r="r" b="b"/>
              <a:pathLst>
                <a:path w="3767" h="4113" extrusionOk="0">
                  <a:moveTo>
                    <a:pt x="35" y="0"/>
                  </a:moveTo>
                  <a:lnTo>
                    <a:pt x="0" y="2350"/>
                  </a:lnTo>
                  <a:lnTo>
                    <a:pt x="380" y="2730"/>
                  </a:lnTo>
                  <a:lnTo>
                    <a:pt x="795" y="3041"/>
                  </a:lnTo>
                  <a:lnTo>
                    <a:pt x="1279" y="3352"/>
                  </a:lnTo>
                  <a:lnTo>
                    <a:pt x="1763" y="3594"/>
                  </a:lnTo>
                  <a:lnTo>
                    <a:pt x="2246" y="3802"/>
                  </a:lnTo>
                  <a:lnTo>
                    <a:pt x="2765" y="3940"/>
                  </a:lnTo>
                  <a:lnTo>
                    <a:pt x="3249" y="4044"/>
                  </a:lnTo>
                  <a:lnTo>
                    <a:pt x="3767" y="4113"/>
                  </a:lnTo>
                  <a:lnTo>
                    <a:pt x="3041" y="2938"/>
                  </a:lnTo>
                  <a:lnTo>
                    <a:pt x="2799" y="2523"/>
                  </a:lnTo>
                  <a:lnTo>
                    <a:pt x="2557" y="2074"/>
                  </a:lnTo>
                  <a:lnTo>
                    <a:pt x="2281" y="1452"/>
                  </a:lnTo>
                  <a:lnTo>
                    <a:pt x="1693" y="1175"/>
                  </a:lnTo>
                  <a:lnTo>
                    <a:pt x="1141" y="830"/>
                  </a:lnTo>
                  <a:lnTo>
                    <a:pt x="588" y="415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B94A6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1" name="Google Shape;2440;p11">
              <a:extLst>
                <a:ext uri="{FF2B5EF4-FFF2-40B4-BE49-F238E27FC236}">
                  <a16:creationId xmlns:a16="http://schemas.microsoft.com/office/drawing/2014/main" id="{AEC0A23F-E049-E214-A5C7-AC9AA1263D9A}"/>
                </a:ext>
              </a:extLst>
            </p:cNvPr>
            <p:cNvSpPr/>
            <p:nvPr/>
          </p:nvSpPr>
          <p:spPr>
            <a:xfrm>
              <a:off x="6111450" y="2136125"/>
              <a:ext cx="94175" cy="102825"/>
            </a:xfrm>
            <a:custGeom>
              <a:avLst/>
              <a:gdLst/>
              <a:ahLst/>
              <a:cxnLst/>
              <a:rect l="l" t="t" r="r" b="b"/>
              <a:pathLst>
                <a:path w="3767" h="4113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2350"/>
                  </a:lnTo>
                  <a:lnTo>
                    <a:pt x="0" y="2350"/>
                  </a:lnTo>
                  <a:lnTo>
                    <a:pt x="380" y="2730"/>
                  </a:lnTo>
                  <a:lnTo>
                    <a:pt x="795" y="3041"/>
                  </a:lnTo>
                  <a:lnTo>
                    <a:pt x="795" y="3041"/>
                  </a:lnTo>
                  <a:lnTo>
                    <a:pt x="1279" y="3352"/>
                  </a:lnTo>
                  <a:lnTo>
                    <a:pt x="1763" y="3594"/>
                  </a:lnTo>
                  <a:lnTo>
                    <a:pt x="2246" y="3802"/>
                  </a:lnTo>
                  <a:lnTo>
                    <a:pt x="2765" y="3940"/>
                  </a:lnTo>
                  <a:lnTo>
                    <a:pt x="2765" y="3940"/>
                  </a:lnTo>
                  <a:lnTo>
                    <a:pt x="3249" y="4044"/>
                  </a:lnTo>
                  <a:lnTo>
                    <a:pt x="3767" y="4113"/>
                  </a:lnTo>
                  <a:lnTo>
                    <a:pt x="3767" y="4113"/>
                  </a:lnTo>
                  <a:lnTo>
                    <a:pt x="3041" y="2938"/>
                  </a:lnTo>
                  <a:lnTo>
                    <a:pt x="3041" y="2938"/>
                  </a:lnTo>
                  <a:lnTo>
                    <a:pt x="2799" y="2523"/>
                  </a:lnTo>
                  <a:lnTo>
                    <a:pt x="2557" y="2074"/>
                  </a:lnTo>
                  <a:lnTo>
                    <a:pt x="2281" y="1452"/>
                  </a:lnTo>
                  <a:lnTo>
                    <a:pt x="2281" y="1452"/>
                  </a:lnTo>
                  <a:lnTo>
                    <a:pt x="1693" y="1175"/>
                  </a:lnTo>
                  <a:lnTo>
                    <a:pt x="1141" y="830"/>
                  </a:lnTo>
                  <a:lnTo>
                    <a:pt x="1141" y="830"/>
                  </a:lnTo>
                  <a:lnTo>
                    <a:pt x="588" y="415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2" name="Google Shape;2441;p11">
              <a:extLst>
                <a:ext uri="{FF2B5EF4-FFF2-40B4-BE49-F238E27FC236}">
                  <a16:creationId xmlns:a16="http://schemas.microsoft.com/office/drawing/2014/main" id="{2E9C2B1C-4DC0-6691-2A08-D5AAEC74636E}"/>
                </a:ext>
              </a:extLst>
            </p:cNvPr>
            <p:cNvSpPr/>
            <p:nvPr/>
          </p:nvSpPr>
          <p:spPr>
            <a:xfrm>
              <a:off x="6168450" y="2172400"/>
              <a:ext cx="256625" cy="76050"/>
            </a:xfrm>
            <a:custGeom>
              <a:avLst/>
              <a:gdLst/>
              <a:ahLst/>
              <a:cxnLst/>
              <a:rect l="l" t="t" r="r" b="b"/>
              <a:pathLst>
                <a:path w="10265" h="3042" extrusionOk="0">
                  <a:moveTo>
                    <a:pt x="1" y="1"/>
                  </a:moveTo>
                  <a:lnTo>
                    <a:pt x="277" y="623"/>
                  </a:lnTo>
                  <a:lnTo>
                    <a:pt x="519" y="1072"/>
                  </a:lnTo>
                  <a:lnTo>
                    <a:pt x="761" y="1487"/>
                  </a:lnTo>
                  <a:lnTo>
                    <a:pt x="1487" y="2662"/>
                  </a:lnTo>
                  <a:lnTo>
                    <a:pt x="2454" y="2765"/>
                  </a:lnTo>
                  <a:lnTo>
                    <a:pt x="3560" y="2834"/>
                  </a:lnTo>
                  <a:lnTo>
                    <a:pt x="5910" y="2938"/>
                  </a:lnTo>
                  <a:lnTo>
                    <a:pt x="8225" y="2973"/>
                  </a:lnTo>
                  <a:lnTo>
                    <a:pt x="10264" y="3042"/>
                  </a:lnTo>
                  <a:lnTo>
                    <a:pt x="9642" y="2109"/>
                  </a:lnTo>
                  <a:lnTo>
                    <a:pt x="8986" y="1348"/>
                  </a:lnTo>
                  <a:lnTo>
                    <a:pt x="8605" y="865"/>
                  </a:lnTo>
                  <a:lnTo>
                    <a:pt x="8156" y="174"/>
                  </a:lnTo>
                  <a:lnTo>
                    <a:pt x="6981" y="312"/>
                  </a:lnTo>
                  <a:lnTo>
                    <a:pt x="5668" y="450"/>
                  </a:lnTo>
                  <a:lnTo>
                    <a:pt x="4286" y="519"/>
                  </a:lnTo>
                  <a:lnTo>
                    <a:pt x="2973" y="554"/>
                  </a:lnTo>
                  <a:lnTo>
                    <a:pt x="1867" y="519"/>
                  </a:lnTo>
                  <a:lnTo>
                    <a:pt x="1418" y="450"/>
                  </a:lnTo>
                  <a:lnTo>
                    <a:pt x="1072" y="381"/>
                  </a:lnTo>
                  <a:lnTo>
                    <a:pt x="554" y="20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94A6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3" name="Google Shape;2442;p11">
              <a:extLst>
                <a:ext uri="{FF2B5EF4-FFF2-40B4-BE49-F238E27FC236}">
                  <a16:creationId xmlns:a16="http://schemas.microsoft.com/office/drawing/2014/main" id="{36229B04-9EFD-C013-9C36-58FBA614ADE1}"/>
                </a:ext>
              </a:extLst>
            </p:cNvPr>
            <p:cNvSpPr/>
            <p:nvPr/>
          </p:nvSpPr>
          <p:spPr>
            <a:xfrm>
              <a:off x="6168450" y="2172400"/>
              <a:ext cx="256625" cy="76050"/>
            </a:xfrm>
            <a:custGeom>
              <a:avLst/>
              <a:gdLst/>
              <a:ahLst/>
              <a:cxnLst/>
              <a:rect l="l" t="t" r="r" b="b"/>
              <a:pathLst>
                <a:path w="10265" h="3042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277" y="623"/>
                  </a:lnTo>
                  <a:lnTo>
                    <a:pt x="519" y="1072"/>
                  </a:lnTo>
                  <a:lnTo>
                    <a:pt x="761" y="1487"/>
                  </a:lnTo>
                  <a:lnTo>
                    <a:pt x="761" y="1487"/>
                  </a:lnTo>
                  <a:lnTo>
                    <a:pt x="1487" y="2662"/>
                  </a:lnTo>
                  <a:lnTo>
                    <a:pt x="1487" y="2662"/>
                  </a:lnTo>
                  <a:lnTo>
                    <a:pt x="2454" y="2765"/>
                  </a:lnTo>
                  <a:lnTo>
                    <a:pt x="3560" y="2834"/>
                  </a:lnTo>
                  <a:lnTo>
                    <a:pt x="5910" y="2938"/>
                  </a:lnTo>
                  <a:lnTo>
                    <a:pt x="8225" y="2973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10264" y="3042"/>
                  </a:lnTo>
                  <a:lnTo>
                    <a:pt x="9642" y="2109"/>
                  </a:lnTo>
                  <a:lnTo>
                    <a:pt x="9642" y="2109"/>
                  </a:lnTo>
                  <a:lnTo>
                    <a:pt x="8986" y="1348"/>
                  </a:lnTo>
                  <a:lnTo>
                    <a:pt x="8605" y="865"/>
                  </a:lnTo>
                  <a:lnTo>
                    <a:pt x="8156" y="174"/>
                  </a:lnTo>
                  <a:lnTo>
                    <a:pt x="8156" y="174"/>
                  </a:lnTo>
                  <a:lnTo>
                    <a:pt x="6981" y="312"/>
                  </a:lnTo>
                  <a:lnTo>
                    <a:pt x="5668" y="450"/>
                  </a:lnTo>
                  <a:lnTo>
                    <a:pt x="4286" y="519"/>
                  </a:lnTo>
                  <a:lnTo>
                    <a:pt x="2973" y="554"/>
                  </a:lnTo>
                  <a:lnTo>
                    <a:pt x="2973" y="554"/>
                  </a:lnTo>
                  <a:lnTo>
                    <a:pt x="1867" y="519"/>
                  </a:lnTo>
                  <a:lnTo>
                    <a:pt x="1418" y="450"/>
                  </a:lnTo>
                  <a:lnTo>
                    <a:pt x="1072" y="381"/>
                  </a:lnTo>
                  <a:lnTo>
                    <a:pt x="1072" y="381"/>
                  </a:lnTo>
                  <a:lnTo>
                    <a:pt x="554" y="208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4" name="Google Shape;2443;p11">
              <a:extLst>
                <a:ext uri="{FF2B5EF4-FFF2-40B4-BE49-F238E27FC236}">
                  <a16:creationId xmlns:a16="http://schemas.microsoft.com/office/drawing/2014/main" id="{85E87A7D-6518-2A6F-29DD-DC50076402EA}"/>
                </a:ext>
              </a:extLst>
            </p:cNvPr>
            <p:cNvSpPr/>
            <p:nvPr/>
          </p:nvSpPr>
          <p:spPr>
            <a:xfrm>
              <a:off x="6019000" y="2038500"/>
              <a:ext cx="1054850" cy="372375"/>
            </a:xfrm>
            <a:custGeom>
              <a:avLst/>
              <a:gdLst/>
              <a:ahLst/>
              <a:cxnLst/>
              <a:rect l="l" t="t" r="r" b="b"/>
              <a:pathLst>
                <a:path w="42194" h="14895" extrusionOk="0">
                  <a:moveTo>
                    <a:pt x="934" y="1"/>
                  </a:moveTo>
                  <a:lnTo>
                    <a:pt x="692" y="35"/>
                  </a:lnTo>
                  <a:lnTo>
                    <a:pt x="519" y="104"/>
                  </a:lnTo>
                  <a:lnTo>
                    <a:pt x="381" y="208"/>
                  </a:lnTo>
                  <a:lnTo>
                    <a:pt x="243" y="312"/>
                  </a:lnTo>
                  <a:lnTo>
                    <a:pt x="173" y="450"/>
                  </a:lnTo>
                  <a:lnTo>
                    <a:pt x="104" y="588"/>
                  </a:lnTo>
                  <a:lnTo>
                    <a:pt x="70" y="726"/>
                  </a:lnTo>
                  <a:lnTo>
                    <a:pt x="1" y="1003"/>
                  </a:lnTo>
                  <a:lnTo>
                    <a:pt x="1" y="1314"/>
                  </a:lnTo>
                  <a:lnTo>
                    <a:pt x="1" y="1486"/>
                  </a:lnTo>
                  <a:lnTo>
                    <a:pt x="35" y="1590"/>
                  </a:lnTo>
                  <a:lnTo>
                    <a:pt x="104" y="1694"/>
                  </a:lnTo>
                  <a:lnTo>
                    <a:pt x="208" y="1763"/>
                  </a:lnTo>
                  <a:lnTo>
                    <a:pt x="484" y="1867"/>
                  </a:lnTo>
                  <a:lnTo>
                    <a:pt x="692" y="1867"/>
                  </a:lnTo>
                  <a:lnTo>
                    <a:pt x="899" y="1797"/>
                  </a:lnTo>
                  <a:lnTo>
                    <a:pt x="1072" y="1728"/>
                  </a:lnTo>
                  <a:lnTo>
                    <a:pt x="1141" y="1763"/>
                  </a:lnTo>
                  <a:lnTo>
                    <a:pt x="1245" y="1867"/>
                  </a:lnTo>
                  <a:lnTo>
                    <a:pt x="1590" y="2350"/>
                  </a:lnTo>
                  <a:lnTo>
                    <a:pt x="2109" y="3076"/>
                  </a:lnTo>
                  <a:lnTo>
                    <a:pt x="2765" y="3905"/>
                  </a:lnTo>
                  <a:lnTo>
                    <a:pt x="3145" y="4355"/>
                  </a:lnTo>
                  <a:lnTo>
                    <a:pt x="3560" y="4804"/>
                  </a:lnTo>
                  <a:lnTo>
                    <a:pt x="4009" y="5219"/>
                  </a:lnTo>
                  <a:lnTo>
                    <a:pt x="4493" y="5599"/>
                  </a:lnTo>
                  <a:lnTo>
                    <a:pt x="5011" y="5979"/>
                  </a:lnTo>
                  <a:lnTo>
                    <a:pt x="5564" y="6290"/>
                  </a:lnTo>
                  <a:lnTo>
                    <a:pt x="6117" y="6532"/>
                  </a:lnTo>
                  <a:lnTo>
                    <a:pt x="6428" y="6635"/>
                  </a:lnTo>
                  <a:lnTo>
                    <a:pt x="6739" y="6704"/>
                  </a:lnTo>
                  <a:lnTo>
                    <a:pt x="7327" y="6843"/>
                  </a:lnTo>
                  <a:lnTo>
                    <a:pt x="7983" y="6912"/>
                  </a:lnTo>
                  <a:lnTo>
                    <a:pt x="8640" y="6981"/>
                  </a:lnTo>
                  <a:lnTo>
                    <a:pt x="9365" y="7015"/>
                  </a:lnTo>
                  <a:lnTo>
                    <a:pt x="10920" y="7085"/>
                  </a:lnTo>
                  <a:lnTo>
                    <a:pt x="12476" y="7085"/>
                  </a:lnTo>
                  <a:lnTo>
                    <a:pt x="14031" y="7119"/>
                  </a:lnTo>
                  <a:lnTo>
                    <a:pt x="15516" y="7154"/>
                  </a:lnTo>
                  <a:lnTo>
                    <a:pt x="16173" y="7223"/>
                  </a:lnTo>
                  <a:lnTo>
                    <a:pt x="16795" y="7257"/>
                  </a:lnTo>
                  <a:lnTo>
                    <a:pt x="17383" y="7361"/>
                  </a:lnTo>
                  <a:lnTo>
                    <a:pt x="17901" y="7465"/>
                  </a:lnTo>
                  <a:lnTo>
                    <a:pt x="18385" y="7638"/>
                  </a:lnTo>
                  <a:lnTo>
                    <a:pt x="18868" y="7845"/>
                  </a:lnTo>
                  <a:lnTo>
                    <a:pt x="19352" y="8156"/>
                  </a:lnTo>
                  <a:lnTo>
                    <a:pt x="19871" y="8501"/>
                  </a:lnTo>
                  <a:lnTo>
                    <a:pt x="20389" y="8916"/>
                  </a:lnTo>
                  <a:lnTo>
                    <a:pt x="20907" y="9331"/>
                  </a:lnTo>
                  <a:lnTo>
                    <a:pt x="22013" y="10264"/>
                  </a:lnTo>
                  <a:lnTo>
                    <a:pt x="23188" y="11197"/>
                  </a:lnTo>
                  <a:lnTo>
                    <a:pt x="23775" y="11681"/>
                  </a:lnTo>
                  <a:lnTo>
                    <a:pt x="24432" y="12130"/>
                  </a:lnTo>
                  <a:lnTo>
                    <a:pt x="25054" y="12510"/>
                  </a:lnTo>
                  <a:lnTo>
                    <a:pt x="25745" y="12890"/>
                  </a:lnTo>
                  <a:lnTo>
                    <a:pt x="26436" y="13201"/>
                  </a:lnTo>
                  <a:lnTo>
                    <a:pt x="27162" y="13478"/>
                  </a:lnTo>
                  <a:lnTo>
                    <a:pt x="27680" y="13616"/>
                  </a:lnTo>
                  <a:lnTo>
                    <a:pt x="28337" y="13754"/>
                  </a:lnTo>
                  <a:lnTo>
                    <a:pt x="29996" y="14030"/>
                  </a:lnTo>
                  <a:lnTo>
                    <a:pt x="31965" y="14307"/>
                  </a:lnTo>
                  <a:lnTo>
                    <a:pt x="34039" y="14514"/>
                  </a:lnTo>
                  <a:lnTo>
                    <a:pt x="36078" y="14722"/>
                  </a:lnTo>
                  <a:lnTo>
                    <a:pt x="37874" y="14825"/>
                  </a:lnTo>
                  <a:lnTo>
                    <a:pt x="39222" y="14894"/>
                  </a:lnTo>
                  <a:lnTo>
                    <a:pt x="39706" y="14894"/>
                  </a:lnTo>
                  <a:lnTo>
                    <a:pt x="40017" y="14860"/>
                  </a:lnTo>
                  <a:lnTo>
                    <a:pt x="40397" y="14722"/>
                  </a:lnTo>
                  <a:lnTo>
                    <a:pt x="40777" y="14583"/>
                  </a:lnTo>
                  <a:lnTo>
                    <a:pt x="41157" y="14376"/>
                  </a:lnTo>
                  <a:lnTo>
                    <a:pt x="41468" y="14134"/>
                  </a:lnTo>
                  <a:lnTo>
                    <a:pt x="41710" y="13892"/>
                  </a:lnTo>
                  <a:lnTo>
                    <a:pt x="41918" y="13650"/>
                  </a:lnTo>
                  <a:lnTo>
                    <a:pt x="42090" y="13408"/>
                  </a:lnTo>
                  <a:lnTo>
                    <a:pt x="42159" y="13167"/>
                  </a:lnTo>
                  <a:lnTo>
                    <a:pt x="42194" y="13063"/>
                  </a:lnTo>
                  <a:lnTo>
                    <a:pt x="42159" y="12959"/>
                  </a:lnTo>
                  <a:lnTo>
                    <a:pt x="42125" y="12856"/>
                  </a:lnTo>
                  <a:lnTo>
                    <a:pt x="42090" y="12752"/>
                  </a:lnTo>
                  <a:lnTo>
                    <a:pt x="41918" y="12545"/>
                  </a:lnTo>
                  <a:lnTo>
                    <a:pt x="41676" y="12337"/>
                  </a:lnTo>
                  <a:lnTo>
                    <a:pt x="41365" y="12164"/>
                  </a:lnTo>
                  <a:lnTo>
                    <a:pt x="40950" y="11957"/>
                  </a:lnTo>
                  <a:lnTo>
                    <a:pt x="40501" y="11784"/>
                  </a:lnTo>
                  <a:lnTo>
                    <a:pt x="39982" y="11611"/>
                  </a:lnTo>
                  <a:lnTo>
                    <a:pt x="39671" y="11508"/>
                  </a:lnTo>
                  <a:lnTo>
                    <a:pt x="39257" y="11473"/>
                  </a:lnTo>
                  <a:lnTo>
                    <a:pt x="38185" y="11473"/>
                  </a:lnTo>
                  <a:lnTo>
                    <a:pt x="36803" y="11508"/>
                  </a:lnTo>
                  <a:lnTo>
                    <a:pt x="35214" y="11577"/>
                  </a:lnTo>
                  <a:lnTo>
                    <a:pt x="33451" y="11577"/>
                  </a:lnTo>
                  <a:lnTo>
                    <a:pt x="32518" y="11542"/>
                  </a:lnTo>
                  <a:lnTo>
                    <a:pt x="31585" y="11473"/>
                  </a:lnTo>
                  <a:lnTo>
                    <a:pt x="30652" y="11335"/>
                  </a:lnTo>
                  <a:lnTo>
                    <a:pt x="29685" y="11197"/>
                  </a:lnTo>
                  <a:lnTo>
                    <a:pt x="28752" y="10955"/>
                  </a:lnTo>
                  <a:lnTo>
                    <a:pt x="27819" y="10678"/>
                  </a:lnTo>
                  <a:lnTo>
                    <a:pt x="26955" y="10367"/>
                  </a:lnTo>
                  <a:lnTo>
                    <a:pt x="26160" y="9987"/>
                  </a:lnTo>
                  <a:lnTo>
                    <a:pt x="25469" y="9607"/>
                  </a:lnTo>
                  <a:lnTo>
                    <a:pt x="24812" y="9193"/>
                  </a:lnTo>
                  <a:lnTo>
                    <a:pt x="24259" y="8778"/>
                  </a:lnTo>
                  <a:lnTo>
                    <a:pt x="23741" y="8329"/>
                  </a:lnTo>
                  <a:lnTo>
                    <a:pt x="23257" y="7879"/>
                  </a:lnTo>
                  <a:lnTo>
                    <a:pt x="22808" y="7430"/>
                  </a:lnTo>
                  <a:lnTo>
                    <a:pt x="21944" y="6532"/>
                  </a:lnTo>
                  <a:lnTo>
                    <a:pt x="21529" y="6117"/>
                  </a:lnTo>
                  <a:lnTo>
                    <a:pt x="21080" y="5702"/>
                  </a:lnTo>
                  <a:lnTo>
                    <a:pt x="20596" y="5322"/>
                  </a:lnTo>
                  <a:lnTo>
                    <a:pt x="20112" y="4977"/>
                  </a:lnTo>
                  <a:lnTo>
                    <a:pt x="19560" y="4666"/>
                  </a:lnTo>
                  <a:lnTo>
                    <a:pt x="18972" y="4389"/>
                  </a:lnTo>
                  <a:lnTo>
                    <a:pt x="18627" y="4286"/>
                  </a:lnTo>
                  <a:lnTo>
                    <a:pt x="18281" y="4182"/>
                  </a:lnTo>
                  <a:lnTo>
                    <a:pt x="17590" y="4044"/>
                  </a:lnTo>
                  <a:lnTo>
                    <a:pt x="16830" y="3975"/>
                  </a:lnTo>
                  <a:lnTo>
                    <a:pt x="16035" y="3940"/>
                  </a:lnTo>
                  <a:lnTo>
                    <a:pt x="15240" y="3975"/>
                  </a:lnTo>
                  <a:lnTo>
                    <a:pt x="14411" y="4044"/>
                  </a:lnTo>
                  <a:lnTo>
                    <a:pt x="12752" y="4251"/>
                  </a:lnTo>
                  <a:lnTo>
                    <a:pt x="11128" y="4458"/>
                  </a:lnTo>
                  <a:lnTo>
                    <a:pt x="9642" y="4666"/>
                  </a:lnTo>
                  <a:lnTo>
                    <a:pt x="8985" y="4735"/>
                  </a:lnTo>
                  <a:lnTo>
                    <a:pt x="8363" y="4735"/>
                  </a:lnTo>
                  <a:lnTo>
                    <a:pt x="7810" y="4700"/>
                  </a:lnTo>
                  <a:lnTo>
                    <a:pt x="7327" y="4631"/>
                  </a:lnTo>
                  <a:lnTo>
                    <a:pt x="6877" y="4493"/>
                  </a:lnTo>
                  <a:lnTo>
                    <a:pt x="6463" y="4320"/>
                  </a:lnTo>
                  <a:lnTo>
                    <a:pt x="6083" y="4147"/>
                  </a:lnTo>
                  <a:lnTo>
                    <a:pt x="5668" y="3940"/>
                  </a:lnTo>
                  <a:lnTo>
                    <a:pt x="4942" y="3491"/>
                  </a:lnTo>
                  <a:lnTo>
                    <a:pt x="4251" y="3007"/>
                  </a:lnTo>
                  <a:lnTo>
                    <a:pt x="3629" y="2454"/>
                  </a:lnTo>
                  <a:lnTo>
                    <a:pt x="3076" y="1901"/>
                  </a:lnTo>
                  <a:lnTo>
                    <a:pt x="2558" y="1348"/>
                  </a:lnTo>
                  <a:lnTo>
                    <a:pt x="2074" y="830"/>
                  </a:lnTo>
                  <a:lnTo>
                    <a:pt x="1867" y="519"/>
                  </a:lnTo>
                  <a:lnTo>
                    <a:pt x="1694" y="277"/>
                  </a:lnTo>
                  <a:lnTo>
                    <a:pt x="1590" y="208"/>
                  </a:lnTo>
                  <a:lnTo>
                    <a:pt x="1487" y="139"/>
                  </a:lnTo>
                  <a:lnTo>
                    <a:pt x="1348" y="70"/>
                  </a:lnTo>
                  <a:lnTo>
                    <a:pt x="1176" y="35"/>
                  </a:lnTo>
                  <a:lnTo>
                    <a:pt x="934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5" name="Google Shape;2444;p11">
              <a:extLst>
                <a:ext uri="{FF2B5EF4-FFF2-40B4-BE49-F238E27FC236}">
                  <a16:creationId xmlns:a16="http://schemas.microsoft.com/office/drawing/2014/main" id="{785DCFF0-D73D-B9FE-9C95-7D1BB8AC031E}"/>
                </a:ext>
              </a:extLst>
            </p:cNvPr>
            <p:cNvSpPr/>
            <p:nvPr/>
          </p:nvSpPr>
          <p:spPr>
            <a:xfrm>
              <a:off x="546150" y="5054400"/>
              <a:ext cx="1569725" cy="83825"/>
            </a:xfrm>
            <a:custGeom>
              <a:avLst/>
              <a:gdLst/>
              <a:ahLst/>
              <a:cxnLst/>
              <a:rect l="l" t="t" r="r" b="b"/>
              <a:pathLst>
                <a:path w="62789" h="3353" extrusionOk="0">
                  <a:moveTo>
                    <a:pt x="31896" y="1"/>
                  </a:moveTo>
                  <a:lnTo>
                    <a:pt x="25606" y="35"/>
                  </a:lnTo>
                  <a:lnTo>
                    <a:pt x="19697" y="105"/>
                  </a:lnTo>
                  <a:lnTo>
                    <a:pt x="14272" y="208"/>
                  </a:lnTo>
                  <a:lnTo>
                    <a:pt x="9538" y="346"/>
                  </a:lnTo>
                  <a:lnTo>
                    <a:pt x="7430" y="416"/>
                  </a:lnTo>
                  <a:lnTo>
                    <a:pt x="5564" y="519"/>
                  </a:lnTo>
                  <a:lnTo>
                    <a:pt x="3939" y="623"/>
                  </a:lnTo>
                  <a:lnTo>
                    <a:pt x="2557" y="761"/>
                  </a:lnTo>
                  <a:lnTo>
                    <a:pt x="1451" y="899"/>
                  </a:lnTo>
                  <a:lnTo>
                    <a:pt x="657" y="1038"/>
                  </a:lnTo>
                  <a:lnTo>
                    <a:pt x="380" y="1107"/>
                  </a:lnTo>
                  <a:lnTo>
                    <a:pt x="173" y="1210"/>
                  </a:lnTo>
                  <a:lnTo>
                    <a:pt x="35" y="1280"/>
                  </a:lnTo>
                  <a:lnTo>
                    <a:pt x="0" y="1349"/>
                  </a:lnTo>
                  <a:lnTo>
                    <a:pt x="35" y="1452"/>
                  </a:lnTo>
                  <a:lnTo>
                    <a:pt x="173" y="1521"/>
                  </a:lnTo>
                  <a:lnTo>
                    <a:pt x="380" y="1625"/>
                  </a:lnTo>
                  <a:lnTo>
                    <a:pt x="657" y="1729"/>
                  </a:lnTo>
                  <a:lnTo>
                    <a:pt x="1451" y="1902"/>
                  </a:lnTo>
                  <a:lnTo>
                    <a:pt x="2557" y="2074"/>
                  </a:lnTo>
                  <a:lnTo>
                    <a:pt x="3939" y="2247"/>
                  </a:lnTo>
                  <a:lnTo>
                    <a:pt x="5564" y="2385"/>
                  </a:lnTo>
                  <a:lnTo>
                    <a:pt x="7430" y="2558"/>
                  </a:lnTo>
                  <a:lnTo>
                    <a:pt x="9538" y="2696"/>
                  </a:lnTo>
                  <a:lnTo>
                    <a:pt x="11818" y="2835"/>
                  </a:lnTo>
                  <a:lnTo>
                    <a:pt x="14272" y="2973"/>
                  </a:lnTo>
                  <a:lnTo>
                    <a:pt x="16933" y="3076"/>
                  </a:lnTo>
                  <a:lnTo>
                    <a:pt x="19697" y="3180"/>
                  </a:lnTo>
                  <a:lnTo>
                    <a:pt x="22600" y="3249"/>
                  </a:lnTo>
                  <a:lnTo>
                    <a:pt x="25606" y="3318"/>
                  </a:lnTo>
                  <a:lnTo>
                    <a:pt x="28716" y="3353"/>
                  </a:lnTo>
                  <a:lnTo>
                    <a:pt x="31896" y="3353"/>
                  </a:lnTo>
                  <a:lnTo>
                    <a:pt x="38116" y="3318"/>
                  </a:lnTo>
                  <a:lnTo>
                    <a:pt x="43921" y="3215"/>
                  </a:lnTo>
                  <a:lnTo>
                    <a:pt x="49174" y="3076"/>
                  </a:lnTo>
                  <a:lnTo>
                    <a:pt x="53735" y="2869"/>
                  </a:lnTo>
                  <a:lnTo>
                    <a:pt x="55739" y="2765"/>
                  </a:lnTo>
                  <a:lnTo>
                    <a:pt x="57536" y="2627"/>
                  </a:lnTo>
                  <a:lnTo>
                    <a:pt x="59057" y="2489"/>
                  </a:lnTo>
                  <a:lnTo>
                    <a:pt x="60370" y="2351"/>
                  </a:lnTo>
                  <a:lnTo>
                    <a:pt x="61407" y="2178"/>
                  </a:lnTo>
                  <a:lnTo>
                    <a:pt x="62167" y="2040"/>
                  </a:lnTo>
                  <a:lnTo>
                    <a:pt x="62443" y="1936"/>
                  </a:lnTo>
                  <a:lnTo>
                    <a:pt x="62651" y="1867"/>
                  </a:lnTo>
                  <a:lnTo>
                    <a:pt x="62754" y="1763"/>
                  </a:lnTo>
                  <a:lnTo>
                    <a:pt x="62789" y="1694"/>
                  </a:lnTo>
                  <a:lnTo>
                    <a:pt x="62754" y="1591"/>
                  </a:lnTo>
                  <a:lnTo>
                    <a:pt x="62651" y="1521"/>
                  </a:lnTo>
                  <a:lnTo>
                    <a:pt x="62443" y="1418"/>
                  </a:lnTo>
                  <a:lnTo>
                    <a:pt x="62167" y="1349"/>
                  </a:lnTo>
                  <a:lnTo>
                    <a:pt x="61407" y="1176"/>
                  </a:lnTo>
                  <a:lnTo>
                    <a:pt x="60370" y="1038"/>
                  </a:lnTo>
                  <a:lnTo>
                    <a:pt x="59057" y="899"/>
                  </a:lnTo>
                  <a:lnTo>
                    <a:pt x="57536" y="761"/>
                  </a:lnTo>
                  <a:lnTo>
                    <a:pt x="55739" y="623"/>
                  </a:lnTo>
                  <a:lnTo>
                    <a:pt x="53735" y="485"/>
                  </a:lnTo>
                  <a:lnTo>
                    <a:pt x="49174" y="312"/>
                  </a:lnTo>
                  <a:lnTo>
                    <a:pt x="43921" y="139"/>
                  </a:lnTo>
                  <a:lnTo>
                    <a:pt x="38116" y="35"/>
                  </a:lnTo>
                  <a:lnTo>
                    <a:pt x="31896" y="1"/>
                  </a:lnTo>
                  <a:close/>
                </a:path>
              </a:pathLst>
            </a:custGeom>
            <a:solidFill>
              <a:srgbClr val="E6E6E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6" name="Google Shape;2445;p11">
              <a:extLst>
                <a:ext uri="{FF2B5EF4-FFF2-40B4-BE49-F238E27FC236}">
                  <a16:creationId xmlns:a16="http://schemas.microsoft.com/office/drawing/2014/main" id="{92FD8176-7920-F372-F40C-FA19F74E07EB}"/>
                </a:ext>
              </a:extLst>
            </p:cNvPr>
            <p:cNvSpPr/>
            <p:nvPr/>
          </p:nvSpPr>
          <p:spPr>
            <a:xfrm>
              <a:off x="546150" y="5054400"/>
              <a:ext cx="1569725" cy="83825"/>
            </a:xfrm>
            <a:custGeom>
              <a:avLst/>
              <a:gdLst/>
              <a:ahLst/>
              <a:cxnLst/>
              <a:rect l="l" t="t" r="r" b="b"/>
              <a:pathLst>
                <a:path w="62789" h="3353" fill="none" extrusionOk="0">
                  <a:moveTo>
                    <a:pt x="31896" y="1"/>
                  </a:moveTo>
                  <a:lnTo>
                    <a:pt x="31896" y="1"/>
                  </a:lnTo>
                  <a:lnTo>
                    <a:pt x="25606" y="35"/>
                  </a:lnTo>
                  <a:lnTo>
                    <a:pt x="19697" y="105"/>
                  </a:lnTo>
                  <a:lnTo>
                    <a:pt x="14272" y="208"/>
                  </a:lnTo>
                  <a:lnTo>
                    <a:pt x="9538" y="346"/>
                  </a:lnTo>
                  <a:lnTo>
                    <a:pt x="7430" y="416"/>
                  </a:lnTo>
                  <a:lnTo>
                    <a:pt x="5564" y="519"/>
                  </a:lnTo>
                  <a:lnTo>
                    <a:pt x="3939" y="623"/>
                  </a:lnTo>
                  <a:lnTo>
                    <a:pt x="2557" y="761"/>
                  </a:lnTo>
                  <a:lnTo>
                    <a:pt x="1451" y="899"/>
                  </a:lnTo>
                  <a:lnTo>
                    <a:pt x="657" y="1038"/>
                  </a:lnTo>
                  <a:lnTo>
                    <a:pt x="380" y="1107"/>
                  </a:lnTo>
                  <a:lnTo>
                    <a:pt x="173" y="1210"/>
                  </a:lnTo>
                  <a:lnTo>
                    <a:pt x="35" y="1280"/>
                  </a:lnTo>
                  <a:lnTo>
                    <a:pt x="0" y="1349"/>
                  </a:lnTo>
                  <a:lnTo>
                    <a:pt x="0" y="1349"/>
                  </a:lnTo>
                  <a:lnTo>
                    <a:pt x="35" y="1452"/>
                  </a:lnTo>
                  <a:lnTo>
                    <a:pt x="173" y="1521"/>
                  </a:lnTo>
                  <a:lnTo>
                    <a:pt x="380" y="1625"/>
                  </a:lnTo>
                  <a:lnTo>
                    <a:pt x="657" y="1729"/>
                  </a:lnTo>
                  <a:lnTo>
                    <a:pt x="1451" y="1902"/>
                  </a:lnTo>
                  <a:lnTo>
                    <a:pt x="2557" y="2074"/>
                  </a:lnTo>
                  <a:lnTo>
                    <a:pt x="3939" y="2247"/>
                  </a:lnTo>
                  <a:lnTo>
                    <a:pt x="5564" y="2385"/>
                  </a:lnTo>
                  <a:lnTo>
                    <a:pt x="7430" y="2558"/>
                  </a:lnTo>
                  <a:lnTo>
                    <a:pt x="9538" y="2696"/>
                  </a:lnTo>
                  <a:lnTo>
                    <a:pt x="11818" y="2835"/>
                  </a:lnTo>
                  <a:lnTo>
                    <a:pt x="14272" y="2973"/>
                  </a:lnTo>
                  <a:lnTo>
                    <a:pt x="16933" y="3076"/>
                  </a:lnTo>
                  <a:lnTo>
                    <a:pt x="19697" y="3180"/>
                  </a:lnTo>
                  <a:lnTo>
                    <a:pt x="22600" y="3249"/>
                  </a:lnTo>
                  <a:lnTo>
                    <a:pt x="25606" y="3318"/>
                  </a:lnTo>
                  <a:lnTo>
                    <a:pt x="28716" y="3353"/>
                  </a:lnTo>
                  <a:lnTo>
                    <a:pt x="31896" y="3353"/>
                  </a:lnTo>
                  <a:lnTo>
                    <a:pt x="31896" y="3353"/>
                  </a:lnTo>
                  <a:lnTo>
                    <a:pt x="38116" y="3318"/>
                  </a:lnTo>
                  <a:lnTo>
                    <a:pt x="43921" y="3215"/>
                  </a:lnTo>
                  <a:lnTo>
                    <a:pt x="49174" y="3076"/>
                  </a:lnTo>
                  <a:lnTo>
                    <a:pt x="53735" y="2869"/>
                  </a:lnTo>
                  <a:lnTo>
                    <a:pt x="55739" y="2765"/>
                  </a:lnTo>
                  <a:lnTo>
                    <a:pt x="57536" y="2627"/>
                  </a:lnTo>
                  <a:lnTo>
                    <a:pt x="59057" y="2489"/>
                  </a:lnTo>
                  <a:lnTo>
                    <a:pt x="60370" y="2351"/>
                  </a:lnTo>
                  <a:lnTo>
                    <a:pt x="61407" y="2178"/>
                  </a:lnTo>
                  <a:lnTo>
                    <a:pt x="62167" y="2040"/>
                  </a:lnTo>
                  <a:lnTo>
                    <a:pt x="62443" y="1936"/>
                  </a:lnTo>
                  <a:lnTo>
                    <a:pt x="62651" y="1867"/>
                  </a:lnTo>
                  <a:lnTo>
                    <a:pt x="62754" y="1763"/>
                  </a:lnTo>
                  <a:lnTo>
                    <a:pt x="62789" y="1694"/>
                  </a:lnTo>
                  <a:lnTo>
                    <a:pt x="62789" y="1694"/>
                  </a:lnTo>
                  <a:lnTo>
                    <a:pt x="62754" y="1591"/>
                  </a:lnTo>
                  <a:lnTo>
                    <a:pt x="62651" y="1521"/>
                  </a:lnTo>
                  <a:lnTo>
                    <a:pt x="62443" y="1418"/>
                  </a:lnTo>
                  <a:lnTo>
                    <a:pt x="62167" y="1349"/>
                  </a:lnTo>
                  <a:lnTo>
                    <a:pt x="61407" y="1176"/>
                  </a:lnTo>
                  <a:lnTo>
                    <a:pt x="60370" y="1038"/>
                  </a:lnTo>
                  <a:lnTo>
                    <a:pt x="59057" y="899"/>
                  </a:lnTo>
                  <a:lnTo>
                    <a:pt x="57536" y="761"/>
                  </a:lnTo>
                  <a:lnTo>
                    <a:pt x="55739" y="623"/>
                  </a:lnTo>
                  <a:lnTo>
                    <a:pt x="53735" y="485"/>
                  </a:lnTo>
                  <a:lnTo>
                    <a:pt x="49174" y="312"/>
                  </a:lnTo>
                  <a:lnTo>
                    <a:pt x="43921" y="139"/>
                  </a:lnTo>
                  <a:lnTo>
                    <a:pt x="38116" y="35"/>
                  </a:lnTo>
                  <a:lnTo>
                    <a:pt x="3189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7" name="Google Shape;2446;p11">
              <a:extLst>
                <a:ext uri="{FF2B5EF4-FFF2-40B4-BE49-F238E27FC236}">
                  <a16:creationId xmlns:a16="http://schemas.microsoft.com/office/drawing/2014/main" id="{79065A27-AAE9-B2FC-9519-684DFFE81BDE}"/>
                </a:ext>
              </a:extLst>
            </p:cNvPr>
            <p:cNvSpPr/>
            <p:nvPr/>
          </p:nvSpPr>
          <p:spPr>
            <a:xfrm>
              <a:off x="1044625" y="3889000"/>
              <a:ext cx="301525" cy="1136925"/>
            </a:xfrm>
            <a:custGeom>
              <a:avLst/>
              <a:gdLst/>
              <a:ahLst/>
              <a:cxnLst/>
              <a:rect l="l" t="t" r="r" b="b"/>
              <a:pathLst>
                <a:path w="12061" h="45477" extrusionOk="0">
                  <a:moveTo>
                    <a:pt x="11058" y="0"/>
                  </a:moveTo>
                  <a:lnTo>
                    <a:pt x="10021" y="864"/>
                  </a:lnTo>
                  <a:lnTo>
                    <a:pt x="8916" y="1797"/>
                  </a:lnTo>
                  <a:lnTo>
                    <a:pt x="7672" y="2903"/>
                  </a:lnTo>
                  <a:lnTo>
                    <a:pt x="6358" y="4113"/>
                  </a:lnTo>
                  <a:lnTo>
                    <a:pt x="5771" y="4700"/>
                  </a:lnTo>
                  <a:lnTo>
                    <a:pt x="5218" y="5287"/>
                  </a:lnTo>
                  <a:lnTo>
                    <a:pt x="4734" y="5840"/>
                  </a:lnTo>
                  <a:lnTo>
                    <a:pt x="4320" y="6359"/>
                  </a:lnTo>
                  <a:lnTo>
                    <a:pt x="4009" y="6808"/>
                  </a:lnTo>
                  <a:lnTo>
                    <a:pt x="3905" y="7015"/>
                  </a:lnTo>
                  <a:lnTo>
                    <a:pt x="3836" y="7188"/>
                  </a:lnTo>
                  <a:lnTo>
                    <a:pt x="3767" y="7672"/>
                  </a:lnTo>
                  <a:lnTo>
                    <a:pt x="3663" y="8501"/>
                  </a:lnTo>
                  <a:lnTo>
                    <a:pt x="3628" y="9538"/>
                  </a:lnTo>
                  <a:lnTo>
                    <a:pt x="3559" y="10817"/>
                  </a:lnTo>
                  <a:lnTo>
                    <a:pt x="3490" y="13823"/>
                  </a:lnTo>
                  <a:lnTo>
                    <a:pt x="3490" y="17175"/>
                  </a:lnTo>
                  <a:lnTo>
                    <a:pt x="3490" y="23464"/>
                  </a:lnTo>
                  <a:lnTo>
                    <a:pt x="3456" y="25779"/>
                  </a:lnTo>
                  <a:lnTo>
                    <a:pt x="3421" y="27023"/>
                  </a:lnTo>
                  <a:lnTo>
                    <a:pt x="3317" y="27887"/>
                  </a:lnTo>
                  <a:lnTo>
                    <a:pt x="3179" y="29235"/>
                  </a:lnTo>
                  <a:lnTo>
                    <a:pt x="2937" y="30859"/>
                  </a:lnTo>
                  <a:lnTo>
                    <a:pt x="2661" y="32691"/>
                  </a:lnTo>
                  <a:lnTo>
                    <a:pt x="2350" y="34488"/>
                  </a:lnTo>
                  <a:lnTo>
                    <a:pt x="2039" y="36215"/>
                  </a:lnTo>
                  <a:lnTo>
                    <a:pt x="1693" y="37667"/>
                  </a:lnTo>
                  <a:lnTo>
                    <a:pt x="1521" y="38254"/>
                  </a:lnTo>
                  <a:lnTo>
                    <a:pt x="1348" y="38738"/>
                  </a:lnTo>
                  <a:lnTo>
                    <a:pt x="1037" y="39429"/>
                  </a:lnTo>
                  <a:lnTo>
                    <a:pt x="760" y="39913"/>
                  </a:lnTo>
                  <a:lnTo>
                    <a:pt x="553" y="40224"/>
                  </a:lnTo>
                  <a:lnTo>
                    <a:pt x="346" y="40466"/>
                  </a:lnTo>
                  <a:lnTo>
                    <a:pt x="207" y="40639"/>
                  </a:lnTo>
                  <a:lnTo>
                    <a:pt x="69" y="40881"/>
                  </a:lnTo>
                  <a:lnTo>
                    <a:pt x="0" y="41192"/>
                  </a:lnTo>
                  <a:lnTo>
                    <a:pt x="0" y="41641"/>
                  </a:lnTo>
                  <a:lnTo>
                    <a:pt x="0" y="41779"/>
                  </a:lnTo>
                  <a:lnTo>
                    <a:pt x="69" y="41952"/>
                  </a:lnTo>
                  <a:lnTo>
                    <a:pt x="173" y="42090"/>
                  </a:lnTo>
                  <a:lnTo>
                    <a:pt x="311" y="42263"/>
                  </a:lnTo>
                  <a:lnTo>
                    <a:pt x="691" y="42608"/>
                  </a:lnTo>
                  <a:lnTo>
                    <a:pt x="1210" y="42954"/>
                  </a:lnTo>
                  <a:lnTo>
                    <a:pt x="1832" y="43300"/>
                  </a:lnTo>
                  <a:lnTo>
                    <a:pt x="2488" y="43645"/>
                  </a:lnTo>
                  <a:lnTo>
                    <a:pt x="3214" y="43991"/>
                  </a:lnTo>
                  <a:lnTo>
                    <a:pt x="3939" y="44336"/>
                  </a:lnTo>
                  <a:lnTo>
                    <a:pt x="4665" y="44613"/>
                  </a:lnTo>
                  <a:lnTo>
                    <a:pt x="5356" y="44889"/>
                  </a:lnTo>
                  <a:lnTo>
                    <a:pt x="6013" y="45096"/>
                  </a:lnTo>
                  <a:lnTo>
                    <a:pt x="6600" y="45304"/>
                  </a:lnTo>
                  <a:lnTo>
                    <a:pt x="7084" y="45407"/>
                  </a:lnTo>
                  <a:lnTo>
                    <a:pt x="7430" y="45477"/>
                  </a:lnTo>
                  <a:lnTo>
                    <a:pt x="7533" y="45477"/>
                  </a:lnTo>
                  <a:lnTo>
                    <a:pt x="7637" y="45442"/>
                  </a:lnTo>
                  <a:lnTo>
                    <a:pt x="7672" y="45407"/>
                  </a:lnTo>
                  <a:lnTo>
                    <a:pt x="7672" y="45338"/>
                  </a:lnTo>
                  <a:lnTo>
                    <a:pt x="7222" y="44474"/>
                  </a:lnTo>
                  <a:lnTo>
                    <a:pt x="6497" y="43161"/>
                  </a:lnTo>
                  <a:lnTo>
                    <a:pt x="5287" y="41053"/>
                  </a:lnTo>
                  <a:lnTo>
                    <a:pt x="5287" y="40915"/>
                  </a:lnTo>
                  <a:lnTo>
                    <a:pt x="5287" y="40639"/>
                  </a:lnTo>
                  <a:lnTo>
                    <a:pt x="5425" y="39809"/>
                  </a:lnTo>
                  <a:lnTo>
                    <a:pt x="5667" y="38531"/>
                  </a:lnTo>
                  <a:lnTo>
                    <a:pt x="5978" y="36907"/>
                  </a:lnTo>
                  <a:lnTo>
                    <a:pt x="6877" y="32898"/>
                  </a:lnTo>
                  <a:lnTo>
                    <a:pt x="7948" y="28233"/>
                  </a:lnTo>
                  <a:lnTo>
                    <a:pt x="10160" y="18937"/>
                  </a:lnTo>
                  <a:lnTo>
                    <a:pt x="11576" y="13028"/>
                  </a:lnTo>
                  <a:lnTo>
                    <a:pt x="11715" y="12302"/>
                  </a:lnTo>
                  <a:lnTo>
                    <a:pt x="11853" y="11542"/>
                  </a:lnTo>
                  <a:lnTo>
                    <a:pt x="11922" y="10817"/>
                  </a:lnTo>
                  <a:lnTo>
                    <a:pt x="11991" y="10056"/>
                  </a:lnTo>
                  <a:lnTo>
                    <a:pt x="12026" y="9296"/>
                  </a:lnTo>
                  <a:lnTo>
                    <a:pt x="12060" y="8501"/>
                  </a:lnTo>
                  <a:lnTo>
                    <a:pt x="12060" y="7706"/>
                  </a:lnTo>
                  <a:lnTo>
                    <a:pt x="12026" y="6912"/>
                  </a:lnTo>
                  <a:lnTo>
                    <a:pt x="11887" y="5253"/>
                  </a:lnTo>
                  <a:lnTo>
                    <a:pt x="11680" y="3560"/>
                  </a:lnTo>
                  <a:lnTo>
                    <a:pt x="11404" y="1832"/>
                  </a:lnTo>
                  <a:lnTo>
                    <a:pt x="11058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8" name="Google Shape;2447;p11">
              <a:extLst>
                <a:ext uri="{FF2B5EF4-FFF2-40B4-BE49-F238E27FC236}">
                  <a16:creationId xmlns:a16="http://schemas.microsoft.com/office/drawing/2014/main" id="{4F7CB002-5FC5-4DD8-20D7-066CDCF291D6}"/>
                </a:ext>
              </a:extLst>
            </p:cNvPr>
            <p:cNvSpPr/>
            <p:nvPr/>
          </p:nvSpPr>
          <p:spPr>
            <a:xfrm>
              <a:off x="1044625" y="3889000"/>
              <a:ext cx="301525" cy="1136925"/>
            </a:xfrm>
            <a:custGeom>
              <a:avLst/>
              <a:gdLst/>
              <a:ahLst/>
              <a:cxnLst/>
              <a:rect l="l" t="t" r="r" b="b"/>
              <a:pathLst>
                <a:path w="12061" h="45477" fill="none" extrusionOk="0">
                  <a:moveTo>
                    <a:pt x="11058" y="0"/>
                  </a:moveTo>
                  <a:lnTo>
                    <a:pt x="11058" y="0"/>
                  </a:lnTo>
                  <a:lnTo>
                    <a:pt x="11404" y="1832"/>
                  </a:lnTo>
                  <a:lnTo>
                    <a:pt x="11680" y="3560"/>
                  </a:lnTo>
                  <a:lnTo>
                    <a:pt x="11887" y="5253"/>
                  </a:lnTo>
                  <a:lnTo>
                    <a:pt x="12026" y="6912"/>
                  </a:lnTo>
                  <a:lnTo>
                    <a:pt x="12060" y="7706"/>
                  </a:lnTo>
                  <a:lnTo>
                    <a:pt x="12060" y="8501"/>
                  </a:lnTo>
                  <a:lnTo>
                    <a:pt x="12026" y="9296"/>
                  </a:lnTo>
                  <a:lnTo>
                    <a:pt x="11991" y="10056"/>
                  </a:lnTo>
                  <a:lnTo>
                    <a:pt x="11922" y="10817"/>
                  </a:lnTo>
                  <a:lnTo>
                    <a:pt x="11853" y="11542"/>
                  </a:lnTo>
                  <a:lnTo>
                    <a:pt x="11715" y="12302"/>
                  </a:lnTo>
                  <a:lnTo>
                    <a:pt x="11576" y="13028"/>
                  </a:lnTo>
                  <a:lnTo>
                    <a:pt x="11576" y="13028"/>
                  </a:lnTo>
                  <a:lnTo>
                    <a:pt x="10160" y="18937"/>
                  </a:lnTo>
                  <a:lnTo>
                    <a:pt x="7948" y="28233"/>
                  </a:lnTo>
                  <a:lnTo>
                    <a:pt x="6877" y="32898"/>
                  </a:lnTo>
                  <a:lnTo>
                    <a:pt x="5978" y="36907"/>
                  </a:lnTo>
                  <a:lnTo>
                    <a:pt x="5667" y="38531"/>
                  </a:lnTo>
                  <a:lnTo>
                    <a:pt x="5425" y="39809"/>
                  </a:lnTo>
                  <a:lnTo>
                    <a:pt x="5287" y="40639"/>
                  </a:lnTo>
                  <a:lnTo>
                    <a:pt x="5287" y="40915"/>
                  </a:lnTo>
                  <a:lnTo>
                    <a:pt x="5287" y="41053"/>
                  </a:lnTo>
                  <a:lnTo>
                    <a:pt x="5287" y="41053"/>
                  </a:lnTo>
                  <a:lnTo>
                    <a:pt x="6497" y="43161"/>
                  </a:lnTo>
                  <a:lnTo>
                    <a:pt x="7222" y="44474"/>
                  </a:lnTo>
                  <a:lnTo>
                    <a:pt x="7672" y="45338"/>
                  </a:lnTo>
                  <a:lnTo>
                    <a:pt x="7672" y="45338"/>
                  </a:lnTo>
                  <a:lnTo>
                    <a:pt x="7672" y="45407"/>
                  </a:lnTo>
                  <a:lnTo>
                    <a:pt x="7637" y="45442"/>
                  </a:lnTo>
                  <a:lnTo>
                    <a:pt x="7533" y="45477"/>
                  </a:lnTo>
                  <a:lnTo>
                    <a:pt x="7430" y="45477"/>
                  </a:lnTo>
                  <a:lnTo>
                    <a:pt x="7084" y="45407"/>
                  </a:lnTo>
                  <a:lnTo>
                    <a:pt x="6600" y="45304"/>
                  </a:lnTo>
                  <a:lnTo>
                    <a:pt x="6013" y="45096"/>
                  </a:lnTo>
                  <a:lnTo>
                    <a:pt x="5356" y="44889"/>
                  </a:lnTo>
                  <a:lnTo>
                    <a:pt x="4665" y="44613"/>
                  </a:lnTo>
                  <a:lnTo>
                    <a:pt x="3939" y="44336"/>
                  </a:lnTo>
                  <a:lnTo>
                    <a:pt x="3214" y="43991"/>
                  </a:lnTo>
                  <a:lnTo>
                    <a:pt x="2488" y="43645"/>
                  </a:lnTo>
                  <a:lnTo>
                    <a:pt x="1832" y="43300"/>
                  </a:lnTo>
                  <a:lnTo>
                    <a:pt x="1210" y="42954"/>
                  </a:lnTo>
                  <a:lnTo>
                    <a:pt x="691" y="42608"/>
                  </a:lnTo>
                  <a:lnTo>
                    <a:pt x="311" y="42263"/>
                  </a:lnTo>
                  <a:lnTo>
                    <a:pt x="173" y="42090"/>
                  </a:lnTo>
                  <a:lnTo>
                    <a:pt x="69" y="41952"/>
                  </a:lnTo>
                  <a:lnTo>
                    <a:pt x="0" y="41779"/>
                  </a:lnTo>
                  <a:lnTo>
                    <a:pt x="0" y="41641"/>
                  </a:lnTo>
                  <a:lnTo>
                    <a:pt x="0" y="41641"/>
                  </a:lnTo>
                  <a:lnTo>
                    <a:pt x="0" y="41192"/>
                  </a:lnTo>
                  <a:lnTo>
                    <a:pt x="69" y="40881"/>
                  </a:lnTo>
                  <a:lnTo>
                    <a:pt x="207" y="40639"/>
                  </a:lnTo>
                  <a:lnTo>
                    <a:pt x="346" y="40466"/>
                  </a:lnTo>
                  <a:lnTo>
                    <a:pt x="553" y="40224"/>
                  </a:lnTo>
                  <a:lnTo>
                    <a:pt x="760" y="39913"/>
                  </a:lnTo>
                  <a:lnTo>
                    <a:pt x="1037" y="39429"/>
                  </a:lnTo>
                  <a:lnTo>
                    <a:pt x="1348" y="38738"/>
                  </a:lnTo>
                  <a:lnTo>
                    <a:pt x="1348" y="38738"/>
                  </a:lnTo>
                  <a:lnTo>
                    <a:pt x="1521" y="38254"/>
                  </a:lnTo>
                  <a:lnTo>
                    <a:pt x="1693" y="37667"/>
                  </a:lnTo>
                  <a:lnTo>
                    <a:pt x="2039" y="36215"/>
                  </a:lnTo>
                  <a:lnTo>
                    <a:pt x="2350" y="34488"/>
                  </a:lnTo>
                  <a:lnTo>
                    <a:pt x="2661" y="32691"/>
                  </a:lnTo>
                  <a:lnTo>
                    <a:pt x="2937" y="30859"/>
                  </a:lnTo>
                  <a:lnTo>
                    <a:pt x="3179" y="29235"/>
                  </a:lnTo>
                  <a:lnTo>
                    <a:pt x="3317" y="27887"/>
                  </a:lnTo>
                  <a:lnTo>
                    <a:pt x="3421" y="27023"/>
                  </a:lnTo>
                  <a:lnTo>
                    <a:pt x="3421" y="27023"/>
                  </a:lnTo>
                  <a:lnTo>
                    <a:pt x="3456" y="25779"/>
                  </a:lnTo>
                  <a:lnTo>
                    <a:pt x="3490" y="23464"/>
                  </a:lnTo>
                  <a:lnTo>
                    <a:pt x="3490" y="17175"/>
                  </a:lnTo>
                  <a:lnTo>
                    <a:pt x="3490" y="13823"/>
                  </a:lnTo>
                  <a:lnTo>
                    <a:pt x="3559" y="10817"/>
                  </a:lnTo>
                  <a:lnTo>
                    <a:pt x="3628" y="9538"/>
                  </a:lnTo>
                  <a:lnTo>
                    <a:pt x="3663" y="8501"/>
                  </a:lnTo>
                  <a:lnTo>
                    <a:pt x="3767" y="7672"/>
                  </a:lnTo>
                  <a:lnTo>
                    <a:pt x="3836" y="7188"/>
                  </a:lnTo>
                  <a:lnTo>
                    <a:pt x="3836" y="7188"/>
                  </a:lnTo>
                  <a:lnTo>
                    <a:pt x="3905" y="7015"/>
                  </a:lnTo>
                  <a:lnTo>
                    <a:pt x="4009" y="6808"/>
                  </a:lnTo>
                  <a:lnTo>
                    <a:pt x="4320" y="6359"/>
                  </a:lnTo>
                  <a:lnTo>
                    <a:pt x="4734" y="5840"/>
                  </a:lnTo>
                  <a:lnTo>
                    <a:pt x="5218" y="5287"/>
                  </a:lnTo>
                  <a:lnTo>
                    <a:pt x="5771" y="4700"/>
                  </a:lnTo>
                  <a:lnTo>
                    <a:pt x="6358" y="4113"/>
                  </a:lnTo>
                  <a:lnTo>
                    <a:pt x="7672" y="2903"/>
                  </a:lnTo>
                  <a:lnTo>
                    <a:pt x="8916" y="1797"/>
                  </a:lnTo>
                  <a:lnTo>
                    <a:pt x="10021" y="864"/>
                  </a:lnTo>
                  <a:lnTo>
                    <a:pt x="1105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9" name="Google Shape;2448;p11">
              <a:extLst>
                <a:ext uri="{FF2B5EF4-FFF2-40B4-BE49-F238E27FC236}">
                  <a16:creationId xmlns:a16="http://schemas.microsoft.com/office/drawing/2014/main" id="{3C6B2E16-D5AC-4E71-7E1D-EBC8AB8E559C}"/>
                </a:ext>
              </a:extLst>
            </p:cNvPr>
            <p:cNvSpPr/>
            <p:nvPr/>
          </p:nvSpPr>
          <p:spPr>
            <a:xfrm>
              <a:off x="1705500" y="3103700"/>
              <a:ext cx="170225" cy="94200"/>
            </a:xfrm>
            <a:custGeom>
              <a:avLst/>
              <a:gdLst/>
              <a:ahLst/>
              <a:cxnLst/>
              <a:rect l="l" t="t" r="r" b="b"/>
              <a:pathLst>
                <a:path w="6809" h="3768" extrusionOk="0">
                  <a:moveTo>
                    <a:pt x="3940" y="1"/>
                  </a:moveTo>
                  <a:lnTo>
                    <a:pt x="3767" y="35"/>
                  </a:lnTo>
                  <a:lnTo>
                    <a:pt x="3353" y="139"/>
                  </a:lnTo>
                  <a:lnTo>
                    <a:pt x="2938" y="346"/>
                  </a:lnTo>
                  <a:lnTo>
                    <a:pt x="2489" y="553"/>
                  </a:lnTo>
                  <a:lnTo>
                    <a:pt x="2074" y="761"/>
                  </a:lnTo>
                  <a:lnTo>
                    <a:pt x="1728" y="934"/>
                  </a:lnTo>
                  <a:lnTo>
                    <a:pt x="1417" y="1003"/>
                  </a:lnTo>
                  <a:lnTo>
                    <a:pt x="1314" y="1003"/>
                  </a:lnTo>
                  <a:lnTo>
                    <a:pt x="1210" y="968"/>
                  </a:lnTo>
                  <a:lnTo>
                    <a:pt x="1141" y="968"/>
                  </a:lnTo>
                  <a:lnTo>
                    <a:pt x="1072" y="1003"/>
                  </a:lnTo>
                  <a:lnTo>
                    <a:pt x="899" y="1175"/>
                  </a:lnTo>
                  <a:lnTo>
                    <a:pt x="692" y="1417"/>
                  </a:lnTo>
                  <a:lnTo>
                    <a:pt x="484" y="1728"/>
                  </a:lnTo>
                  <a:lnTo>
                    <a:pt x="139" y="2350"/>
                  </a:lnTo>
                  <a:lnTo>
                    <a:pt x="1" y="2627"/>
                  </a:lnTo>
                  <a:lnTo>
                    <a:pt x="277" y="2869"/>
                  </a:lnTo>
                  <a:lnTo>
                    <a:pt x="623" y="3076"/>
                  </a:lnTo>
                  <a:lnTo>
                    <a:pt x="968" y="3283"/>
                  </a:lnTo>
                  <a:lnTo>
                    <a:pt x="1314" y="3422"/>
                  </a:lnTo>
                  <a:lnTo>
                    <a:pt x="1694" y="3560"/>
                  </a:lnTo>
                  <a:lnTo>
                    <a:pt x="2109" y="3629"/>
                  </a:lnTo>
                  <a:lnTo>
                    <a:pt x="2489" y="3698"/>
                  </a:lnTo>
                  <a:lnTo>
                    <a:pt x="2869" y="3767"/>
                  </a:lnTo>
                  <a:lnTo>
                    <a:pt x="3664" y="3767"/>
                  </a:lnTo>
                  <a:lnTo>
                    <a:pt x="4044" y="3733"/>
                  </a:lnTo>
                  <a:lnTo>
                    <a:pt x="4389" y="3664"/>
                  </a:lnTo>
                  <a:lnTo>
                    <a:pt x="4735" y="3594"/>
                  </a:lnTo>
                  <a:lnTo>
                    <a:pt x="5046" y="3491"/>
                  </a:lnTo>
                  <a:lnTo>
                    <a:pt x="5322" y="3353"/>
                  </a:lnTo>
                  <a:lnTo>
                    <a:pt x="5564" y="3214"/>
                  </a:lnTo>
                  <a:lnTo>
                    <a:pt x="5806" y="3042"/>
                  </a:lnTo>
                  <a:lnTo>
                    <a:pt x="6013" y="2834"/>
                  </a:lnTo>
                  <a:lnTo>
                    <a:pt x="6221" y="2592"/>
                  </a:lnTo>
                  <a:lnTo>
                    <a:pt x="6394" y="2350"/>
                  </a:lnTo>
                  <a:lnTo>
                    <a:pt x="6532" y="2109"/>
                  </a:lnTo>
                  <a:lnTo>
                    <a:pt x="6635" y="1867"/>
                  </a:lnTo>
                  <a:lnTo>
                    <a:pt x="6739" y="1625"/>
                  </a:lnTo>
                  <a:lnTo>
                    <a:pt x="6774" y="1383"/>
                  </a:lnTo>
                  <a:lnTo>
                    <a:pt x="6808" y="1175"/>
                  </a:lnTo>
                  <a:lnTo>
                    <a:pt x="6774" y="968"/>
                  </a:lnTo>
                  <a:lnTo>
                    <a:pt x="6739" y="795"/>
                  </a:lnTo>
                  <a:lnTo>
                    <a:pt x="6635" y="692"/>
                  </a:lnTo>
                  <a:lnTo>
                    <a:pt x="6532" y="588"/>
                  </a:lnTo>
                  <a:lnTo>
                    <a:pt x="6152" y="588"/>
                  </a:lnTo>
                  <a:lnTo>
                    <a:pt x="5875" y="692"/>
                  </a:lnTo>
                  <a:lnTo>
                    <a:pt x="5495" y="864"/>
                  </a:lnTo>
                  <a:lnTo>
                    <a:pt x="5184" y="968"/>
                  </a:lnTo>
                  <a:lnTo>
                    <a:pt x="4908" y="1003"/>
                  </a:lnTo>
                  <a:lnTo>
                    <a:pt x="4700" y="1037"/>
                  </a:lnTo>
                  <a:lnTo>
                    <a:pt x="4562" y="1003"/>
                  </a:lnTo>
                  <a:lnTo>
                    <a:pt x="4458" y="934"/>
                  </a:lnTo>
                  <a:lnTo>
                    <a:pt x="4389" y="864"/>
                  </a:lnTo>
                  <a:lnTo>
                    <a:pt x="4355" y="761"/>
                  </a:lnTo>
                  <a:lnTo>
                    <a:pt x="4320" y="519"/>
                  </a:lnTo>
                  <a:lnTo>
                    <a:pt x="4286" y="277"/>
                  </a:lnTo>
                  <a:lnTo>
                    <a:pt x="4286" y="173"/>
                  </a:lnTo>
                  <a:lnTo>
                    <a:pt x="4251" y="104"/>
                  </a:lnTo>
                  <a:lnTo>
                    <a:pt x="4217" y="35"/>
                  </a:lnTo>
                  <a:lnTo>
                    <a:pt x="4113" y="1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0" name="Google Shape;2449;p11">
              <a:extLst>
                <a:ext uri="{FF2B5EF4-FFF2-40B4-BE49-F238E27FC236}">
                  <a16:creationId xmlns:a16="http://schemas.microsoft.com/office/drawing/2014/main" id="{376A218B-E116-9DFA-3DA2-A240986AB99E}"/>
                </a:ext>
              </a:extLst>
            </p:cNvPr>
            <p:cNvSpPr/>
            <p:nvPr/>
          </p:nvSpPr>
          <p:spPr>
            <a:xfrm>
              <a:off x="1874825" y="2241525"/>
              <a:ext cx="111475" cy="162425"/>
            </a:xfrm>
            <a:custGeom>
              <a:avLst/>
              <a:gdLst/>
              <a:ahLst/>
              <a:cxnLst/>
              <a:rect l="l" t="t" r="r" b="b"/>
              <a:pathLst>
                <a:path w="4459" h="6497" extrusionOk="0">
                  <a:moveTo>
                    <a:pt x="3353" y="0"/>
                  </a:moveTo>
                  <a:lnTo>
                    <a:pt x="3076" y="35"/>
                  </a:lnTo>
                  <a:lnTo>
                    <a:pt x="2800" y="69"/>
                  </a:lnTo>
                  <a:lnTo>
                    <a:pt x="2523" y="173"/>
                  </a:lnTo>
                  <a:lnTo>
                    <a:pt x="2212" y="277"/>
                  </a:lnTo>
                  <a:lnTo>
                    <a:pt x="1936" y="380"/>
                  </a:lnTo>
                  <a:lnTo>
                    <a:pt x="1694" y="553"/>
                  </a:lnTo>
                  <a:lnTo>
                    <a:pt x="1487" y="726"/>
                  </a:lnTo>
                  <a:lnTo>
                    <a:pt x="1279" y="968"/>
                  </a:lnTo>
                  <a:lnTo>
                    <a:pt x="1072" y="1210"/>
                  </a:lnTo>
                  <a:lnTo>
                    <a:pt x="865" y="1486"/>
                  </a:lnTo>
                  <a:lnTo>
                    <a:pt x="692" y="1797"/>
                  </a:lnTo>
                  <a:lnTo>
                    <a:pt x="519" y="2143"/>
                  </a:lnTo>
                  <a:lnTo>
                    <a:pt x="381" y="2488"/>
                  </a:lnTo>
                  <a:lnTo>
                    <a:pt x="243" y="2868"/>
                  </a:lnTo>
                  <a:lnTo>
                    <a:pt x="139" y="3249"/>
                  </a:lnTo>
                  <a:lnTo>
                    <a:pt x="70" y="3663"/>
                  </a:lnTo>
                  <a:lnTo>
                    <a:pt x="35" y="4043"/>
                  </a:lnTo>
                  <a:lnTo>
                    <a:pt x="1" y="4458"/>
                  </a:lnTo>
                  <a:lnTo>
                    <a:pt x="35" y="4838"/>
                  </a:lnTo>
                  <a:lnTo>
                    <a:pt x="70" y="5218"/>
                  </a:lnTo>
                  <a:lnTo>
                    <a:pt x="173" y="5598"/>
                  </a:lnTo>
                  <a:lnTo>
                    <a:pt x="277" y="5979"/>
                  </a:lnTo>
                  <a:lnTo>
                    <a:pt x="588" y="6151"/>
                  </a:lnTo>
                  <a:lnTo>
                    <a:pt x="899" y="6290"/>
                  </a:lnTo>
                  <a:lnTo>
                    <a:pt x="1314" y="6428"/>
                  </a:lnTo>
                  <a:lnTo>
                    <a:pt x="1521" y="6462"/>
                  </a:lnTo>
                  <a:lnTo>
                    <a:pt x="1763" y="6497"/>
                  </a:lnTo>
                  <a:lnTo>
                    <a:pt x="2005" y="6462"/>
                  </a:lnTo>
                  <a:lnTo>
                    <a:pt x="2281" y="6428"/>
                  </a:lnTo>
                  <a:lnTo>
                    <a:pt x="2523" y="6359"/>
                  </a:lnTo>
                  <a:lnTo>
                    <a:pt x="2765" y="6220"/>
                  </a:lnTo>
                  <a:lnTo>
                    <a:pt x="3007" y="6013"/>
                  </a:lnTo>
                  <a:lnTo>
                    <a:pt x="3214" y="5771"/>
                  </a:lnTo>
                  <a:lnTo>
                    <a:pt x="3387" y="5529"/>
                  </a:lnTo>
                  <a:lnTo>
                    <a:pt x="3491" y="5287"/>
                  </a:lnTo>
                  <a:lnTo>
                    <a:pt x="3560" y="5011"/>
                  </a:lnTo>
                  <a:lnTo>
                    <a:pt x="3629" y="4700"/>
                  </a:lnTo>
                  <a:lnTo>
                    <a:pt x="3664" y="4113"/>
                  </a:lnTo>
                  <a:lnTo>
                    <a:pt x="3664" y="3456"/>
                  </a:lnTo>
                  <a:lnTo>
                    <a:pt x="3664" y="2834"/>
                  </a:lnTo>
                  <a:lnTo>
                    <a:pt x="3664" y="2523"/>
                  </a:lnTo>
                  <a:lnTo>
                    <a:pt x="3698" y="2212"/>
                  </a:lnTo>
                  <a:lnTo>
                    <a:pt x="3767" y="1935"/>
                  </a:lnTo>
                  <a:lnTo>
                    <a:pt x="3871" y="1659"/>
                  </a:lnTo>
                  <a:lnTo>
                    <a:pt x="4009" y="1383"/>
                  </a:lnTo>
                  <a:lnTo>
                    <a:pt x="4182" y="1141"/>
                  </a:lnTo>
                  <a:lnTo>
                    <a:pt x="4355" y="933"/>
                  </a:lnTo>
                  <a:lnTo>
                    <a:pt x="4458" y="761"/>
                  </a:lnTo>
                  <a:lnTo>
                    <a:pt x="4458" y="588"/>
                  </a:lnTo>
                  <a:lnTo>
                    <a:pt x="4458" y="415"/>
                  </a:lnTo>
                  <a:lnTo>
                    <a:pt x="4355" y="311"/>
                  </a:lnTo>
                  <a:lnTo>
                    <a:pt x="4217" y="208"/>
                  </a:lnTo>
                  <a:lnTo>
                    <a:pt x="4044" y="104"/>
                  </a:lnTo>
                  <a:lnTo>
                    <a:pt x="3836" y="69"/>
                  </a:lnTo>
                  <a:lnTo>
                    <a:pt x="3595" y="35"/>
                  </a:lnTo>
                  <a:lnTo>
                    <a:pt x="3353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1" name="Google Shape;2450;p11">
              <a:extLst>
                <a:ext uri="{FF2B5EF4-FFF2-40B4-BE49-F238E27FC236}">
                  <a16:creationId xmlns:a16="http://schemas.microsoft.com/office/drawing/2014/main" id="{1C156DB9-5C79-FC94-34DB-EA9E44039934}"/>
                </a:ext>
              </a:extLst>
            </p:cNvPr>
            <p:cNvSpPr/>
            <p:nvPr/>
          </p:nvSpPr>
          <p:spPr>
            <a:xfrm>
              <a:off x="994500" y="4854850"/>
              <a:ext cx="305850" cy="254875"/>
            </a:xfrm>
            <a:custGeom>
              <a:avLst/>
              <a:gdLst/>
              <a:ahLst/>
              <a:cxnLst/>
              <a:rect l="l" t="t" r="r" b="b"/>
              <a:pathLst>
                <a:path w="12234" h="10195" extrusionOk="0">
                  <a:moveTo>
                    <a:pt x="2903" y="0"/>
                  </a:moveTo>
                  <a:lnTo>
                    <a:pt x="2731" y="70"/>
                  </a:lnTo>
                  <a:lnTo>
                    <a:pt x="1901" y="657"/>
                  </a:lnTo>
                  <a:lnTo>
                    <a:pt x="1072" y="1244"/>
                  </a:lnTo>
                  <a:lnTo>
                    <a:pt x="865" y="1452"/>
                  </a:lnTo>
                  <a:lnTo>
                    <a:pt x="657" y="1694"/>
                  </a:lnTo>
                  <a:lnTo>
                    <a:pt x="450" y="1970"/>
                  </a:lnTo>
                  <a:lnTo>
                    <a:pt x="277" y="2281"/>
                  </a:lnTo>
                  <a:lnTo>
                    <a:pt x="139" y="2558"/>
                  </a:lnTo>
                  <a:lnTo>
                    <a:pt x="35" y="2799"/>
                  </a:lnTo>
                  <a:lnTo>
                    <a:pt x="1" y="3041"/>
                  </a:lnTo>
                  <a:lnTo>
                    <a:pt x="1" y="3180"/>
                  </a:lnTo>
                  <a:lnTo>
                    <a:pt x="70" y="3352"/>
                  </a:lnTo>
                  <a:lnTo>
                    <a:pt x="243" y="3560"/>
                  </a:lnTo>
                  <a:lnTo>
                    <a:pt x="796" y="4113"/>
                  </a:lnTo>
                  <a:lnTo>
                    <a:pt x="1452" y="4700"/>
                  </a:lnTo>
                  <a:lnTo>
                    <a:pt x="2143" y="5357"/>
                  </a:lnTo>
                  <a:lnTo>
                    <a:pt x="2351" y="5357"/>
                  </a:lnTo>
                  <a:lnTo>
                    <a:pt x="2454" y="5322"/>
                  </a:lnTo>
                  <a:lnTo>
                    <a:pt x="2558" y="5218"/>
                  </a:lnTo>
                  <a:lnTo>
                    <a:pt x="2696" y="5115"/>
                  </a:lnTo>
                  <a:lnTo>
                    <a:pt x="2731" y="5115"/>
                  </a:lnTo>
                  <a:lnTo>
                    <a:pt x="2834" y="5184"/>
                  </a:lnTo>
                  <a:lnTo>
                    <a:pt x="3180" y="5460"/>
                  </a:lnTo>
                  <a:lnTo>
                    <a:pt x="4251" y="6428"/>
                  </a:lnTo>
                  <a:lnTo>
                    <a:pt x="6566" y="8674"/>
                  </a:lnTo>
                  <a:lnTo>
                    <a:pt x="6808" y="8847"/>
                  </a:lnTo>
                  <a:lnTo>
                    <a:pt x="7085" y="9054"/>
                  </a:lnTo>
                  <a:lnTo>
                    <a:pt x="7396" y="9227"/>
                  </a:lnTo>
                  <a:lnTo>
                    <a:pt x="7741" y="9400"/>
                  </a:lnTo>
                  <a:lnTo>
                    <a:pt x="8502" y="9711"/>
                  </a:lnTo>
                  <a:lnTo>
                    <a:pt x="9331" y="9953"/>
                  </a:lnTo>
                  <a:lnTo>
                    <a:pt x="9746" y="10056"/>
                  </a:lnTo>
                  <a:lnTo>
                    <a:pt x="10126" y="10125"/>
                  </a:lnTo>
                  <a:lnTo>
                    <a:pt x="10540" y="10160"/>
                  </a:lnTo>
                  <a:lnTo>
                    <a:pt x="10886" y="10195"/>
                  </a:lnTo>
                  <a:lnTo>
                    <a:pt x="11232" y="10160"/>
                  </a:lnTo>
                  <a:lnTo>
                    <a:pt x="11543" y="10125"/>
                  </a:lnTo>
                  <a:lnTo>
                    <a:pt x="11819" y="10022"/>
                  </a:lnTo>
                  <a:lnTo>
                    <a:pt x="12026" y="9918"/>
                  </a:lnTo>
                  <a:lnTo>
                    <a:pt x="12165" y="9711"/>
                  </a:lnTo>
                  <a:lnTo>
                    <a:pt x="12234" y="9503"/>
                  </a:lnTo>
                  <a:lnTo>
                    <a:pt x="12199" y="9296"/>
                  </a:lnTo>
                  <a:lnTo>
                    <a:pt x="12130" y="9054"/>
                  </a:lnTo>
                  <a:lnTo>
                    <a:pt x="12026" y="8812"/>
                  </a:lnTo>
                  <a:lnTo>
                    <a:pt x="11854" y="8536"/>
                  </a:lnTo>
                  <a:lnTo>
                    <a:pt x="11646" y="8294"/>
                  </a:lnTo>
                  <a:lnTo>
                    <a:pt x="11439" y="8017"/>
                  </a:lnTo>
                  <a:lnTo>
                    <a:pt x="10955" y="7534"/>
                  </a:lnTo>
                  <a:lnTo>
                    <a:pt x="10471" y="7050"/>
                  </a:lnTo>
                  <a:lnTo>
                    <a:pt x="10022" y="6670"/>
                  </a:lnTo>
                  <a:lnTo>
                    <a:pt x="9780" y="6428"/>
                  </a:lnTo>
                  <a:lnTo>
                    <a:pt x="9677" y="6324"/>
                  </a:lnTo>
                  <a:lnTo>
                    <a:pt x="9538" y="6255"/>
                  </a:lnTo>
                  <a:lnTo>
                    <a:pt x="9227" y="6082"/>
                  </a:lnTo>
                  <a:lnTo>
                    <a:pt x="8363" y="5840"/>
                  </a:lnTo>
                  <a:lnTo>
                    <a:pt x="7845" y="5668"/>
                  </a:lnTo>
                  <a:lnTo>
                    <a:pt x="7327" y="5460"/>
                  </a:lnTo>
                  <a:lnTo>
                    <a:pt x="6774" y="5149"/>
                  </a:lnTo>
                  <a:lnTo>
                    <a:pt x="6497" y="4977"/>
                  </a:lnTo>
                  <a:lnTo>
                    <a:pt x="6221" y="4769"/>
                  </a:lnTo>
                  <a:lnTo>
                    <a:pt x="5737" y="4355"/>
                  </a:lnTo>
                  <a:lnTo>
                    <a:pt x="5392" y="3940"/>
                  </a:lnTo>
                  <a:lnTo>
                    <a:pt x="5115" y="3560"/>
                  </a:lnTo>
                  <a:lnTo>
                    <a:pt x="4908" y="3180"/>
                  </a:lnTo>
                  <a:lnTo>
                    <a:pt x="4804" y="2834"/>
                  </a:lnTo>
                  <a:lnTo>
                    <a:pt x="4735" y="2523"/>
                  </a:lnTo>
                  <a:lnTo>
                    <a:pt x="4597" y="1970"/>
                  </a:lnTo>
                  <a:lnTo>
                    <a:pt x="4493" y="1625"/>
                  </a:lnTo>
                  <a:lnTo>
                    <a:pt x="4251" y="1175"/>
                  </a:lnTo>
                  <a:lnTo>
                    <a:pt x="4078" y="933"/>
                  </a:lnTo>
                  <a:lnTo>
                    <a:pt x="3871" y="657"/>
                  </a:lnTo>
                  <a:lnTo>
                    <a:pt x="3629" y="381"/>
                  </a:lnTo>
                  <a:lnTo>
                    <a:pt x="3353" y="104"/>
                  </a:lnTo>
                  <a:lnTo>
                    <a:pt x="3215" y="35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2" name="Google Shape;2451;p11">
              <a:extLst>
                <a:ext uri="{FF2B5EF4-FFF2-40B4-BE49-F238E27FC236}">
                  <a16:creationId xmlns:a16="http://schemas.microsoft.com/office/drawing/2014/main" id="{F1646E79-307E-B085-15CE-D45F1E99FA02}"/>
                </a:ext>
              </a:extLst>
            </p:cNvPr>
            <p:cNvSpPr/>
            <p:nvPr/>
          </p:nvSpPr>
          <p:spPr>
            <a:xfrm>
              <a:off x="1380675" y="3920100"/>
              <a:ext cx="415575" cy="1118775"/>
            </a:xfrm>
            <a:custGeom>
              <a:avLst/>
              <a:gdLst/>
              <a:ahLst/>
              <a:cxnLst/>
              <a:rect l="l" t="t" r="r" b="b"/>
              <a:pathLst>
                <a:path w="16623" h="44751" extrusionOk="0">
                  <a:moveTo>
                    <a:pt x="1175" y="0"/>
                  </a:moveTo>
                  <a:lnTo>
                    <a:pt x="968" y="35"/>
                  </a:lnTo>
                  <a:lnTo>
                    <a:pt x="726" y="69"/>
                  </a:lnTo>
                  <a:lnTo>
                    <a:pt x="519" y="173"/>
                  </a:lnTo>
                  <a:lnTo>
                    <a:pt x="346" y="277"/>
                  </a:lnTo>
                  <a:lnTo>
                    <a:pt x="173" y="450"/>
                  </a:lnTo>
                  <a:lnTo>
                    <a:pt x="70" y="692"/>
                  </a:lnTo>
                  <a:lnTo>
                    <a:pt x="0" y="968"/>
                  </a:lnTo>
                  <a:lnTo>
                    <a:pt x="0" y="1279"/>
                  </a:lnTo>
                  <a:lnTo>
                    <a:pt x="104" y="2350"/>
                  </a:lnTo>
                  <a:lnTo>
                    <a:pt x="415" y="4389"/>
                  </a:lnTo>
                  <a:lnTo>
                    <a:pt x="1348" y="10333"/>
                  </a:lnTo>
                  <a:lnTo>
                    <a:pt x="2039" y="14583"/>
                  </a:lnTo>
                  <a:lnTo>
                    <a:pt x="2834" y="19490"/>
                  </a:lnTo>
                  <a:lnTo>
                    <a:pt x="3594" y="23913"/>
                  </a:lnTo>
                  <a:lnTo>
                    <a:pt x="4182" y="27196"/>
                  </a:lnTo>
                  <a:lnTo>
                    <a:pt x="4389" y="28268"/>
                  </a:lnTo>
                  <a:lnTo>
                    <a:pt x="4527" y="28855"/>
                  </a:lnTo>
                  <a:lnTo>
                    <a:pt x="4735" y="29753"/>
                  </a:lnTo>
                  <a:lnTo>
                    <a:pt x="5046" y="31101"/>
                  </a:lnTo>
                  <a:lnTo>
                    <a:pt x="5426" y="32725"/>
                  </a:lnTo>
                  <a:lnTo>
                    <a:pt x="5771" y="34557"/>
                  </a:lnTo>
                  <a:lnTo>
                    <a:pt x="6117" y="36457"/>
                  </a:lnTo>
                  <a:lnTo>
                    <a:pt x="6393" y="38220"/>
                  </a:lnTo>
                  <a:lnTo>
                    <a:pt x="6497" y="39015"/>
                  </a:lnTo>
                  <a:lnTo>
                    <a:pt x="6601" y="39740"/>
                  </a:lnTo>
                  <a:lnTo>
                    <a:pt x="6635" y="40362"/>
                  </a:lnTo>
                  <a:lnTo>
                    <a:pt x="6635" y="40881"/>
                  </a:lnTo>
                  <a:lnTo>
                    <a:pt x="6566" y="41641"/>
                  </a:lnTo>
                  <a:lnTo>
                    <a:pt x="6463" y="42194"/>
                  </a:lnTo>
                  <a:lnTo>
                    <a:pt x="6359" y="42608"/>
                  </a:lnTo>
                  <a:lnTo>
                    <a:pt x="6255" y="42885"/>
                  </a:lnTo>
                  <a:lnTo>
                    <a:pt x="6186" y="43127"/>
                  </a:lnTo>
                  <a:lnTo>
                    <a:pt x="6151" y="43369"/>
                  </a:lnTo>
                  <a:lnTo>
                    <a:pt x="6186" y="43714"/>
                  </a:lnTo>
                  <a:lnTo>
                    <a:pt x="6324" y="44163"/>
                  </a:lnTo>
                  <a:lnTo>
                    <a:pt x="6393" y="44267"/>
                  </a:lnTo>
                  <a:lnTo>
                    <a:pt x="6532" y="44405"/>
                  </a:lnTo>
                  <a:lnTo>
                    <a:pt x="6704" y="44474"/>
                  </a:lnTo>
                  <a:lnTo>
                    <a:pt x="6912" y="44578"/>
                  </a:lnTo>
                  <a:lnTo>
                    <a:pt x="7188" y="44613"/>
                  </a:lnTo>
                  <a:lnTo>
                    <a:pt x="7499" y="44682"/>
                  </a:lnTo>
                  <a:lnTo>
                    <a:pt x="8225" y="44751"/>
                  </a:lnTo>
                  <a:lnTo>
                    <a:pt x="9054" y="44751"/>
                  </a:lnTo>
                  <a:lnTo>
                    <a:pt x="9953" y="44716"/>
                  </a:lnTo>
                  <a:lnTo>
                    <a:pt x="10886" y="44682"/>
                  </a:lnTo>
                  <a:lnTo>
                    <a:pt x="11853" y="44578"/>
                  </a:lnTo>
                  <a:lnTo>
                    <a:pt x="12821" y="44474"/>
                  </a:lnTo>
                  <a:lnTo>
                    <a:pt x="13719" y="44336"/>
                  </a:lnTo>
                  <a:lnTo>
                    <a:pt x="14583" y="44198"/>
                  </a:lnTo>
                  <a:lnTo>
                    <a:pt x="15309" y="44060"/>
                  </a:lnTo>
                  <a:lnTo>
                    <a:pt x="15896" y="43887"/>
                  </a:lnTo>
                  <a:lnTo>
                    <a:pt x="16346" y="43749"/>
                  </a:lnTo>
                  <a:lnTo>
                    <a:pt x="16484" y="43680"/>
                  </a:lnTo>
                  <a:lnTo>
                    <a:pt x="16588" y="43611"/>
                  </a:lnTo>
                  <a:lnTo>
                    <a:pt x="16622" y="43541"/>
                  </a:lnTo>
                  <a:lnTo>
                    <a:pt x="16588" y="43507"/>
                  </a:lnTo>
                  <a:lnTo>
                    <a:pt x="16449" y="43403"/>
                  </a:lnTo>
                  <a:lnTo>
                    <a:pt x="16207" y="43265"/>
                  </a:lnTo>
                  <a:lnTo>
                    <a:pt x="15620" y="43023"/>
                  </a:lnTo>
                  <a:lnTo>
                    <a:pt x="14860" y="42816"/>
                  </a:lnTo>
                  <a:lnTo>
                    <a:pt x="13996" y="42574"/>
                  </a:lnTo>
                  <a:lnTo>
                    <a:pt x="12372" y="42090"/>
                  </a:lnTo>
                  <a:lnTo>
                    <a:pt x="11750" y="41883"/>
                  </a:lnTo>
                  <a:lnTo>
                    <a:pt x="11508" y="41779"/>
                  </a:lnTo>
                  <a:lnTo>
                    <a:pt x="11335" y="41675"/>
                  </a:lnTo>
                  <a:lnTo>
                    <a:pt x="11300" y="41606"/>
                  </a:lnTo>
                  <a:lnTo>
                    <a:pt x="11266" y="41433"/>
                  </a:lnTo>
                  <a:lnTo>
                    <a:pt x="11162" y="40846"/>
                  </a:lnTo>
                  <a:lnTo>
                    <a:pt x="11024" y="39982"/>
                  </a:lnTo>
                  <a:lnTo>
                    <a:pt x="10920" y="38842"/>
                  </a:lnTo>
                  <a:lnTo>
                    <a:pt x="10609" y="35801"/>
                  </a:lnTo>
                  <a:lnTo>
                    <a:pt x="10298" y="32034"/>
                  </a:lnTo>
                  <a:lnTo>
                    <a:pt x="9642" y="23188"/>
                  </a:lnTo>
                  <a:lnTo>
                    <a:pt x="8951" y="14134"/>
                  </a:lnTo>
                  <a:lnTo>
                    <a:pt x="8640" y="9849"/>
                  </a:lnTo>
                  <a:lnTo>
                    <a:pt x="8329" y="5564"/>
                  </a:lnTo>
                  <a:lnTo>
                    <a:pt x="8190" y="4078"/>
                  </a:lnTo>
                  <a:lnTo>
                    <a:pt x="8087" y="3076"/>
                  </a:lnTo>
                  <a:lnTo>
                    <a:pt x="7948" y="2385"/>
                  </a:lnTo>
                  <a:lnTo>
                    <a:pt x="7810" y="1797"/>
                  </a:lnTo>
                  <a:lnTo>
                    <a:pt x="7637" y="1314"/>
                  </a:lnTo>
                  <a:lnTo>
                    <a:pt x="7465" y="933"/>
                  </a:lnTo>
                  <a:lnTo>
                    <a:pt x="7223" y="622"/>
                  </a:lnTo>
                  <a:lnTo>
                    <a:pt x="6946" y="380"/>
                  </a:lnTo>
                  <a:lnTo>
                    <a:pt x="6670" y="208"/>
                  </a:lnTo>
                  <a:lnTo>
                    <a:pt x="6324" y="104"/>
                  </a:lnTo>
                  <a:lnTo>
                    <a:pt x="5979" y="35"/>
                  </a:lnTo>
                  <a:lnTo>
                    <a:pt x="5564" y="0"/>
                  </a:lnTo>
                  <a:lnTo>
                    <a:pt x="5149" y="35"/>
                  </a:lnTo>
                  <a:lnTo>
                    <a:pt x="4666" y="35"/>
                  </a:lnTo>
                  <a:lnTo>
                    <a:pt x="3629" y="104"/>
                  </a:lnTo>
                  <a:lnTo>
                    <a:pt x="2454" y="173"/>
                  </a:lnTo>
                  <a:lnTo>
                    <a:pt x="2074" y="69"/>
                  </a:lnTo>
                  <a:lnTo>
                    <a:pt x="1659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3" name="Google Shape;2452;p11">
              <a:extLst>
                <a:ext uri="{FF2B5EF4-FFF2-40B4-BE49-F238E27FC236}">
                  <a16:creationId xmlns:a16="http://schemas.microsoft.com/office/drawing/2014/main" id="{1817FB5B-FFD9-8D37-C123-AB2D5DAE2DD1}"/>
                </a:ext>
              </a:extLst>
            </p:cNvPr>
            <p:cNvSpPr/>
            <p:nvPr/>
          </p:nvSpPr>
          <p:spPr>
            <a:xfrm>
              <a:off x="1380675" y="3920100"/>
              <a:ext cx="415575" cy="1118775"/>
            </a:xfrm>
            <a:custGeom>
              <a:avLst/>
              <a:gdLst/>
              <a:ahLst/>
              <a:cxnLst/>
              <a:rect l="l" t="t" r="r" b="b"/>
              <a:pathLst>
                <a:path w="16623" h="44751" fill="none" extrusionOk="0">
                  <a:moveTo>
                    <a:pt x="0" y="1279"/>
                  </a:moveTo>
                  <a:lnTo>
                    <a:pt x="0" y="1279"/>
                  </a:lnTo>
                  <a:lnTo>
                    <a:pt x="104" y="2350"/>
                  </a:lnTo>
                  <a:lnTo>
                    <a:pt x="415" y="4389"/>
                  </a:lnTo>
                  <a:lnTo>
                    <a:pt x="1348" y="10333"/>
                  </a:lnTo>
                  <a:lnTo>
                    <a:pt x="1348" y="10333"/>
                  </a:lnTo>
                  <a:lnTo>
                    <a:pt x="2039" y="14583"/>
                  </a:lnTo>
                  <a:lnTo>
                    <a:pt x="2039" y="14583"/>
                  </a:lnTo>
                  <a:lnTo>
                    <a:pt x="2834" y="19490"/>
                  </a:lnTo>
                  <a:lnTo>
                    <a:pt x="3594" y="23913"/>
                  </a:lnTo>
                  <a:lnTo>
                    <a:pt x="4182" y="27196"/>
                  </a:lnTo>
                  <a:lnTo>
                    <a:pt x="4389" y="28268"/>
                  </a:lnTo>
                  <a:lnTo>
                    <a:pt x="4527" y="28855"/>
                  </a:lnTo>
                  <a:lnTo>
                    <a:pt x="4527" y="28855"/>
                  </a:lnTo>
                  <a:lnTo>
                    <a:pt x="4735" y="29753"/>
                  </a:lnTo>
                  <a:lnTo>
                    <a:pt x="5046" y="31101"/>
                  </a:lnTo>
                  <a:lnTo>
                    <a:pt x="5426" y="32725"/>
                  </a:lnTo>
                  <a:lnTo>
                    <a:pt x="5771" y="34557"/>
                  </a:lnTo>
                  <a:lnTo>
                    <a:pt x="6117" y="36457"/>
                  </a:lnTo>
                  <a:lnTo>
                    <a:pt x="6393" y="38220"/>
                  </a:lnTo>
                  <a:lnTo>
                    <a:pt x="6497" y="39015"/>
                  </a:lnTo>
                  <a:lnTo>
                    <a:pt x="6601" y="39740"/>
                  </a:lnTo>
                  <a:lnTo>
                    <a:pt x="6635" y="40362"/>
                  </a:lnTo>
                  <a:lnTo>
                    <a:pt x="6635" y="40881"/>
                  </a:lnTo>
                  <a:lnTo>
                    <a:pt x="6635" y="40881"/>
                  </a:lnTo>
                  <a:lnTo>
                    <a:pt x="6566" y="41641"/>
                  </a:lnTo>
                  <a:lnTo>
                    <a:pt x="6463" y="42194"/>
                  </a:lnTo>
                  <a:lnTo>
                    <a:pt x="6359" y="42608"/>
                  </a:lnTo>
                  <a:lnTo>
                    <a:pt x="6255" y="42885"/>
                  </a:lnTo>
                  <a:lnTo>
                    <a:pt x="6186" y="43127"/>
                  </a:lnTo>
                  <a:lnTo>
                    <a:pt x="6151" y="43369"/>
                  </a:lnTo>
                  <a:lnTo>
                    <a:pt x="6186" y="43714"/>
                  </a:lnTo>
                  <a:lnTo>
                    <a:pt x="6324" y="44163"/>
                  </a:lnTo>
                  <a:lnTo>
                    <a:pt x="6324" y="44163"/>
                  </a:lnTo>
                  <a:lnTo>
                    <a:pt x="6393" y="44267"/>
                  </a:lnTo>
                  <a:lnTo>
                    <a:pt x="6532" y="44405"/>
                  </a:lnTo>
                  <a:lnTo>
                    <a:pt x="6704" y="44474"/>
                  </a:lnTo>
                  <a:lnTo>
                    <a:pt x="6912" y="44578"/>
                  </a:lnTo>
                  <a:lnTo>
                    <a:pt x="7188" y="44613"/>
                  </a:lnTo>
                  <a:lnTo>
                    <a:pt x="7499" y="44682"/>
                  </a:lnTo>
                  <a:lnTo>
                    <a:pt x="8225" y="44751"/>
                  </a:lnTo>
                  <a:lnTo>
                    <a:pt x="9054" y="44751"/>
                  </a:lnTo>
                  <a:lnTo>
                    <a:pt x="9953" y="44716"/>
                  </a:lnTo>
                  <a:lnTo>
                    <a:pt x="10886" y="44682"/>
                  </a:lnTo>
                  <a:lnTo>
                    <a:pt x="11853" y="44578"/>
                  </a:lnTo>
                  <a:lnTo>
                    <a:pt x="12821" y="44474"/>
                  </a:lnTo>
                  <a:lnTo>
                    <a:pt x="13719" y="44336"/>
                  </a:lnTo>
                  <a:lnTo>
                    <a:pt x="14583" y="44198"/>
                  </a:lnTo>
                  <a:lnTo>
                    <a:pt x="15309" y="44060"/>
                  </a:lnTo>
                  <a:lnTo>
                    <a:pt x="15896" y="43887"/>
                  </a:lnTo>
                  <a:lnTo>
                    <a:pt x="16346" y="43749"/>
                  </a:lnTo>
                  <a:lnTo>
                    <a:pt x="16484" y="43680"/>
                  </a:lnTo>
                  <a:lnTo>
                    <a:pt x="16588" y="43611"/>
                  </a:lnTo>
                  <a:lnTo>
                    <a:pt x="16622" y="43541"/>
                  </a:lnTo>
                  <a:lnTo>
                    <a:pt x="16588" y="43507"/>
                  </a:lnTo>
                  <a:lnTo>
                    <a:pt x="16588" y="43507"/>
                  </a:lnTo>
                  <a:lnTo>
                    <a:pt x="16449" y="43403"/>
                  </a:lnTo>
                  <a:lnTo>
                    <a:pt x="16207" y="43265"/>
                  </a:lnTo>
                  <a:lnTo>
                    <a:pt x="15620" y="43023"/>
                  </a:lnTo>
                  <a:lnTo>
                    <a:pt x="14860" y="42816"/>
                  </a:lnTo>
                  <a:lnTo>
                    <a:pt x="13996" y="42574"/>
                  </a:lnTo>
                  <a:lnTo>
                    <a:pt x="12372" y="42090"/>
                  </a:lnTo>
                  <a:lnTo>
                    <a:pt x="11750" y="41883"/>
                  </a:lnTo>
                  <a:lnTo>
                    <a:pt x="11508" y="41779"/>
                  </a:lnTo>
                  <a:lnTo>
                    <a:pt x="11335" y="41675"/>
                  </a:lnTo>
                  <a:lnTo>
                    <a:pt x="11335" y="41675"/>
                  </a:lnTo>
                  <a:lnTo>
                    <a:pt x="11300" y="41606"/>
                  </a:lnTo>
                  <a:lnTo>
                    <a:pt x="11266" y="41433"/>
                  </a:lnTo>
                  <a:lnTo>
                    <a:pt x="11162" y="40846"/>
                  </a:lnTo>
                  <a:lnTo>
                    <a:pt x="11024" y="39982"/>
                  </a:lnTo>
                  <a:lnTo>
                    <a:pt x="10920" y="38842"/>
                  </a:lnTo>
                  <a:lnTo>
                    <a:pt x="10609" y="35801"/>
                  </a:lnTo>
                  <a:lnTo>
                    <a:pt x="10298" y="32034"/>
                  </a:lnTo>
                  <a:lnTo>
                    <a:pt x="9642" y="23188"/>
                  </a:lnTo>
                  <a:lnTo>
                    <a:pt x="8951" y="14134"/>
                  </a:lnTo>
                  <a:lnTo>
                    <a:pt x="8951" y="14134"/>
                  </a:lnTo>
                  <a:lnTo>
                    <a:pt x="8640" y="9849"/>
                  </a:lnTo>
                  <a:lnTo>
                    <a:pt x="8640" y="9849"/>
                  </a:lnTo>
                  <a:lnTo>
                    <a:pt x="8329" y="5564"/>
                  </a:lnTo>
                  <a:lnTo>
                    <a:pt x="8190" y="4078"/>
                  </a:lnTo>
                  <a:lnTo>
                    <a:pt x="8087" y="3076"/>
                  </a:lnTo>
                  <a:lnTo>
                    <a:pt x="8087" y="3076"/>
                  </a:lnTo>
                  <a:lnTo>
                    <a:pt x="7948" y="2385"/>
                  </a:lnTo>
                  <a:lnTo>
                    <a:pt x="7810" y="1797"/>
                  </a:lnTo>
                  <a:lnTo>
                    <a:pt x="7637" y="1314"/>
                  </a:lnTo>
                  <a:lnTo>
                    <a:pt x="7465" y="933"/>
                  </a:lnTo>
                  <a:lnTo>
                    <a:pt x="7223" y="622"/>
                  </a:lnTo>
                  <a:lnTo>
                    <a:pt x="6946" y="380"/>
                  </a:lnTo>
                  <a:lnTo>
                    <a:pt x="6670" y="208"/>
                  </a:lnTo>
                  <a:lnTo>
                    <a:pt x="6324" y="104"/>
                  </a:lnTo>
                  <a:lnTo>
                    <a:pt x="5979" y="35"/>
                  </a:lnTo>
                  <a:lnTo>
                    <a:pt x="5564" y="0"/>
                  </a:lnTo>
                  <a:lnTo>
                    <a:pt x="5149" y="35"/>
                  </a:lnTo>
                  <a:lnTo>
                    <a:pt x="4666" y="35"/>
                  </a:lnTo>
                  <a:lnTo>
                    <a:pt x="3629" y="104"/>
                  </a:lnTo>
                  <a:lnTo>
                    <a:pt x="2454" y="173"/>
                  </a:lnTo>
                  <a:lnTo>
                    <a:pt x="2454" y="173"/>
                  </a:lnTo>
                  <a:lnTo>
                    <a:pt x="2074" y="69"/>
                  </a:lnTo>
                  <a:lnTo>
                    <a:pt x="1659" y="0"/>
                  </a:lnTo>
                  <a:lnTo>
                    <a:pt x="1175" y="0"/>
                  </a:lnTo>
                  <a:lnTo>
                    <a:pt x="968" y="35"/>
                  </a:lnTo>
                  <a:lnTo>
                    <a:pt x="726" y="69"/>
                  </a:lnTo>
                  <a:lnTo>
                    <a:pt x="519" y="173"/>
                  </a:lnTo>
                  <a:lnTo>
                    <a:pt x="346" y="277"/>
                  </a:lnTo>
                  <a:lnTo>
                    <a:pt x="173" y="450"/>
                  </a:lnTo>
                  <a:lnTo>
                    <a:pt x="70" y="692"/>
                  </a:lnTo>
                  <a:lnTo>
                    <a:pt x="0" y="968"/>
                  </a:lnTo>
                  <a:lnTo>
                    <a:pt x="0" y="127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4" name="Google Shape;2453;p11">
              <a:extLst>
                <a:ext uri="{FF2B5EF4-FFF2-40B4-BE49-F238E27FC236}">
                  <a16:creationId xmlns:a16="http://schemas.microsoft.com/office/drawing/2014/main" id="{1C4648B8-46EC-7A57-8B7C-607E8AB27F27}"/>
                </a:ext>
              </a:extLst>
            </p:cNvPr>
            <p:cNvSpPr/>
            <p:nvPr/>
          </p:nvSpPr>
          <p:spPr>
            <a:xfrm>
              <a:off x="1514575" y="4975800"/>
              <a:ext cx="358550" cy="120975"/>
            </a:xfrm>
            <a:custGeom>
              <a:avLst/>
              <a:gdLst/>
              <a:ahLst/>
              <a:cxnLst/>
              <a:rect l="l" t="t" r="r" b="b"/>
              <a:pathLst>
                <a:path w="14342" h="4839" extrusionOk="0">
                  <a:moveTo>
                    <a:pt x="1037" y="0"/>
                  </a:moveTo>
                  <a:lnTo>
                    <a:pt x="899" y="35"/>
                  </a:lnTo>
                  <a:lnTo>
                    <a:pt x="726" y="104"/>
                  </a:lnTo>
                  <a:lnTo>
                    <a:pt x="623" y="208"/>
                  </a:lnTo>
                  <a:lnTo>
                    <a:pt x="554" y="380"/>
                  </a:lnTo>
                  <a:lnTo>
                    <a:pt x="277" y="1383"/>
                  </a:lnTo>
                  <a:lnTo>
                    <a:pt x="35" y="2419"/>
                  </a:lnTo>
                  <a:lnTo>
                    <a:pt x="1" y="2730"/>
                  </a:lnTo>
                  <a:lnTo>
                    <a:pt x="1" y="3076"/>
                  </a:lnTo>
                  <a:lnTo>
                    <a:pt x="35" y="3421"/>
                  </a:lnTo>
                  <a:lnTo>
                    <a:pt x="104" y="3767"/>
                  </a:lnTo>
                  <a:lnTo>
                    <a:pt x="173" y="4078"/>
                  </a:lnTo>
                  <a:lnTo>
                    <a:pt x="277" y="4320"/>
                  </a:lnTo>
                  <a:lnTo>
                    <a:pt x="381" y="4527"/>
                  </a:lnTo>
                  <a:lnTo>
                    <a:pt x="519" y="4665"/>
                  </a:lnTo>
                  <a:lnTo>
                    <a:pt x="692" y="4735"/>
                  </a:lnTo>
                  <a:lnTo>
                    <a:pt x="968" y="4769"/>
                  </a:lnTo>
                  <a:lnTo>
                    <a:pt x="1763" y="4804"/>
                  </a:lnTo>
                  <a:lnTo>
                    <a:pt x="2731" y="4838"/>
                  </a:lnTo>
                  <a:lnTo>
                    <a:pt x="3733" y="4838"/>
                  </a:lnTo>
                  <a:lnTo>
                    <a:pt x="3802" y="4769"/>
                  </a:lnTo>
                  <a:lnTo>
                    <a:pt x="3871" y="4700"/>
                  </a:lnTo>
                  <a:lnTo>
                    <a:pt x="3906" y="4596"/>
                  </a:lnTo>
                  <a:lnTo>
                    <a:pt x="3940" y="4458"/>
                  </a:lnTo>
                  <a:lnTo>
                    <a:pt x="3940" y="4285"/>
                  </a:lnTo>
                  <a:lnTo>
                    <a:pt x="3975" y="4285"/>
                  </a:lnTo>
                  <a:lnTo>
                    <a:pt x="4113" y="4251"/>
                  </a:lnTo>
                  <a:lnTo>
                    <a:pt x="4562" y="4285"/>
                  </a:lnTo>
                  <a:lnTo>
                    <a:pt x="6152" y="4493"/>
                  </a:lnTo>
                  <a:lnTo>
                    <a:pt x="8018" y="4700"/>
                  </a:lnTo>
                  <a:lnTo>
                    <a:pt x="8882" y="4804"/>
                  </a:lnTo>
                  <a:lnTo>
                    <a:pt x="9573" y="4838"/>
                  </a:lnTo>
                  <a:lnTo>
                    <a:pt x="10195" y="4838"/>
                  </a:lnTo>
                  <a:lnTo>
                    <a:pt x="10921" y="4735"/>
                  </a:lnTo>
                  <a:lnTo>
                    <a:pt x="11681" y="4562"/>
                  </a:lnTo>
                  <a:lnTo>
                    <a:pt x="12441" y="4354"/>
                  </a:lnTo>
                  <a:lnTo>
                    <a:pt x="12787" y="4216"/>
                  </a:lnTo>
                  <a:lnTo>
                    <a:pt x="13098" y="4078"/>
                  </a:lnTo>
                  <a:lnTo>
                    <a:pt x="13409" y="3905"/>
                  </a:lnTo>
                  <a:lnTo>
                    <a:pt x="13685" y="3732"/>
                  </a:lnTo>
                  <a:lnTo>
                    <a:pt x="13927" y="3525"/>
                  </a:lnTo>
                  <a:lnTo>
                    <a:pt x="14100" y="3318"/>
                  </a:lnTo>
                  <a:lnTo>
                    <a:pt x="14238" y="3110"/>
                  </a:lnTo>
                  <a:lnTo>
                    <a:pt x="14342" y="2868"/>
                  </a:lnTo>
                  <a:lnTo>
                    <a:pt x="14307" y="2627"/>
                  </a:lnTo>
                  <a:lnTo>
                    <a:pt x="14238" y="2385"/>
                  </a:lnTo>
                  <a:lnTo>
                    <a:pt x="14100" y="2177"/>
                  </a:lnTo>
                  <a:lnTo>
                    <a:pt x="13892" y="2005"/>
                  </a:lnTo>
                  <a:lnTo>
                    <a:pt x="13650" y="1797"/>
                  </a:lnTo>
                  <a:lnTo>
                    <a:pt x="13374" y="1659"/>
                  </a:lnTo>
                  <a:lnTo>
                    <a:pt x="13063" y="1486"/>
                  </a:lnTo>
                  <a:lnTo>
                    <a:pt x="12752" y="1383"/>
                  </a:lnTo>
                  <a:lnTo>
                    <a:pt x="12061" y="1141"/>
                  </a:lnTo>
                  <a:lnTo>
                    <a:pt x="11439" y="1002"/>
                  </a:lnTo>
                  <a:lnTo>
                    <a:pt x="10886" y="899"/>
                  </a:lnTo>
                  <a:lnTo>
                    <a:pt x="10506" y="830"/>
                  </a:lnTo>
                  <a:lnTo>
                    <a:pt x="10195" y="830"/>
                  </a:lnTo>
                  <a:lnTo>
                    <a:pt x="9815" y="899"/>
                  </a:lnTo>
                  <a:lnTo>
                    <a:pt x="8951" y="1141"/>
                  </a:lnTo>
                  <a:lnTo>
                    <a:pt x="8432" y="1279"/>
                  </a:lnTo>
                  <a:lnTo>
                    <a:pt x="7845" y="1417"/>
                  </a:lnTo>
                  <a:lnTo>
                    <a:pt x="7223" y="1555"/>
                  </a:lnTo>
                  <a:lnTo>
                    <a:pt x="6497" y="1624"/>
                  </a:lnTo>
                  <a:lnTo>
                    <a:pt x="5841" y="1624"/>
                  </a:lnTo>
                  <a:lnTo>
                    <a:pt x="5288" y="1555"/>
                  </a:lnTo>
                  <a:lnTo>
                    <a:pt x="4804" y="1452"/>
                  </a:lnTo>
                  <a:lnTo>
                    <a:pt x="4389" y="1279"/>
                  </a:lnTo>
                  <a:lnTo>
                    <a:pt x="4044" y="1106"/>
                  </a:lnTo>
                  <a:lnTo>
                    <a:pt x="3767" y="899"/>
                  </a:lnTo>
                  <a:lnTo>
                    <a:pt x="3318" y="553"/>
                  </a:lnTo>
                  <a:lnTo>
                    <a:pt x="3007" y="380"/>
                  </a:lnTo>
                  <a:lnTo>
                    <a:pt x="2489" y="173"/>
                  </a:lnTo>
                  <a:lnTo>
                    <a:pt x="2178" y="104"/>
                  </a:lnTo>
                  <a:lnTo>
                    <a:pt x="1832" y="35"/>
                  </a:lnTo>
                  <a:lnTo>
                    <a:pt x="145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5" name="Google Shape;2454;p11">
              <a:extLst>
                <a:ext uri="{FF2B5EF4-FFF2-40B4-BE49-F238E27FC236}">
                  <a16:creationId xmlns:a16="http://schemas.microsoft.com/office/drawing/2014/main" id="{08D4522B-4372-95C5-7E5F-2513A96FD4AD}"/>
                </a:ext>
              </a:extLst>
            </p:cNvPr>
            <p:cNvSpPr/>
            <p:nvPr/>
          </p:nvSpPr>
          <p:spPr>
            <a:xfrm>
              <a:off x="1318475" y="4255300"/>
              <a:ext cx="6075" cy="25925"/>
            </a:xfrm>
            <a:custGeom>
              <a:avLst/>
              <a:gdLst/>
              <a:ahLst/>
              <a:cxnLst/>
              <a:rect l="l" t="t" r="r" b="b"/>
              <a:pathLst>
                <a:path w="243" h="1037" extrusionOk="0">
                  <a:moveTo>
                    <a:pt x="242" y="0"/>
                  </a:moveTo>
                  <a:lnTo>
                    <a:pt x="242" y="0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6" name="Google Shape;2455;p11">
              <a:extLst>
                <a:ext uri="{FF2B5EF4-FFF2-40B4-BE49-F238E27FC236}">
                  <a16:creationId xmlns:a16="http://schemas.microsoft.com/office/drawing/2014/main" id="{48DB6774-9A21-7085-0930-758D0271620C}"/>
                </a:ext>
              </a:extLst>
            </p:cNvPr>
            <p:cNvSpPr/>
            <p:nvPr/>
          </p:nvSpPr>
          <p:spPr>
            <a:xfrm>
              <a:off x="1318475" y="4255300"/>
              <a:ext cx="6075" cy="25925"/>
            </a:xfrm>
            <a:custGeom>
              <a:avLst/>
              <a:gdLst/>
              <a:ahLst/>
              <a:cxnLst/>
              <a:rect l="l" t="t" r="r" b="b"/>
              <a:pathLst>
                <a:path w="243" h="1037" fill="none" extrusionOk="0">
                  <a:moveTo>
                    <a:pt x="242" y="0"/>
                  </a:moveTo>
                  <a:lnTo>
                    <a:pt x="242" y="0"/>
                  </a:lnTo>
                  <a:lnTo>
                    <a:pt x="0" y="1037"/>
                  </a:lnTo>
                  <a:lnTo>
                    <a:pt x="0" y="1037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4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7" name="Google Shape;2456;p11">
              <a:extLst>
                <a:ext uri="{FF2B5EF4-FFF2-40B4-BE49-F238E27FC236}">
                  <a16:creationId xmlns:a16="http://schemas.microsoft.com/office/drawing/2014/main" id="{C4CB2994-AFB9-EA8E-5CA1-0C84C3BF40A6}"/>
                </a:ext>
              </a:extLst>
            </p:cNvPr>
            <p:cNvSpPr/>
            <p:nvPr/>
          </p:nvSpPr>
          <p:spPr>
            <a:xfrm>
              <a:off x="1131875" y="4228525"/>
              <a:ext cx="192675" cy="57900"/>
            </a:xfrm>
            <a:custGeom>
              <a:avLst/>
              <a:gdLst/>
              <a:ahLst/>
              <a:cxnLst/>
              <a:rect l="l" t="t" r="r" b="b"/>
              <a:pathLst>
                <a:path w="7707" h="2316" extrusionOk="0">
                  <a:moveTo>
                    <a:pt x="35" y="0"/>
                  </a:moveTo>
                  <a:lnTo>
                    <a:pt x="0" y="1279"/>
                  </a:lnTo>
                  <a:lnTo>
                    <a:pt x="449" y="1417"/>
                  </a:lnTo>
                  <a:lnTo>
                    <a:pt x="899" y="1555"/>
                  </a:lnTo>
                  <a:lnTo>
                    <a:pt x="1382" y="1693"/>
                  </a:lnTo>
                  <a:lnTo>
                    <a:pt x="1901" y="1762"/>
                  </a:lnTo>
                  <a:lnTo>
                    <a:pt x="2903" y="1935"/>
                  </a:lnTo>
                  <a:lnTo>
                    <a:pt x="3940" y="2039"/>
                  </a:lnTo>
                  <a:lnTo>
                    <a:pt x="5875" y="2143"/>
                  </a:lnTo>
                  <a:lnTo>
                    <a:pt x="6704" y="2212"/>
                  </a:lnTo>
                  <a:lnTo>
                    <a:pt x="7430" y="2315"/>
                  </a:lnTo>
                  <a:lnTo>
                    <a:pt x="7464" y="2108"/>
                  </a:lnTo>
                  <a:lnTo>
                    <a:pt x="7706" y="1071"/>
                  </a:lnTo>
                  <a:lnTo>
                    <a:pt x="6808" y="1071"/>
                  </a:lnTo>
                  <a:lnTo>
                    <a:pt x="5875" y="1002"/>
                  </a:lnTo>
                  <a:lnTo>
                    <a:pt x="4873" y="898"/>
                  </a:lnTo>
                  <a:lnTo>
                    <a:pt x="3871" y="760"/>
                  </a:lnTo>
                  <a:lnTo>
                    <a:pt x="2834" y="587"/>
                  </a:lnTo>
                  <a:lnTo>
                    <a:pt x="1866" y="415"/>
                  </a:lnTo>
                  <a:lnTo>
                    <a:pt x="899" y="20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8" name="Google Shape;2457;p11">
              <a:extLst>
                <a:ext uri="{FF2B5EF4-FFF2-40B4-BE49-F238E27FC236}">
                  <a16:creationId xmlns:a16="http://schemas.microsoft.com/office/drawing/2014/main" id="{C622A916-FB4C-A8AE-E76F-378AA94E5D05}"/>
                </a:ext>
              </a:extLst>
            </p:cNvPr>
            <p:cNvSpPr/>
            <p:nvPr/>
          </p:nvSpPr>
          <p:spPr>
            <a:xfrm>
              <a:off x="1131875" y="4228525"/>
              <a:ext cx="192675" cy="57900"/>
            </a:xfrm>
            <a:custGeom>
              <a:avLst/>
              <a:gdLst/>
              <a:ahLst/>
              <a:cxnLst/>
              <a:rect l="l" t="t" r="r" b="b"/>
              <a:pathLst>
                <a:path w="7707" h="2316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0" y="1279"/>
                  </a:lnTo>
                  <a:lnTo>
                    <a:pt x="0" y="1279"/>
                  </a:lnTo>
                  <a:lnTo>
                    <a:pt x="449" y="1417"/>
                  </a:lnTo>
                  <a:lnTo>
                    <a:pt x="899" y="1555"/>
                  </a:lnTo>
                  <a:lnTo>
                    <a:pt x="1382" y="1693"/>
                  </a:lnTo>
                  <a:lnTo>
                    <a:pt x="1901" y="1762"/>
                  </a:lnTo>
                  <a:lnTo>
                    <a:pt x="2903" y="1935"/>
                  </a:lnTo>
                  <a:lnTo>
                    <a:pt x="3940" y="2039"/>
                  </a:lnTo>
                  <a:lnTo>
                    <a:pt x="5875" y="2143"/>
                  </a:lnTo>
                  <a:lnTo>
                    <a:pt x="6704" y="2212"/>
                  </a:lnTo>
                  <a:lnTo>
                    <a:pt x="7430" y="2315"/>
                  </a:lnTo>
                  <a:lnTo>
                    <a:pt x="7430" y="2315"/>
                  </a:lnTo>
                  <a:lnTo>
                    <a:pt x="7464" y="2108"/>
                  </a:lnTo>
                  <a:lnTo>
                    <a:pt x="7464" y="2108"/>
                  </a:lnTo>
                  <a:lnTo>
                    <a:pt x="7706" y="1071"/>
                  </a:lnTo>
                  <a:lnTo>
                    <a:pt x="7706" y="1071"/>
                  </a:lnTo>
                  <a:lnTo>
                    <a:pt x="6808" y="1071"/>
                  </a:lnTo>
                  <a:lnTo>
                    <a:pt x="5875" y="1002"/>
                  </a:lnTo>
                  <a:lnTo>
                    <a:pt x="4873" y="898"/>
                  </a:lnTo>
                  <a:lnTo>
                    <a:pt x="3871" y="760"/>
                  </a:lnTo>
                  <a:lnTo>
                    <a:pt x="2834" y="587"/>
                  </a:lnTo>
                  <a:lnTo>
                    <a:pt x="1866" y="415"/>
                  </a:lnTo>
                  <a:lnTo>
                    <a:pt x="899" y="207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9" name="Google Shape;2458;p11">
              <a:extLst>
                <a:ext uri="{FF2B5EF4-FFF2-40B4-BE49-F238E27FC236}">
                  <a16:creationId xmlns:a16="http://schemas.microsoft.com/office/drawing/2014/main" id="{C11A622E-CDD6-C3D8-87CB-8E5ED98E3429}"/>
                </a:ext>
              </a:extLst>
            </p:cNvPr>
            <p:cNvSpPr/>
            <p:nvPr/>
          </p:nvSpPr>
          <p:spPr>
            <a:xfrm>
              <a:off x="1423000" y="4233700"/>
              <a:ext cx="6950" cy="39750"/>
            </a:xfrm>
            <a:custGeom>
              <a:avLst/>
              <a:gdLst/>
              <a:ahLst/>
              <a:cxnLst/>
              <a:rect l="l" t="t" r="r" b="b"/>
              <a:pathLst>
                <a:path w="278" h="1590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77" y="1590"/>
                  </a:lnTo>
                  <a:lnTo>
                    <a:pt x="277" y="159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0" name="Google Shape;2459;p11">
              <a:extLst>
                <a:ext uri="{FF2B5EF4-FFF2-40B4-BE49-F238E27FC236}">
                  <a16:creationId xmlns:a16="http://schemas.microsoft.com/office/drawing/2014/main" id="{0F762A24-711D-BCB5-C00D-47EA6F6D87DC}"/>
                </a:ext>
              </a:extLst>
            </p:cNvPr>
            <p:cNvSpPr/>
            <p:nvPr/>
          </p:nvSpPr>
          <p:spPr>
            <a:xfrm>
              <a:off x="1423000" y="4233700"/>
              <a:ext cx="6950" cy="39750"/>
            </a:xfrm>
            <a:custGeom>
              <a:avLst/>
              <a:gdLst/>
              <a:ahLst/>
              <a:cxnLst/>
              <a:rect l="l" t="t" r="r" b="b"/>
              <a:pathLst>
                <a:path w="278" h="1590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77" y="1590"/>
                  </a:lnTo>
                  <a:lnTo>
                    <a:pt x="277" y="159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1" name="Google Shape;2460;p11">
              <a:extLst>
                <a:ext uri="{FF2B5EF4-FFF2-40B4-BE49-F238E27FC236}">
                  <a16:creationId xmlns:a16="http://schemas.microsoft.com/office/drawing/2014/main" id="{AC238457-6B68-FF88-E6BC-7BB6D3713954}"/>
                </a:ext>
              </a:extLst>
            </p:cNvPr>
            <p:cNvSpPr/>
            <p:nvPr/>
          </p:nvSpPr>
          <p:spPr>
            <a:xfrm>
              <a:off x="1423000" y="4208650"/>
              <a:ext cx="181450" cy="68275"/>
            </a:xfrm>
            <a:custGeom>
              <a:avLst/>
              <a:gdLst/>
              <a:ahLst/>
              <a:cxnLst/>
              <a:rect l="l" t="t" r="r" b="b"/>
              <a:pathLst>
                <a:path w="7258" h="2731" extrusionOk="0">
                  <a:moveTo>
                    <a:pt x="3595" y="0"/>
                  </a:moveTo>
                  <a:lnTo>
                    <a:pt x="3007" y="69"/>
                  </a:lnTo>
                  <a:lnTo>
                    <a:pt x="2420" y="173"/>
                  </a:lnTo>
                  <a:lnTo>
                    <a:pt x="1901" y="311"/>
                  </a:lnTo>
                  <a:lnTo>
                    <a:pt x="1383" y="449"/>
                  </a:lnTo>
                  <a:lnTo>
                    <a:pt x="899" y="622"/>
                  </a:lnTo>
                  <a:lnTo>
                    <a:pt x="1" y="1002"/>
                  </a:lnTo>
                  <a:lnTo>
                    <a:pt x="277" y="2592"/>
                  </a:lnTo>
                  <a:lnTo>
                    <a:pt x="277" y="2730"/>
                  </a:lnTo>
                  <a:lnTo>
                    <a:pt x="623" y="2592"/>
                  </a:lnTo>
                  <a:lnTo>
                    <a:pt x="1003" y="2488"/>
                  </a:lnTo>
                  <a:lnTo>
                    <a:pt x="1383" y="2385"/>
                  </a:lnTo>
                  <a:lnTo>
                    <a:pt x="1763" y="2315"/>
                  </a:lnTo>
                  <a:lnTo>
                    <a:pt x="2558" y="2246"/>
                  </a:lnTo>
                  <a:lnTo>
                    <a:pt x="3387" y="2212"/>
                  </a:lnTo>
                  <a:lnTo>
                    <a:pt x="4389" y="2246"/>
                  </a:lnTo>
                  <a:lnTo>
                    <a:pt x="5392" y="2350"/>
                  </a:lnTo>
                  <a:lnTo>
                    <a:pt x="6359" y="2454"/>
                  </a:lnTo>
                  <a:lnTo>
                    <a:pt x="7258" y="2592"/>
                  </a:lnTo>
                  <a:lnTo>
                    <a:pt x="7119" y="449"/>
                  </a:lnTo>
                  <a:lnTo>
                    <a:pt x="6325" y="242"/>
                  </a:lnTo>
                  <a:lnTo>
                    <a:pt x="5564" y="104"/>
                  </a:lnTo>
                  <a:lnTo>
                    <a:pt x="4873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2" name="Google Shape;2461;p11">
              <a:extLst>
                <a:ext uri="{FF2B5EF4-FFF2-40B4-BE49-F238E27FC236}">
                  <a16:creationId xmlns:a16="http://schemas.microsoft.com/office/drawing/2014/main" id="{3EDD5C57-5A85-76DD-3CFC-8620C0E1DF05}"/>
                </a:ext>
              </a:extLst>
            </p:cNvPr>
            <p:cNvSpPr/>
            <p:nvPr/>
          </p:nvSpPr>
          <p:spPr>
            <a:xfrm>
              <a:off x="1423000" y="4208650"/>
              <a:ext cx="181450" cy="68275"/>
            </a:xfrm>
            <a:custGeom>
              <a:avLst/>
              <a:gdLst/>
              <a:ahLst/>
              <a:cxnLst/>
              <a:rect l="l" t="t" r="r" b="b"/>
              <a:pathLst>
                <a:path w="7258" h="2731" fill="none" extrusionOk="0">
                  <a:moveTo>
                    <a:pt x="4217" y="0"/>
                  </a:moveTo>
                  <a:lnTo>
                    <a:pt x="4217" y="0"/>
                  </a:lnTo>
                  <a:lnTo>
                    <a:pt x="3595" y="0"/>
                  </a:lnTo>
                  <a:lnTo>
                    <a:pt x="3007" y="69"/>
                  </a:lnTo>
                  <a:lnTo>
                    <a:pt x="2420" y="173"/>
                  </a:lnTo>
                  <a:lnTo>
                    <a:pt x="1901" y="311"/>
                  </a:lnTo>
                  <a:lnTo>
                    <a:pt x="1383" y="449"/>
                  </a:lnTo>
                  <a:lnTo>
                    <a:pt x="899" y="622"/>
                  </a:lnTo>
                  <a:lnTo>
                    <a:pt x="1" y="1002"/>
                  </a:lnTo>
                  <a:lnTo>
                    <a:pt x="1" y="1002"/>
                  </a:lnTo>
                  <a:lnTo>
                    <a:pt x="277" y="2592"/>
                  </a:lnTo>
                  <a:lnTo>
                    <a:pt x="277" y="2592"/>
                  </a:lnTo>
                  <a:lnTo>
                    <a:pt x="277" y="2730"/>
                  </a:lnTo>
                  <a:lnTo>
                    <a:pt x="277" y="2730"/>
                  </a:lnTo>
                  <a:lnTo>
                    <a:pt x="623" y="2592"/>
                  </a:lnTo>
                  <a:lnTo>
                    <a:pt x="1003" y="2488"/>
                  </a:lnTo>
                  <a:lnTo>
                    <a:pt x="1383" y="2385"/>
                  </a:lnTo>
                  <a:lnTo>
                    <a:pt x="1763" y="2315"/>
                  </a:lnTo>
                  <a:lnTo>
                    <a:pt x="2558" y="2246"/>
                  </a:lnTo>
                  <a:lnTo>
                    <a:pt x="3387" y="2212"/>
                  </a:lnTo>
                  <a:lnTo>
                    <a:pt x="3387" y="2212"/>
                  </a:lnTo>
                  <a:lnTo>
                    <a:pt x="4389" y="2246"/>
                  </a:lnTo>
                  <a:lnTo>
                    <a:pt x="5392" y="2350"/>
                  </a:lnTo>
                  <a:lnTo>
                    <a:pt x="6359" y="2454"/>
                  </a:lnTo>
                  <a:lnTo>
                    <a:pt x="7258" y="2592"/>
                  </a:lnTo>
                  <a:lnTo>
                    <a:pt x="7258" y="2592"/>
                  </a:lnTo>
                  <a:lnTo>
                    <a:pt x="7119" y="449"/>
                  </a:lnTo>
                  <a:lnTo>
                    <a:pt x="7119" y="449"/>
                  </a:lnTo>
                  <a:lnTo>
                    <a:pt x="6325" y="242"/>
                  </a:lnTo>
                  <a:lnTo>
                    <a:pt x="5564" y="104"/>
                  </a:lnTo>
                  <a:lnTo>
                    <a:pt x="4873" y="0"/>
                  </a:lnTo>
                  <a:lnTo>
                    <a:pt x="421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3" name="Google Shape;2462;p11">
              <a:extLst>
                <a:ext uri="{FF2B5EF4-FFF2-40B4-BE49-F238E27FC236}">
                  <a16:creationId xmlns:a16="http://schemas.microsoft.com/office/drawing/2014/main" id="{5D6BBF3B-641D-5A77-07BE-4E690D4ADCC4}"/>
                </a:ext>
              </a:extLst>
            </p:cNvPr>
            <p:cNvSpPr/>
            <p:nvPr/>
          </p:nvSpPr>
          <p:spPr>
            <a:xfrm>
              <a:off x="785450" y="3182325"/>
              <a:ext cx="901925" cy="1073000"/>
            </a:xfrm>
            <a:custGeom>
              <a:avLst/>
              <a:gdLst/>
              <a:ahLst/>
              <a:cxnLst/>
              <a:rect l="l" t="t" r="r" b="b"/>
              <a:pathLst>
                <a:path w="36077" h="42920" extrusionOk="0">
                  <a:moveTo>
                    <a:pt x="20872" y="0"/>
                  </a:moveTo>
                  <a:lnTo>
                    <a:pt x="20250" y="35"/>
                  </a:lnTo>
                  <a:lnTo>
                    <a:pt x="19663" y="104"/>
                  </a:lnTo>
                  <a:lnTo>
                    <a:pt x="19041" y="173"/>
                  </a:lnTo>
                  <a:lnTo>
                    <a:pt x="18453" y="311"/>
                  </a:lnTo>
                  <a:lnTo>
                    <a:pt x="17831" y="484"/>
                  </a:lnTo>
                  <a:lnTo>
                    <a:pt x="17244" y="691"/>
                  </a:lnTo>
                  <a:lnTo>
                    <a:pt x="16622" y="933"/>
                  </a:lnTo>
                  <a:lnTo>
                    <a:pt x="16034" y="1210"/>
                  </a:lnTo>
                  <a:lnTo>
                    <a:pt x="15239" y="1659"/>
                  </a:lnTo>
                  <a:lnTo>
                    <a:pt x="14445" y="2212"/>
                  </a:lnTo>
                  <a:lnTo>
                    <a:pt x="14065" y="2488"/>
                  </a:lnTo>
                  <a:lnTo>
                    <a:pt x="13684" y="2834"/>
                  </a:lnTo>
                  <a:lnTo>
                    <a:pt x="13304" y="3179"/>
                  </a:lnTo>
                  <a:lnTo>
                    <a:pt x="12924" y="3560"/>
                  </a:lnTo>
                  <a:lnTo>
                    <a:pt x="12890" y="3629"/>
                  </a:lnTo>
                  <a:lnTo>
                    <a:pt x="12302" y="4596"/>
                  </a:lnTo>
                  <a:lnTo>
                    <a:pt x="11784" y="5598"/>
                  </a:lnTo>
                  <a:lnTo>
                    <a:pt x="11335" y="6600"/>
                  </a:lnTo>
                  <a:lnTo>
                    <a:pt x="10920" y="7568"/>
                  </a:lnTo>
                  <a:lnTo>
                    <a:pt x="10574" y="8570"/>
                  </a:lnTo>
                  <a:lnTo>
                    <a:pt x="10263" y="9607"/>
                  </a:lnTo>
                  <a:lnTo>
                    <a:pt x="9987" y="10609"/>
                  </a:lnTo>
                  <a:lnTo>
                    <a:pt x="9710" y="11611"/>
                  </a:lnTo>
                  <a:lnTo>
                    <a:pt x="9503" y="12648"/>
                  </a:lnTo>
                  <a:lnTo>
                    <a:pt x="9330" y="13685"/>
                  </a:lnTo>
                  <a:lnTo>
                    <a:pt x="8950" y="15758"/>
                  </a:lnTo>
                  <a:lnTo>
                    <a:pt x="8639" y="17900"/>
                  </a:lnTo>
                  <a:lnTo>
                    <a:pt x="8294" y="20043"/>
                  </a:lnTo>
                  <a:lnTo>
                    <a:pt x="7914" y="22220"/>
                  </a:lnTo>
                  <a:lnTo>
                    <a:pt x="7672" y="23360"/>
                  </a:lnTo>
                  <a:lnTo>
                    <a:pt x="7430" y="24466"/>
                  </a:lnTo>
                  <a:lnTo>
                    <a:pt x="7119" y="25607"/>
                  </a:lnTo>
                  <a:lnTo>
                    <a:pt x="6773" y="26747"/>
                  </a:lnTo>
                  <a:lnTo>
                    <a:pt x="6393" y="27922"/>
                  </a:lnTo>
                  <a:lnTo>
                    <a:pt x="5944" y="29097"/>
                  </a:lnTo>
                  <a:lnTo>
                    <a:pt x="5460" y="30272"/>
                  </a:lnTo>
                  <a:lnTo>
                    <a:pt x="4907" y="31481"/>
                  </a:lnTo>
                  <a:lnTo>
                    <a:pt x="4285" y="32691"/>
                  </a:lnTo>
                  <a:lnTo>
                    <a:pt x="3594" y="33935"/>
                  </a:lnTo>
                  <a:lnTo>
                    <a:pt x="2834" y="35179"/>
                  </a:lnTo>
                  <a:lnTo>
                    <a:pt x="1970" y="36423"/>
                  </a:lnTo>
                  <a:lnTo>
                    <a:pt x="1037" y="37701"/>
                  </a:lnTo>
                  <a:lnTo>
                    <a:pt x="0" y="39014"/>
                  </a:lnTo>
                  <a:lnTo>
                    <a:pt x="242" y="39256"/>
                  </a:lnTo>
                  <a:lnTo>
                    <a:pt x="518" y="39498"/>
                  </a:lnTo>
                  <a:lnTo>
                    <a:pt x="864" y="39706"/>
                  </a:lnTo>
                  <a:lnTo>
                    <a:pt x="1175" y="39878"/>
                  </a:lnTo>
                  <a:lnTo>
                    <a:pt x="1555" y="40017"/>
                  </a:lnTo>
                  <a:lnTo>
                    <a:pt x="1935" y="40155"/>
                  </a:lnTo>
                  <a:lnTo>
                    <a:pt x="2350" y="40224"/>
                  </a:lnTo>
                  <a:lnTo>
                    <a:pt x="2799" y="40328"/>
                  </a:lnTo>
                  <a:lnTo>
                    <a:pt x="3698" y="40431"/>
                  </a:lnTo>
                  <a:lnTo>
                    <a:pt x="4631" y="40466"/>
                  </a:lnTo>
                  <a:lnTo>
                    <a:pt x="8639" y="40466"/>
                  </a:lnTo>
                  <a:lnTo>
                    <a:pt x="9261" y="40500"/>
                  </a:lnTo>
                  <a:lnTo>
                    <a:pt x="9849" y="40569"/>
                  </a:lnTo>
                  <a:lnTo>
                    <a:pt x="10367" y="40673"/>
                  </a:lnTo>
                  <a:lnTo>
                    <a:pt x="10851" y="40811"/>
                  </a:lnTo>
                  <a:lnTo>
                    <a:pt x="11300" y="40984"/>
                  </a:lnTo>
                  <a:lnTo>
                    <a:pt x="11646" y="41157"/>
                  </a:lnTo>
                  <a:lnTo>
                    <a:pt x="12095" y="41330"/>
                  </a:lnTo>
                  <a:lnTo>
                    <a:pt x="12613" y="41502"/>
                  </a:lnTo>
                  <a:lnTo>
                    <a:pt x="13235" y="41675"/>
                  </a:lnTo>
                  <a:lnTo>
                    <a:pt x="14479" y="41986"/>
                  </a:lnTo>
                  <a:lnTo>
                    <a:pt x="15861" y="42297"/>
                  </a:lnTo>
                  <a:lnTo>
                    <a:pt x="17313" y="42539"/>
                  </a:lnTo>
                  <a:lnTo>
                    <a:pt x="18764" y="42746"/>
                  </a:lnTo>
                  <a:lnTo>
                    <a:pt x="20216" y="42885"/>
                  </a:lnTo>
                  <a:lnTo>
                    <a:pt x="20872" y="42919"/>
                  </a:lnTo>
                  <a:lnTo>
                    <a:pt x="22151" y="42919"/>
                  </a:lnTo>
                  <a:lnTo>
                    <a:pt x="22704" y="42885"/>
                  </a:lnTo>
                  <a:lnTo>
                    <a:pt x="23187" y="42850"/>
                  </a:lnTo>
                  <a:lnTo>
                    <a:pt x="23637" y="42746"/>
                  </a:lnTo>
                  <a:lnTo>
                    <a:pt x="24155" y="42574"/>
                  </a:lnTo>
                  <a:lnTo>
                    <a:pt x="24673" y="42401"/>
                  </a:lnTo>
                  <a:lnTo>
                    <a:pt x="25745" y="41952"/>
                  </a:lnTo>
                  <a:lnTo>
                    <a:pt x="26332" y="41710"/>
                  </a:lnTo>
                  <a:lnTo>
                    <a:pt x="26920" y="41502"/>
                  </a:lnTo>
                  <a:lnTo>
                    <a:pt x="27542" y="41330"/>
                  </a:lnTo>
                  <a:lnTo>
                    <a:pt x="28233" y="41157"/>
                  </a:lnTo>
                  <a:lnTo>
                    <a:pt x="28924" y="41088"/>
                  </a:lnTo>
                  <a:lnTo>
                    <a:pt x="29684" y="41053"/>
                  </a:lnTo>
                  <a:lnTo>
                    <a:pt x="30513" y="41088"/>
                  </a:lnTo>
                  <a:lnTo>
                    <a:pt x="30963" y="41122"/>
                  </a:lnTo>
                  <a:lnTo>
                    <a:pt x="31412" y="41191"/>
                  </a:lnTo>
                  <a:lnTo>
                    <a:pt x="31861" y="41295"/>
                  </a:lnTo>
                  <a:lnTo>
                    <a:pt x="32345" y="41433"/>
                  </a:lnTo>
                  <a:lnTo>
                    <a:pt x="32863" y="41572"/>
                  </a:lnTo>
                  <a:lnTo>
                    <a:pt x="33382" y="41779"/>
                  </a:lnTo>
                  <a:lnTo>
                    <a:pt x="33934" y="41986"/>
                  </a:lnTo>
                  <a:lnTo>
                    <a:pt x="34487" y="42228"/>
                  </a:lnTo>
                  <a:lnTo>
                    <a:pt x="35075" y="42505"/>
                  </a:lnTo>
                  <a:lnTo>
                    <a:pt x="35697" y="42816"/>
                  </a:lnTo>
                  <a:lnTo>
                    <a:pt x="35835" y="42194"/>
                  </a:lnTo>
                  <a:lnTo>
                    <a:pt x="35939" y="41468"/>
                  </a:lnTo>
                  <a:lnTo>
                    <a:pt x="36008" y="40639"/>
                  </a:lnTo>
                  <a:lnTo>
                    <a:pt x="36042" y="39671"/>
                  </a:lnTo>
                  <a:lnTo>
                    <a:pt x="36077" y="38634"/>
                  </a:lnTo>
                  <a:lnTo>
                    <a:pt x="36042" y="37528"/>
                  </a:lnTo>
                  <a:lnTo>
                    <a:pt x="36008" y="36319"/>
                  </a:lnTo>
                  <a:lnTo>
                    <a:pt x="35939" y="35075"/>
                  </a:lnTo>
                  <a:lnTo>
                    <a:pt x="35766" y="32380"/>
                  </a:lnTo>
                  <a:lnTo>
                    <a:pt x="35455" y="29477"/>
                  </a:lnTo>
                  <a:lnTo>
                    <a:pt x="35109" y="26470"/>
                  </a:lnTo>
                  <a:lnTo>
                    <a:pt x="34695" y="23360"/>
                  </a:lnTo>
                  <a:lnTo>
                    <a:pt x="34211" y="20250"/>
                  </a:lnTo>
                  <a:lnTo>
                    <a:pt x="33693" y="17209"/>
                  </a:lnTo>
                  <a:lnTo>
                    <a:pt x="33140" y="14272"/>
                  </a:lnTo>
                  <a:lnTo>
                    <a:pt x="32552" y="11507"/>
                  </a:lnTo>
                  <a:lnTo>
                    <a:pt x="31965" y="8950"/>
                  </a:lnTo>
                  <a:lnTo>
                    <a:pt x="31377" y="6670"/>
                  </a:lnTo>
                  <a:lnTo>
                    <a:pt x="31101" y="5667"/>
                  </a:lnTo>
                  <a:lnTo>
                    <a:pt x="30790" y="4734"/>
                  </a:lnTo>
                  <a:lnTo>
                    <a:pt x="30513" y="3905"/>
                  </a:lnTo>
                  <a:lnTo>
                    <a:pt x="30237" y="3214"/>
                  </a:lnTo>
                  <a:lnTo>
                    <a:pt x="29995" y="2696"/>
                  </a:lnTo>
                  <a:lnTo>
                    <a:pt x="29753" y="2246"/>
                  </a:lnTo>
                  <a:lnTo>
                    <a:pt x="29442" y="2074"/>
                  </a:lnTo>
                  <a:lnTo>
                    <a:pt x="28509" y="1624"/>
                  </a:lnTo>
                  <a:lnTo>
                    <a:pt x="27853" y="1348"/>
                  </a:lnTo>
                  <a:lnTo>
                    <a:pt x="27092" y="1071"/>
                  </a:lnTo>
                  <a:lnTo>
                    <a:pt x="26228" y="760"/>
                  </a:lnTo>
                  <a:lnTo>
                    <a:pt x="25295" y="519"/>
                  </a:lnTo>
                  <a:lnTo>
                    <a:pt x="24259" y="277"/>
                  </a:lnTo>
                  <a:lnTo>
                    <a:pt x="23187" y="104"/>
                  </a:lnTo>
                  <a:lnTo>
                    <a:pt x="22600" y="35"/>
                  </a:lnTo>
                  <a:lnTo>
                    <a:pt x="22047" y="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4" name="Google Shape;2463;p11">
              <a:extLst>
                <a:ext uri="{FF2B5EF4-FFF2-40B4-BE49-F238E27FC236}">
                  <a16:creationId xmlns:a16="http://schemas.microsoft.com/office/drawing/2014/main" id="{EDDA4E23-6FE0-E16D-CBF5-CB805BB85B1F}"/>
                </a:ext>
              </a:extLst>
            </p:cNvPr>
            <p:cNvSpPr/>
            <p:nvPr/>
          </p:nvSpPr>
          <p:spPr>
            <a:xfrm>
              <a:off x="785450" y="3182325"/>
              <a:ext cx="901925" cy="1073000"/>
            </a:xfrm>
            <a:custGeom>
              <a:avLst/>
              <a:gdLst/>
              <a:ahLst/>
              <a:cxnLst/>
              <a:rect l="l" t="t" r="r" b="b"/>
              <a:pathLst>
                <a:path w="36077" h="42920" fill="none" extrusionOk="0">
                  <a:moveTo>
                    <a:pt x="0" y="39014"/>
                  </a:moveTo>
                  <a:lnTo>
                    <a:pt x="0" y="39014"/>
                  </a:lnTo>
                  <a:lnTo>
                    <a:pt x="242" y="39256"/>
                  </a:lnTo>
                  <a:lnTo>
                    <a:pt x="518" y="39498"/>
                  </a:lnTo>
                  <a:lnTo>
                    <a:pt x="864" y="39706"/>
                  </a:lnTo>
                  <a:lnTo>
                    <a:pt x="1175" y="39878"/>
                  </a:lnTo>
                  <a:lnTo>
                    <a:pt x="1555" y="40017"/>
                  </a:lnTo>
                  <a:lnTo>
                    <a:pt x="1935" y="40155"/>
                  </a:lnTo>
                  <a:lnTo>
                    <a:pt x="2350" y="40224"/>
                  </a:lnTo>
                  <a:lnTo>
                    <a:pt x="2799" y="40328"/>
                  </a:lnTo>
                  <a:lnTo>
                    <a:pt x="3698" y="40431"/>
                  </a:lnTo>
                  <a:lnTo>
                    <a:pt x="4631" y="40466"/>
                  </a:lnTo>
                  <a:lnTo>
                    <a:pt x="5633" y="40466"/>
                  </a:lnTo>
                  <a:lnTo>
                    <a:pt x="6600" y="40466"/>
                  </a:lnTo>
                  <a:lnTo>
                    <a:pt x="6600" y="40466"/>
                  </a:lnTo>
                  <a:lnTo>
                    <a:pt x="7983" y="40466"/>
                  </a:lnTo>
                  <a:lnTo>
                    <a:pt x="8639" y="40466"/>
                  </a:lnTo>
                  <a:lnTo>
                    <a:pt x="9261" y="40500"/>
                  </a:lnTo>
                  <a:lnTo>
                    <a:pt x="9849" y="40569"/>
                  </a:lnTo>
                  <a:lnTo>
                    <a:pt x="10367" y="40673"/>
                  </a:lnTo>
                  <a:lnTo>
                    <a:pt x="10851" y="40811"/>
                  </a:lnTo>
                  <a:lnTo>
                    <a:pt x="11300" y="40984"/>
                  </a:lnTo>
                  <a:lnTo>
                    <a:pt x="11300" y="40984"/>
                  </a:lnTo>
                  <a:lnTo>
                    <a:pt x="11646" y="41157"/>
                  </a:lnTo>
                  <a:lnTo>
                    <a:pt x="12095" y="41330"/>
                  </a:lnTo>
                  <a:lnTo>
                    <a:pt x="12613" y="41502"/>
                  </a:lnTo>
                  <a:lnTo>
                    <a:pt x="13235" y="41675"/>
                  </a:lnTo>
                  <a:lnTo>
                    <a:pt x="13235" y="41675"/>
                  </a:lnTo>
                  <a:lnTo>
                    <a:pt x="14479" y="41986"/>
                  </a:lnTo>
                  <a:lnTo>
                    <a:pt x="15861" y="42297"/>
                  </a:lnTo>
                  <a:lnTo>
                    <a:pt x="17313" y="42539"/>
                  </a:lnTo>
                  <a:lnTo>
                    <a:pt x="18764" y="42746"/>
                  </a:lnTo>
                  <a:lnTo>
                    <a:pt x="20216" y="42885"/>
                  </a:lnTo>
                  <a:lnTo>
                    <a:pt x="20872" y="42919"/>
                  </a:lnTo>
                  <a:lnTo>
                    <a:pt x="21529" y="42919"/>
                  </a:lnTo>
                  <a:lnTo>
                    <a:pt x="22151" y="42919"/>
                  </a:lnTo>
                  <a:lnTo>
                    <a:pt x="22704" y="42885"/>
                  </a:lnTo>
                  <a:lnTo>
                    <a:pt x="23187" y="42850"/>
                  </a:lnTo>
                  <a:lnTo>
                    <a:pt x="23637" y="42746"/>
                  </a:lnTo>
                  <a:lnTo>
                    <a:pt x="23637" y="42746"/>
                  </a:lnTo>
                  <a:lnTo>
                    <a:pt x="24155" y="42574"/>
                  </a:lnTo>
                  <a:lnTo>
                    <a:pt x="24673" y="42401"/>
                  </a:lnTo>
                  <a:lnTo>
                    <a:pt x="25745" y="41952"/>
                  </a:lnTo>
                  <a:lnTo>
                    <a:pt x="26332" y="41710"/>
                  </a:lnTo>
                  <a:lnTo>
                    <a:pt x="26920" y="41502"/>
                  </a:lnTo>
                  <a:lnTo>
                    <a:pt x="27542" y="41330"/>
                  </a:lnTo>
                  <a:lnTo>
                    <a:pt x="28233" y="41157"/>
                  </a:lnTo>
                  <a:lnTo>
                    <a:pt x="28924" y="41088"/>
                  </a:lnTo>
                  <a:lnTo>
                    <a:pt x="29684" y="41053"/>
                  </a:lnTo>
                  <a:lnTo>
                    <a:pt x="30513" y="41088"/>
                  </a:lnTo>
                  <a:lnTo>
                    <a:pt x="30963" y="41122"/>
                  </a:lnTo>
                  <a:lnTo>
                    <a:pt x="31412" y="41191"/>
                  </a:lnTo>
                  <a:lnTo>
                    <a:pt x="31861" y="41295"/>
                  </a:lnTo>
                  <a:lnTo>
                    <a:pt x="32345" y="41433"/>
                  </a:lnTo>
                  <a:lnTo>
                    <a:pt x="32863" y="41572"/>
                  </a:lnTo>
                  <a:lnTo>
                    <a:pt x="33382" y="41779"/>
                  </a:lnTo>
                  <a:lnTo>
                    <a:pt x="33934" y="41986"/>
                  </a:lnTo>
                  <a:lnTo>
                    <a:pt x="34487" y="42228"/>
                  </a:lnTo>
                  <a:lnTo>
                    <a:pt x="35075" y="42505"/>
                  </a:lnTo>
                  <a:lnTo>
                    <a:pt x="35697" y="42816"/>
                  </a:lnTo>
                  <a:lnTo>
                    <a:pt x="35697" y="42816"/>
                  </a:lnTo>
                  <a:lnTo>
                    <a:pt x="35835" y="42194"/>
                  </a:lnTo>
                  <a:lnTo>
                    <a:pt x="35939" y="41468"/>
                  </a:lnTo>
                  <a:lnTo>
                    <a:pt x="36008" y="40639"/>
                  </a:lnTo>
                  <a:lnTo>
                    <a:pt x="36042" y="39671"/>
                  </a:lnTo>
                  <a:lnTo>
                    <a:pt x="36077" y="38634"/>
                  </a:lnTo>
                  <a:lnTo>
                    <a:pt x="36042" y="37528"/>
                  </a:lnTo>
                  <a:lnTo>
                    <a:pt x="36008" y="36319"/>
                  </a:lnTo>
                  <a:lnTo>
                    <a:pt x="35939" y="35075"/>
                  </a:lnTo>
                  <a:lnTo>
                    <a:pt x="35766" y="32380"/>
                  </a:lnTo>
                  <a:lnTo>
                    <a:pt x="35455" y="29477"/>
                  </a:lnTo>
                  <a:lnTo>
                    <a:pt x="35109" y="26470"/>
                  </a:lnTo>
                  <a:lnTo>
                    <a:pt x="34695" y="23360"/>
                  </a:lnTo>
                  <a:lnTo>
                    <a:pt x="34211" y="20250"/>
                  </a:lnTo>
                  <a:lnTo>
                    <a:pt x="33693" y="17209"/>
                  </a:lnTo>
                  <a:lnTo>
                    <a:pt x="33140" y="14272"/>
                  </a:lnTo>
                  <a:lnTo>
                    <a:pt x="32552" y="11507"/>
                  </a:lnTo>
                  <a:lnTo>
                    <a:pt x="31965" y="8950"/>
                  </a:lnTo>
                  <a:lnTo>
                    <a:pt x="31377" y="6670"/>
                  </a:lnTo>
                  <a:lnTo>
                    <a:pt x="31101" y="5667"/>
                  </a:lnTo>
                  <a:lnTo>
                    <a:pt x="30790" y="4734"/>
                  </a:lnTo>
                  <a:lnTo>
                    <a:pt x="30513" y="3905"/>
                  </a:lnTo>
                  <a:lnTo>
                    <a:pt x="30237" y="3214"/>
                  </a:lnTo>
                  <a:lnTo>
                    <a:pt x="30237" y="3214"/>
                  </a:lnTo>
                  <a:lnTo>
                    <a:pt x="30237" y="3214"/>
                  </a:lnTo>
                  <a:lnTo>
                    <a:pt x="29995" y="2696"/>
                  </a:lnTo>
                  <a:lnTo>
                    <a:pt x="29753" y="2246"/>
                  </a:lnTo>
                  <a:lnTo>
                    <a:pt x="29753" y="2246"/>
                  </a:lnTo>
                  <a:lnTo>
                    <a:pt x="29442" y="2074"/>
                  </a:lnTo>
                  <a:lnTo>
                    <a:pt x="28509" y="1624"/>
                  </a:lnTo>
                  <a:lnTo>
                    <a:pt x="27853" y="1348"/>
                  </a:lnTo>
                  <a:lnTo>
                    <a:pt x="27092" y="1071"/>
                  </a:lnTo>
                  <a:lnTo>
                    <a:pt x="26228" y="760"/>
                  </a:lnTo>
                  <a:lnTo>
                    <a:pt x="25295" y="519"/>
                  </a:lnTo>
                  <a:lnTo>
                    <a:pt x="24259" y="277"/>
                  </a:lnTo>
                  <a:lnTo>
                    <a:pt x="23187" y="104"/>
                  </a:lnTo>
                  <a:lnTo>
                    <a:pt x="22600" y="35"/>
                  </a:lnTo>
                  <a:lnTo>
                    <a:pt x="22047" y="0"/>
                  </a:lnTo>
                  <a:lnTo>
                    <a:pt x="21460" y="0"/>
                  </a:lnTo>
                  <a:lnTo>
                    <a:pt x="20872" y="0"/>
                  </a:lnTo>
                  <a:lnTo>
                    <a:pt x="20250" y="35"/>
                  </a:lnTo>
                  <a:lnTo>
                    <a:pt x="19663" y="104"/>
                  </a:lnTo>
                  <a:lnTo>
                    <a:pt x="19041" y="173"/>
                  </a:lnTo>
                  <a:lnTo>
                    <a:pt x="18453" y="311"/>
                  </a:lnTo>
                  <a:lnTo>
                    <a:pt x="17831" y="484"/>
                  </a:lnTo>
                  <a:lnTo>
                    <a:pt x="17244" y="691"/>
                  </a:lnTo>
                  <a:lnTo>
                    <a:pt x="16622" y="933"/>
                  </a:lnTo>
                  <a:lnTo>
                    <a:pt x="16034" y="1210"/>
                  </a:lnTo>
                  <a:lnTo>
                    <a:pt x="16034" y="1210"/>
                  </a:lnTo>
                  <a:lnTo>
                    <a:pt x="15239" y="1659"/>
                  </a:lnTo>
                  <a:lnTo>
                    <a:pt x="14445" y="2212"/>
                  </a:lnTo>
                  <a:lnTo>
                    <a:pt x="14065" y="2488"/>
                  </a:lnTo>
                  <a:lnTo>
                    <a:pt x="13684" y="2834"/>
                  </a:lnTo>
                  <a:lnTo>
                    <a:pt x="13304" y="3179"/>
                  </a:lnTo>
                  <a:lnTo>
                    <a:pt x="12924" y="3560"/>
                  </a:lnTo>
                  <a:lnTo>
                    <a:pt x="12924" y="3560"/>
                  </a:lnTo>
                  <a:lnTo>
                    <a:pt x="12890" y="3629"/>
                  </a:lnTo>
                  <a:lnTo>
                    <a:pt x="12890" y="3629"/>
                  </a:lnTo>
                  <a:lnTo>
                    <a:pt x="12302" y="4596"/>
                  </a:lnTo>
                  <a:lnTo>
                    <a:pt x="11784" y="5598"/>
                  </a:lnTo>
                  <a:lnTo>
                    <a:pt x="11335" y="6600"/>
                  </a:lnTo>
                  <a:lnTo>
                    <a:pt x="10920" y="7568"/>
                  </a:lnTo>
                  <a:lnTo>
                    <a:pt x="10574" y="8570"/>
                  </a:lnTo>
                  <a:lnTo>
                    <a:pt x="10263" y="9607"/>
                  </a:lnTo>
                  <a:lnTo>
                    <a:pt x="9987" y="10609"/>
                  </a:lnTo>
                  <a:lnTo>
                    <a:pt x="9710" y="11611"/>
                  </a:lnTo>
                  <a:lnTo>
                    <a:pt x="9503" y="12648"/>
                  </a:lnTo>
                  <a:lnTo>
                    <a:pt x="9330" y="13685"/>
                  </a:lnTo>
                  <a:lnTo>
                    <a:pt x="8950" y="15758"/>
                  </a:lnTo>
                  <a:lnTo>
                    <a:pt x="8639" y="17900"/>
                  </a:lnTo>
                  <a:lnTo>
                    <a:pt x="8294" y="20043"/>
                  </a:lnTo>
                  <a:lnTo>
                    <a:pt x="7914" y="22220"/>
                  </a:lnTo>
                  <a:lnTo>
                    <a:pt x="7672" y="23360"/>
                  </a:lnTo>
                  <a:lnTo>
                    <a:pt x="7430" y="24466"/>
                  </a:lnTo>
                  <a:lnTo>
                    <a:pt x="7119" y="25607"/>
                  </a:lnTo>
                  <a:lnTo>
                    <a:pt x="6773" y="26747"/>
                  </a:lnTo>
                  <a:lnTo>
                    <a:pt x="6393" y="27922"/>
                  </a:lnTo>
                  <a:lnTo>
                    <a:pt x="5944" y="29097"/>
                  </a:lnTo>
                  <a:lnTo>
                    <a:pt x="5460" y="30272"/>
                  </a:lnTo>
                  <a:lnTo>
                    <a:pt x="4907" y="31481"/>
                  </a:lnTo>
                  <a:lnTo>
                    <a:pt x="4285" y="32691"/>
                  </a:lnTo>
                  <a:lnTo>
                    <a:pt x="3594" y="33935"/>
                  </a:lnTo>
                  <a:lnTo>
                    <a:pt x="2834" y="35179"/>
                  </a:lnTo>
                  <a:lnTo>
                    <a:pt x="1970" y="36423"/>
                  </a:lnTo>
                  <a:lnTo>
                    <a:pt x="1037" y="37701"/>
                  </a:lnTo>
                  <a:lnTo>
                    <a:pt x="0" y="390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5" name="Google Shape;2464;p11">
              <a:extLst>
                <a:ext uri="{FF2B5EF4-FFF2-40B4-BE49-F238E27FC236}">
                  <a16:creationId xmlns:a16="http://schemas.microsoft.com/office/drawing/2014/main" id="{D4906043-0E50-8CF3-F703-5BC1D8CBEB9F}"/>
                </a:ext>
              </a:extLst>
            </p:cNvPr>
            <p:cNvSpPr/>
            <p:nvPr/>
          </p:nvSpPr>
          <p:spPr>
            <a:xfrm>
              <a:off x="1082625" y="2352100"/>
              <a:ext cx="861350" cy="951200"/>
            </a:xfrm>
            <a:custGeom>
              <a:avLst/>
              <a:gdLst/>
              <a:ahLst/>
              <a:cxnLst/>
              <a:rect l="l" t="t" r="r" b="b"/>
              <a:pathLst>
                <a:path w="34454" h="38048" extrusionOk="0">
                  <a:moveTo>
                    <a:pt x="31620" y="1"/>
                  </a:moveTo>
                  <a:lnTo>
                    <a:pt x="31412" y="35"/>
                  </a:lnTo>
                  <a:lnTo>
                    <a:pt x="31309" y="35"/>
                  </a:lnTo>
                  <a:lnTo>
                    <a:pt x="31205" y="104"/>
                  </a:lnTo>
                  <a:lnTo>
                    <a:pt x="31136" y="173"/>
                  </a:lnTo>
                  <a:lnTo>
                    <a:pt x="31101" y="242"/>
                  </a:lnTo>
                  <a:lnTo>
                    <a:pt x="30721" y="934"/>
                  </a:lnTo>
                  <a:lnTo>
                    <a:pt x="29961" y="2247"/>
                  </a:lnTo>
                  <a:lnTo>
                    <a:pt x="28959" y="3940"/>
                  </a:lnTo>
                  <a:lnTo>
                    <a:pt x="27749" y="5806"/>
                  </a:lnTo>
                  <a:lnTo>
                    <a:pt x="27093" y="6774"/>
                  </a:lnTo>
                  <a:lnTo>
                    <a:pt x="26471" y="7707"/>
                  </a:lnTo>
                  <a:lnTo>
                    <a:pt x="25849" y="8570"/>
                  </a:lnTo>
                  <a:lnTo>
                    <a:pt x="25227" y="9365"/>
                  </a:lnTo>
                  <a:lnTo>
                    <a:pt x="24639" y="10056"/>
                  </a:lnTo>
                  <a:lnTo>
                    <a:pt x="24086" y="10644"/>
                  </a:lnTo>
                  <a:lnTo>
                    <a:pt x="23810" y="10851"/>
                  </a:lnTo>
                  <a:lnTo>
                    <a:pt x="23568" y="11059"/>
                  </a:lnTo>
                  <a:lnTo>
                    <a:pt x="23361" y="11197"/>
                  </a:lnTo>
                  <a:lnTo>
                    <a:pt x="23153" y="11300"/>
                  </a:lnTo>
                  <a:lnTo>
                    <a:pt x="22773" y="11370"/>
                  </a:lnTo>
                  <a:lnTo>
                    <a:pt x="22255" y="11439"/>
                  </a:lnTo>
                  <a:lnTo>
                    <a:pt x="21633" y="11439"/>
                  </a:lnTo>
                  <a:lnTo>
                    <a:pt x="20942" y="11404"/>
                  </a:lnTo>
                  <a:lnTo>
                    <a:pt x="20216" y="11335"/>
                  </a:lnTo>
                  <a:lnTo>
                    <a:pt x="19387" y="11231"/>
                  </a:lnTo>
                  <a:lnTo>
                    <a:pt x="18523" y="11093"/>
                  </a:lnTo>
                  <a:lnTo>
                    <a:pt x="17624" y="10920"/>
                  </a:lnTo>
                  <a:lnTo>
                    <a:pt x="16726" y="10748"/>
                  </a:lnTo>
                  <a:lnTo>
                    <a:pt x="15827" y="10540"/>
                  </a:lnTo>
                  <a:lnTo>
                    <a:pt x="14929" y="10298"/>
                  </a:lnTo>
                  <a:lnTo>
                    <a:pt x="14065" y="10022"/>
                  </a:lnTo>
                  <a:lnTo>
                    <a:pt x="13236" y="9780"/>
                  </a:lnTo>
                  <a:lnTo>
                    <a:pt x="12441" y="9504"/>
                  </a:lnTo>
                  <a:lnTo>
                    <a:pt x="11750" y="9193"/>
                  </a:lnTo>
                  <a:lnTo>
                    <a:pt x="11093" y="8916"/>
                  </a:lnTo>
                  <a:lnTo>
                    <a:pt x="10609" y="8847"/>
                  </a:lnTo>
                  <a:lnTo>
                    <a:pt x="9434" y="8709"/>
                  </a:lnTo>
                  <a:lnTo>
                    <a:pt x="8709" y="8640"/>
                  </a:lnTo>
                  <a:lnTo>
                    <a:pt x="7983" y="8570"/>
                  </a:lnTo>
                  <a:lnTo>
                    <a:pt x="6704" y="8570"/>
                  </a:lnTo>
                  <a:lnTo>
                    <a:pt x="6393" y="8640"/>
                  </a:lnTo>
                  <a:lnTo>
                    <a:pt x="6048" y="8743"/>
                  </a:lnTo>
                  <a:lnTo>
                    <a:pt x="5668" y="8916"/>
                  </a:lnTo>
                  <a:lnTo>
                    <a:pt x="5253" y="9123"/>
                  </a:lnTo>
                  <a:lnTo>
                    <a:pt x="4355" y="9676"/>
                  </a:lnTo>
                  <a:lnTo>
                    <a:pt x="3387" y="10298"/>
                  </a:lnTo>
                  <a:lnTo>
                    <a:pt x="2489" y="10989"/>
                  </a:lnTo>
                  <a:lnTo>
                    <a:pt x="1625" y="11715"/>
                  </a:lnTo>
                  <a:lnTo>
                    <a:pt x="934" y="12337"/>
                  </a:lnTo>
                  <a:lnTo>
                    <a:pt x="657" y="12648"/>
                  </a:lnTo>
                  <a:lnTo>
                    <a:pt x="415" y="12890"/>
                  </a:lnTo>
                  <a:lnTo>
                    <a:pt x="346" y="13063"/>
                  </a:lnTo>
                  <a:lnTo>
                    <a:pt x="242" y="13236"/>
                  </a:lnTo>
                  <a:lnTo>
                    <a:pt x="104" y="13616"/>
                  </a:lnTo>
                  <a:lnTo>
                    <a:pt x="35" y="14134"/>
                  </a:lnTo>
                  <a:lnTo>
                    <a:pt x="1" y="14687"/>
                  </a:lnTo>
                  <a:lnTo>
                    <a:pt x="1" y="15344"/>
                  </a:lnTo>
                  <a:lnTo>
                    <a:pt x="35" y="16035"/>
                  </a:lnTo>
                  <a:lnTo>
                    <a:pt x="139" y="16795"/>
                  </a:lnTo>
                  <a:lnTo>
                    <a:pt x="242" y="17590"/>
                  </a:lnTo>
                  <a:lnTo>
                    <a:pt x="381" y="18419"/>
                  </a:lnTo>
                  <a:lnTo>
                    <a:pt x="553" y="19283"/>
                  </a:lnTo>
                  <a:lnTo>
                    <a:pt x="968" y="21045"/>
                  </a:lnTo>
                  <a:lnTo>
                    <a:pt x="1452" y="22877"/>
                  </a:lnTo>
                  <a:lnTo>
                    <a:pt x="1936" y="24639"/>
                  </a:lnTo>
                  <a:lnTo>
                    <a:pt x="2005" y="24777"/>
                  </a:lnTo>
                  <a:lnTo>
                    <a:pt x="2108" y="24916"/>
                  </a:lnTo>
                  <a:lnTo>
                    <a:pt x="2350" y="25192"/>
                  </a:lnTo>
                  <a:lnTo>
                    <a:pt x="2730" y="25503"/>
                  </a:lnTo>
                  <a:lnTo>
                    <a:pt x="3214" y="25814"/>
                  </a:lnTo>
                  <a:lnTo>
                    <a:pt x="3663" y="26078"/>
                  </a:lnTo>
                  <a:lnTo>
                    <a:pt x="3663" y="26078"/>
                  </a:lnTo>
                  <a:lnTo>
                    <a:pt x="3663" y="26125"/>
                  </a:lnTo>
                  <a:lnTo>
                    <a:pt x="3663" y="26816"/>
                  </a:lnTo>
                  <a:lnTo>
                    <a:pt x="3629" y="27473"/>
                  </a:lnTo>
                  <a:lnTo>
                    <a:pt x="3525" y="28682"/>
                  </a:lnTo>
                  <a:lnTo>
                    <a:pt x="3456" y="29719"/>
                  </a:lnTo>
                  <a:lnTo>
                    <a:pt x="3318" y="30756"/>
                  </a:lnTo>
                  <a:lnTo>
                    <a:pt x="3145" y="31723"/>
                  </a:lnTo>
                  <a:lnTo>
                    <a:pt x="2903" y="32691"/>
                  </a:lnTo>
                  <a:lnTo>
                    <a:pt x="2627" y="33624"/>
                  </a:lnTo>
                  <a:lnTo>
                    <a:pt x="2281" y="34488"/>
                  </a:lnTo>
                  <a:lnTo>
                    <a:pt x="1936" y="35283"/>
                  </a:lnTo>
                  <a:lnTo>
                    <a:pt x="1486" y="36043"/>
                  </a:lnTo>
                  <a:lnTo>
                    <a:pt x="1037" y="36769"/>
                  </a:lnTo>
                  <a:lnTo>
                    <a:pt x="1003" y="36838"/>
                  </a:lnTo>
                  <a:lnTo>
                    <a:pt x="968" y="36976"/>
                  </a:lnTo>
                  <a:lnTo>
                    <a:pt x="968" y="37114"/>
                  </a:lnTo>
                  <a:lnTo>
                    <a:pt x="1072" y="37218"/>
                  </a:lnTo>
                  <a:lnTo>
                    <a:pt x="1210" y="37356"/>
                  </a:lnTo>
                  <a:lnTo>
                    <a:pt x="1417" y="37460"/>
                  </a:lnTo>
                  <a:lnTo>
                    <a:pt x="1659" y="37563"/>
                  </a:lnTo>
                  <a:lnTo>
                    <a:pt x="2316" y="37702"/>
                  </a:lnTo>
                  <a:lnTo>
                    <a:pt x="3145" y="37840"/>
                  </a:lnTo>
                  <a:lnTo>
                    <a:pt x="4113" y="37943"/>
                  </a:lnTo>
                  <a:lnTo>
                    <a:pt x="5219" y="38013"/>
                  </a:lnTo>
                  <a:lnTo>
                    <a:pt x="6393" y="38047"/>
                  </a:lnTo>
                  <a:lnTo>
                    <a:pt x="8259" y="38013"/>
                  </a:lnTo>
                  <a:lnTo>
                    <a:pt x="10160" y="37978"/>
                  </a:lnTo>
                  <a:lnTo>
                    <a:pt x="12061" y="37874"/>
                  </a:lnTo>
                  <a:lnTo>
                    <a:pt x="13858" y="37702"/>
                  </a:lnTo>
                  <a:lnTo>
                    <a:pt x="15447" y="37529"/>
                  </a:lnTo>
                  <a:lnTo>
                    <a:pt x="16760" y="37321"/>
                  </a:lnTo>
                  <a:lnTo>
                    <a:pt x="17279" y="37183"/>
                  </a:lnTo>
                  <a:lnTo>
                    <a:pt x="17693" y="37080"/>
                  </a:lnTo>
                  <a:lnTo>
                    <a:pt x="18004" y="36941"/>
                  </a:lnTo>
                  <a:lnTo>
                    <a:pt x="18177" y="36803"/>
                  </a:lnTo>
                  <a:lnTo>
                    <a:pt x="18281" y="36630"/>
                  </a:lnTo>
                  <a:lnTo>
                    <a:pt x="18350" y="36423"/>
                  </a:lnTo>
                  <a:lnTo>
                    <a:pt x="18350" y="36181"/>
                  </a:lnTo>
                  <a:lnTo>
                    <a:pt x="18350" y="35939"/>
                  </a:lnTo>
                  <a:lnTo>
                    <a:pt x="18281" y="35352"/>
                  </a:lnTo>
                  <a:lnTo>
                    <a:pt x="18143" y="34626"/>
                  </a:lnTo>
                  <a:lnTo>
                    <a:pt x="17970" y="33831"/>
                  </a:lnTo>
                  <a:lnTo>
                    <a:pt x="17728" y="32967"/>
                  </a:lnTo>
                  <a:lnTo>
                    <a:pt x="17451" y="32069"/>
                  </a:lnTo>
                  <a:lnTo>
                    <a:pt x="17172" y="31216"/>
                  </a:lnTo>
                  <a:lnTo>
                    <a:pt x="17172" y="31216"/>
                  </a:lnTo>
                  <a:lnTo>
                    <a:pt x="18626" y="31689"/>
                  </a:lnTo>
                  <a:lnTo>
                    <a:pt x="22462" y="32898"/>
                  </a:lnTo>
                  <a:lnTo>
                    <a:pt x="25227" y="33762"/>
                  </a:lnTo>
                  <a:lnTo>
                    <a:pt x="26056" y="34039"/>
                  </a:lnTo>
                  <a:lnTo>
                    <a:pt x="26402" y="34211"/>
                  </a:lnTo>
                  <a:lnTo>
                    <a:pt x="26436" y="34211"/>
                  </a:lnTo>
                  <a:lnTo>
                    <a:pt x="26471" y="34177"/>
                  </a:lnTo>
                  <a:lnTo>
                    <a:pt x="26540" y="34073"/>
                  </a:lnTo>
                  <a:lnTo>
                    <a:pt x="26678" y="33624"/>
                  </a:lnTo>
                  <a:lnTo>
                    <a:pt x="26851" y="32967"/>
                  </a:lnTo>
                  <a:lnTo>
                    <a:pt x="27058" y="32173"/>
                  </a:lnTo>
                  <a:lnTo>
                    <a:pt x="27196" y="31378"/>
                  </a:lnTo>
                  <a:lnTo>
                    <a:pt x="27300" y="30617"/>
                  </a:lnTo>
                  <a:lnTo>
                    <a:pt x="27300" y="30306"/>
                  </a:lnTo>
                  <a:lnTo>
                    <a:pt x="27300" y="30065"/>
                  </a:lnTo>
                  <a:lnTo>
                    <a:pt x="27265" y="29857"/>
                  </a:lnTo>
                  <a:lnTo>
                    <a:pt x="27231" y="29719"/>
                  </a:lnTo>
                  <a:lnTo>
                    <a:pt x="27093" y="29650"/>
                  </a:lnTo>
                  <a:lnTo>
                    <a:pt x="26851" y="29546"/>
                  </a:lnTo>
                  <a:lnTo>
                    <a:pt x="26160" y="29304"/>
                  </a:lnTo>
                  <a:lnTo>
                    <a:pt x="25227" y="29028"/>
                  </a:lnTo>
                  <a:lnTo>
                    <a:pt x="24155" y="28751"/>
                  </a:lnTo>
                  <a:lnTo>
                    <a:pt x="22151" y="28268"/>
                  </a:lnTo>
                  <a:lnTo>
                    <a:pt x="20976" y="27991"/>
                  </a:lnTo>
                  <a:lnTo>
                    <a:pt x="20112" y="27715"/>
                  </a:lnTo>
                  <a:lnTo>
                    <a:pt x="18937" y="27369"/>
                  </a:lnTo>
                  <a:lnTo>
                    <a:pt x="16035" y="26505"/>
                  </a:lnTo>
                  <a:lnTo>
                    <a:pt x="15566" y="26349"/>
                  </a:lnTo>
                  <a:lnTo>
                    <a:pt x="15566" y="26349"/>
                  </a:lnTo>
                  <a:lnTo>
                    <a:pt x="15447" y="25952"/>
                  </a:lnTo>
                  <a:lnTo>
                    <a:pt x="15274" y="25330"/>
                  </a:lnTo>
                  <a:lnTo>
                    <a:pt x="15171" y="24847"/>
                  </a:lnTo>
                  <a:lnTo>
                    <a:pt x="15136" y="24501"/>
                  </a:lnTo>
                  <a:lnTo>
                    <a:pt x="15171" y="24225"/>
                  </a:lnTo>
                  <a:lnTo>
                    <a:pt x="15274" y="23948"/>
                  </a:lnTo>
                  <a:lnTo>
                    <a:pt x="15447" y="23706"/>
                  </a:lnTo>
                  <a:lnTo>
                    <a:pt x="15620" y="23464"/>
                  </a:lnTo>
                  <a:lnTo>
                    <a:pt x="15862" y="23257"/>
                  </a:lnTo>
                  <a:lnTo>
                    <a:pt x="16104" y="23015"/>
                  </a:lnTo>
                  <a:lnTo>
                    <a:pt x="16657" y="22635"/>
                  </a:lnTo>
                  <a:lnTo>
                    <a:pt x="17210" y="22255"/>
                  </a:lnTo>
                  <a:lnTo>
                    <a:pt x="17728" y="21840"/>
                  </a:lnTo>
                  <a:lnTo>
                    <a:pt x="17935" y="21667"/>
                  </a:lnTo>
                  <a:lnTo>
                    <a:pt x="18108" y="21460"/>
                  </a:lnTo>
                  <a:lnTo>
                    <a:pt x="18212" y="21253"/>
                  </a:lnTo>
                  <a:lnTo>
                    <a:pt x="18315" y="21011"/>
                  </a:lnTo>
                  <a:lnTo>
                    <a:pt x="18315" y="20769"/>
                  </a:lnTo>
                  <a:lnTo>
                    <a:pt x="18246" y="20492"/>
                  </a:lnTo>
                  <a:lnTo>
                    <a:pt x="18143" y="20147"/>
                  </a:lnTo>
                  <a:lnTo>
                    <a:pt x="17970" y="19801"/>
                  </a:lnTo>
                  <a:lnTo>
                    <a:pt x="17521" y="19041"/>
                  </a:lnTo>
                  <a:lnTo>
                    <a:pt x="17037" y="18281"/>
                  </a:lnTo>
                  <a:lnTo>
                    <a:pt x="16173" y="17071"/>
                  </a:lnTo>
                  <a:lnTo>
                    <a:pt x="15966" y="16760"/>
                  </a:lnTo>
                  <a:lnTo>
                    <a:pt x="15966" y="16691"/>
                  </a:lnTo>
                  <a:lnTo>
                    <a:pt x="16035" y="16726"/>
                  </a:lnTo>
                  <a:lnTo>
                    <a:pt x="16242" y="16795"/>
                  </a:lnTo>
                  <a:lnTo>
                    <a:pt x="16484" y="16864"/>
                  </a:lnTo>
                  <a:lnTo>
                    <a:pt x="16726" y="16933"/>
                  </a:lnTo>
                  <a:lnTo>
                    <a:pt x="17037" y="16968"/>
                  </a:lnTo>
                  <a:lnTo>
                    <a:pt x="17659" y="17002"/>
                  </a:lnTo>
                  <a:lnTo>
                    <a:pt x="18385" y="16968"/>
                  </a:lnTo>
                  <a:lnTo>
                    <a:pt x="19145" y="16864"/>
                  </a:lnTo>
                  <a:lnTo>
                    <a:pt x="19974" y="16726"/>
                  </a:lnTo>
                  <a:lnTo>
                    <a:pt x="20838" y="16553"/>
                  </a:lnTo>
                  <a:lnTo>
                    <a:pt x="21702" y="16346"/>
                  </a:lnTo>
                  <a:lnTo>
                    <a:pt x="22566" y="16104"/>
                  </a:lnTo>
                  <a:lnTo>
                    <a:pt x="23430" y="15827"/>
                  </a:lnTo>
                  <a:lnTo>
                    <a:pt x="24225" y="15551"/>
                  </a:lnTo>
                  <a:lnTo>
                    <a:pt x="24985" y="15274"/>
                  </a:lnTo>
                  <a:lnTo>
                    <a:pt x="25641" y="14963"/>
                  </a:lnTo>
                  <a:lnTo>
                    <a:pt x="26229" y="14687"/>
                  </a:lnTo>
                  <a:lnTo>
                    <a:pt x="26713" y="14411"/>
                  </a:lnTo>
                  <a:lnTo>
                    <a:pt x="27058" y="14134"/>
                  </a:lnTo>
                  <a:lnTo>
                    <a:pt x="27404" y="13789"/>
                  </a:lnTo>
                  <a:lnTo>
                    <a:pt x="27818" y="13270"/>
                  </a:lnTo>
                  <a:lnTo>
                    <a:pt x="28302" y="12614"/>
                  </a:lnTo>
                  <a:lnTo>
                    <a:pt x="28855" y="11819"/>
                  </a:lnTo>
                  <a:lnTo>
                    <a:pt x="30065" y="9953"/>
                  </a:lnTo>
                  <a:lnTo>
                    <a:pt x="31274" y="7914"/>
                  </a:lnTo>
                  <a:lnTo>
                    <a:pt x="32449" y="5944"/>
                  </a:lnTo>
                  <a:lnTo>
                    <a:pt x="33451" y="4216"/>
                  </a:lnTo>
                  <a:lnTo>
                    <a:pt x="34419" y="2454"/>
                  </a:lnTo>
                  <a:lnTo>
                    <a:pt x="34453" y="2281"/>
                  </a:lnTo>
                  <a:lnTo>
                    <a:pt x="34419" y="2108"/>
                  </a:lnTo>
                  <a:lnTo>
                    <a:pt x="34280" y="1867"/>
                  </a:lnTo>
                  <a:lnTo>
                    <a:pt x="34108" y="1659"/>
                  </a:lnTo>
                  <a:lnTo>
                    <a:pt x="33900" y="1417"/>
                  </a:lnTo>
                  <a:lnTo>
                    <a:pt x="33658" y="1175"/>
                  </a:lnTo>
                  <a:lnTo>
                    <a:pt x="33382" y="934"/>
                  </a:lnTo>
                  <a:lnTo>
                    <a:pt x="33071" y="692"/>
                  </a:lnTo>
                  <a:lnTo>
                    <a:pt x="32760" y="484"/>
                  </a:lnTo>
                  <a:lnTo>
                    <a:pt x="32449" y="312"/>
                  </a:lnTo>
                  <a:lnTo>
                    <a:pt x="32173" y="173"/>
                  </a:lnTo>
                  <a:lnTo>
                    <a:pt x="31861" y="70"/>
                  </a:lnTo>
                  <a:lnTo>
                    <a:pt x="31620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6" name="Google Shape;2465;p11">
              <a:extLst>
                <a:ext uri="{FF2B5EF4-FFF2-40B4-BE49-F238E27FC236}">
                  <a16:creationId xmlns:a16="http://schemas.microsoft.com/office/drawing/2014/main" id="{3D2C8729-5347-1AD5-3E45-45E179605076}"/>
                </a:ext>
              </a:extLst>
            </p:cNvPr>
            <p:cNvSpPr/>
            <p:nvPr/>
          </p:nvSpPr>
          <p:spPr>
            <a:xfrm>
              <a:off x="1082625" y="2352100"/>
              <a:ext cx="861350" cy="951200"/>
            </a:xfrm>
            <a:custGeom>
              <a:avLst/>
              <a:gdLst/>
              <a:ahLst/>
              <a:cxnLst/>
              <a:rect l="l" t="t" r="r" b="b"/>
              <a:pathLst>
                <a:path w="34454" h="38048" fill="none" extrusionOk="0">
                  <a:moveTo>
                    <a:pt x="26402" y="34211"/>
                  </a:moveTo>
                  <a:lnTo>
                    <a:pt x="26402" y="34211"/>
                  </a:lnTo>
                  <a:lnTo>
                    <a:pt x="26436" y="34211"/>
                  </a:lnTo>
                  <a:lnTo>
                    <a:pt x="26471" y="34177"/>
                  </a:lnTo>
                  <a:lnTo>
                    <a:pt x="26540" y="34073"/>
                  </a:lnTo>
                  <a:lnTo>
                    <a:pt x="26678" y="33624"/>
                  </a:lnTo>
                  <a:lnTo>
                    <a:pt x="26851" y="32967"/>
                  </a:lnTo>
                  <a:lnTo>
                    <a:pt x="27058" y="32173"/>
                  </a:lnTo>
                  <a:lnTo>
                    <a:pt x="27196" y="31378"/>
                  </a:lnTo>
                  <a:lnTo>
                    <a:pt x="27300" y="30617"/>
                  </a:lnTo>
                  <a:lnTo>
                    <a:pt x="27300" y="30306"/>
                  </a:lnTo>
                  <a:lnTo>
                    <a:pt x="27300" y="30065"/>
                  </a:lnTo>
                  <a:lnTo>
                    <a:pt x="27265" y="29857"/>
                  </a:lnTo>
                  <a:lnTo>
                    <a:pt x="27231" y="29719"/>
                  </a:lnTo>
                  <a:lnTo>
                    <a:pt x="27231" y="29719"/>
                  </a:lnTo>
                  <a:lnTo>
                    <a:pt x="27093" y="29650"/>
                  </a:lnTo>
                  <a:lnTo>
                    <a:pt x="26851" y="29546"/>
                  </a:lnTo>
                  <a:lnTo>
                    <a:pt x="26160" y="29304"/>
                  </a:lnTo>
                  <a:lnTo>
                    <a:pt x="25227" y="29028"/>
                  </a:lnTo>
                  <a:lnTo>
                    <a:pt x="24155" y="28751"/>
                  </a:lnTo>
                  <a:lnTo>
                    <a:pt x="22151" y="28268"/>
                  </a:lnTo>
                  <a:lnTo>
                    <a:pt x="20976" y="27991"/>
                  </a:lnTo>
                  <a:lnTo>
                    <a:pt x="20976" y="27991"/>
                  </a:lnTo>
                  <a:lnTo>
                    <a:pt x="20112" y="27715"/>
                  </a:lnTo>
                  <a:lnTo>
                    <a:pt x="18937" y="27369"/>
                  </a:lnTo>
                  <a:lnTo>
                    <a:pt x="16035" y="26505"/>
                  </a:lnTo>
                  <a:lnTo>
                    <a:pt x="14480" y="25987"/>
                  </a:lnTo>
                  <a:lnTo>
                    <a:pt x="12994" y="25469"/>
                  </a:lnTo>
                  <a:lnTo>
                    <a:pt x="12303" y="25192"/>
                  </a:lnTo>
                  <a:lnTo>
                    <a:pt x="11646" y="24916"/>
                  </a:lnTo>
                  <a:lnTo>
                    <a:pt x="11024" y="24605"/>
                  </a:lnTo>
                  <a:lnTo>
                    <a:pt x="10506" y="24328"/>
                  </a:lnTo>
                  <a:lnTo>
                    <a:pt x="10506" y="24328"/>
                  </a:lnTo>
                  <a:lnTo>
                    <a:pt x="9815" y="23914"/>
                  </a:lnTo>
                  <a:lnTo>
                    <a:pt x="9089" y="23533"/>
                  </a:lnTo>
                  <a:lnTo>
                    <a:pt x="7430" y="22704"/>
                  </a:lnTo>
                  <a:lnTo>
                    <a:pt x="6359" y="22151"/>
                  </a:lnTo>
                  <a:lnTo>
                    <a:pt x="5046" y="21425"/>
                  </a:lnTo>
                  <a:lnTo>
                    <a:pt x="3491" y="20527"/>
                  </a:lnTo>
                  <a:lnTo>
                    <a:pt x="1556" y="19387"/>
                  </a:lnTo>
                  <a:lnTo>
                    <a:pt x="1556" y="19387"/>
                  </a:lnTo>
                  <a:lnTo>
                    <a:pt x="1797" y="19663"/>
                  </a:lnTo>
                  <a:lnTo>
                    <a:pt x="2005" y="19940"/>
                  </a:lnTo>
                  <a:lnTo>
                    <a:pt x="2419" y="20527"/>
                  </a:lnTo>
                  <a:lnTo>
                    <a:pt x="2765" y="21184"/>
                  </a:lnTo>
                  <a:lnTo>
                    <a:pt x="3041" y="21840"/>
                  </a:lnTo>
                  <a:lnTo>
                    <a:pt x="3249" y="22531"/>
                  </a:lnTo>
                  <a:lnTo>
                    <a:pt x="3422" y="23257"/>
                  </a:lnTo>
                  <a:lnTo>
                    <a:pt x="3525" y="23983"/>
                  </a:lnTo>
                  <a:lnTo>
                    <a:pt x="3594" y="24708"/>
                  </a:lnTo>
                  <a:lnTo>
                    <a:pt x="3663" y="25399"/>
                  </a:lnTo>
                  <a:lnTo>
                    <a:pt x="3663" y="26125"/>
                  </a:lnTo>
                  <a:lnTo>
                    <a:pt x="3663" y="26816"/>
                  </a:lnTo>
                  <a:lnTo>
                    <a:pt x="3629" y="27473"/>
                  </a:lnTo>
                  <a:lnTo>
                    <a:pt x="3525" y="28682"/>
                  </a:lnTo>
                  <a:lnTo>
                    <a:pt x="3456" y="29719"/>
                  </a:lnTo>
                  <a:lnTo>
                    <a:pt x="3456" y="29719"/>
                  </a:lnTo>
                  <a:lnTo>
                    <a:pt x="3318" y="30756"/>
                  </a:lnTo>
                  <a:lnTo>
                    <a:pt x="3145" y="31723"/>
                  </a:lnTo>
                  <a:lnTo>
                    <a:pt x="2903" y="32691"/>
                  </a:lnTo>
                  <a:lnTo>
                    <a:pt x="2627" y="33624"/>
                  </a:lnTo>
                  <a:lnTo>
                    <a:pt x="2281" y="34488"/>
                  </a:lnTo>
                  <a:lnTo>
                    <a:pt x="1936" y="35283"/>
                  </a:lnTo>
                  <a:lnTo>
                    <a:pt x="1486" y="36043"/>
                  </a:lnTo>
                  <a:lnTo>
                    <a:pt x="1037" y="36769"/>
                  </a:lnTo>
                  <a:lnTo>
                    <a:pt x="1037" y="36769"/>
                  </a:lnTo>
                  <a:lnTo>
                    <a:pt x="1003" y="36838"/>
                  </a:lnTo>
                  <a:lnTo>
                    <a:pt x="1003" y="36838"/>
                  </a:lnTo>
                  <a:lnTo>
                    <a:pt x="968" y="36976"/>
                  </a:lnTo>
                  <a:lnTo>
                    <a:pt x="968" y="37114"/>
                  </a:lnTo>
                  <a:lnTo>
                    <a:pt x="1072" y="37218"/>
                  </a:lnTo>
                  <a:lnTo>
                    <a:pt x="1210" y="37356"/>
                  </a:lnTo>
                  <a:lnTo>
                    <a:pt x="1417" y="37460"/>
                  </a:lnTo>
                  <a:lnTo>
                    <a:pt x="1659" y="37563"/>
                  </a:lnTo>
                  <a:lnTo>
                    <a:pt x="2316" y="37702"/>
                  </a:lnTo>
                  <a:lnTo>
                    <a:pt x="3145" y="37840"/>
                  </a:lnTo>
                  <a:lnTo>
                    <a:pt x="4113" y="37943"/>
                  </a:lnTo>
                  <a:lnTo>
                    <a:pt x="5219" y="38013"/>
                  </a:lnTo>
                  <a:lnTo>
                    <a:pt x="6393" y="38047"/>
                  </a:lnTo>
                  <a:lnTo>
                    <a:pt x="6393" y="38047"/>
                  </a:lnTo>
                  <a:lnTo>
                    <a:pt x="8259" y="38013"/>
                  </a:lnTo>
                  <a:lnTo>
                    <a:pt x="10160" y="37978"/>
                  </a:lnTo>
                  <a:lnTo>
                    <a:pt x="12061" y="37874"/>
                  </a:lnTo>
                  <a:lnTo>
                    <a:pt x="13858" y="37702"/>
                  </a:lnTo>
                  <a:lnTo>
                    <a:pt x="15447" y="37529"/>
                  </a:lnTo>
                  <a:lnTo>
                    <a:pt x="16760" y="37321"/>
                  </a:lnTo>
                  <a:lnTo>
                    <a:pt x="17279" y="37183"/>
                  </a:lnTo>
                  <a:lnTo>
                    <a:pt x="17693" y="37080"/>
                  </a:lnTo>
                  <a:lnTo>
                    <a:pt x="18004" y="36941"/>
                  </a:lnTo>
                  <a:lnTo>
                    <a:pt x="18177" y="36803"/>
                  </a:lnTo>
                  <a:lnTo>
                    <a:pt x="18177" y="36803"/>
                  </a:lnTo>
                  <a:lnTo>
                    <a:pt x="18281" y="36630"/>
                  </a:lnTo>
                  <a:lnTo>
                    <a:pt x="18350" y="36423"/>
                  </a:lnTo>
                  <a:lnTo>
                    <a:pt x="18350" y="36423"/>
                  </a:lnTo>
                  <a:lnTo>
                    <a:pt x="18350" y="36181"/>
                  </a:lnTo>
                  <a:lnTo>
                    <a:pt x="18350" y="35939"/>
                  </a:lnTo>
                  <a:lnTo>
                    <a:pt x="18281" y="35352"/>
                  </a:lnTo>
                  <a:lnTo>
                    <a:pt x="18143" y="34626"/>
                  </a:lnTo>
                  <a:lnTo>
                    <a:pt x="17970" y="33831"/>
                  </a:lnTo>
                  <a:lnTo>
                    <a:pt x="17728" y="32967"/>
                  </a:lnTo>
                  <a:lnTo>
                    <a:pt x="17451" y="32069"/>
                  </a:lnTo>
                  <a:lnTo>
                    <a:pt x="16829" y="30168"/>
                  </a:lnTo>
                  <a:lnTo>
                    <a:pt x="16207" y="28337"/>
                  </a:lnTo>
                  <a:lnTo>
                    <a:pt x="15655" y="26643"/>
                  </a:lnTo>
                  <a:lnTo>
                    <a:pt x="15447" y="25952"/>
                  </a:lnTo>
                  <a:lnTo>
                    <a:pt x="15274" y="25330"/>
                  </a:lnTo>
                  <a:lnTo>
                    <a:pt x="15171" y="24847"/>
                  </a:lnTo>
                  <a:lnTo>
                    <a:pt x="15136" y="24501"/>
                  </a:lnTo>
                  <a:lnTo>
                    <a:pt x="15136" y="24501"/>
                  </a:lnTo>
                  <a:lnTo>
                    <a:pt x="15171" y="24225"/>
                  </a:lnTo>
                  <a:lnTo>
                    <a:pt x="15274" y="23948"/>
                  </a:lnTo>
                  <a:lnTo>
                    <a:pt x="15447" y="23706"/>
                  </a:lnTo>
                  <a:lnTo>
                    <a:pt x="15620" y="23464"/>
                  </a:lnTo>
                  <a:lnTo>
                    <a:pt x="15862" y="23257"/>
                  </a:lnTo>
                  <a:lnTo>
                    <a:pt x="16104" y="23015"/>
                  </a:lnTo>
                  <a:lnTo>
                    <a:pt x="16657" y="22635"/>
                  </a:lnTo>
                  <a:lnTo>
                    <a:pt x="17210" y="22255"/>
                  </a:lnTo>
                  <a:lnTo>
                    <a:pt x="17728" y="21840"/>
                  </a:lnTo>
                  <a:lnTo>
                    <a:pt x="17935" y="21667"/>
                  </a:lnTo>
                  <a:lnTo>
                    <a:pt x="18108" y="21460"/>
                  </a:lnTo>
                  <a:lnTo>
                    <a:pt x="18212" y="21253"/>
                  </a:lnTo>
                  <a:lnTo>
                    <a:pt x="18315" y="21011"/>
                  </a:lnTo>
                  <a:lnTo>
                    <a:pt x="18315" y="21011"/>
                  </a:lnTo>
                  <a:lnTo>
                    <a:pt x="18315" y="20769"/>
                  </a:lnTo>
                  <a:lnTo>
                    <a:pt x="18246" y="20492"/>
                  </a:lnTo>
                  <a:lnTo>
                    <a:pt x="18143" y="20147"/>
                  </a:lnTo>
                  <a:lnTo>
                    <a:pt x="17970" y="19801"/>
                  </a:lnTo>
                  <a:lnTo>
                    <a:pt x="17521" y="19041"/>
                  </a:lnTo>
                  <a:lnTo>
                    <a:pt x="17037" y="18281"/>
                  </a:lnTo>
                  <a:lnTo>
                    <a:pt x="16173" y="17071"/>
                  </a:lnTo>
                  <a:lnTo>
                    <a:pt x="15966" y="16760"/>
                  </a:lnTo>
                  <a:lnTo>
                    <a:pt x="15966" y="16691"/>
                  </a:lnTo>
                  <a:lnTo>
                    <a:pt x="16035" y="16726"/>
                  </a:lnTo>
                  <a:lnTo>
                    <a:pt x="16035" y="16726"/>
                  </a:lnTo>
                  <a:lnTo>
                    <a:pt x="16242" y="16795"/>
                  </a:lnTo>
                  <a:lnTo>
                    <a:pt x="16484" y="16864"/>
                  </a:lnTo>
                  <a:lnTo>
                    <a:pt x="16726" y="16933"/>
                  </a:lnTo>
                  <a:lnTo>
                    <a:pt x="17037" y="16968"/>
                  </a:lnTo>
                  <a:lnTo>
                    <a:pt x="17659" y="17002"/>
                  </a:lnTo>
                  <a:lnTo>
                    <a:pt x="18385" y="16968"/>
                  </a:lnTo>
                  <a:lnTo>
                    <a:pt x="19145" y="16864"/>
                  </a:lnTo>
                  <a:lnTo>
                    <a:pt x="19974" y="16726"/>
                  </a:lnTo>
                  <a:lnTo>
                    <a:pt x="20838" y="16553"/>
                  </a:lnTo>
                  <a:lnTo>
                    <a:pt x="21702" y="16346"/>
                  </a:lnTo>
                  <a:lnTo>
                    <a:pt x="22566" y="16104"/>
                  </a:lnTo>
                  <a:lnTo>
                    <a:pt x="23430" y="15827"/>
                  </a:lnTo>
                  <a:lnTo>
                    <a:pt x="24225" y="15551"/>
                  </a:lnTo>
                  <a:lnTo>
                    <a:pt x="24985" y="15274"/>
                  </a:lnTo>
                  <a:lnTo>
                    <a:pt x="25641" y="14963"/>
                  </a:lnTo>
                  <a:lnTo>
                    <a:pt x="26229" y="14687"/>
                  </a:lnTo>
                  <a:lnTo>
                    <a:pt x="26713" y="14411"/>
                  </a:lnTo>
                  <a:lnTo>
                    <a:pt x="27058" y="14134"/>
                  </a:lnTo>
                  <a:lnTo>
                    <a:pt x="27058" y="14134"/>
                  </a:lnTo>
                  <a:lnTo>
                    <a:pt x="27404" y="13789"/>
                  </a:lnTo>
                  <a:lnTo>
                    <a:pt x="27818" y="13270"/>
                  </a:lnTo>
                  <a:lnTo>
                    <a:pt x="28302" y="12614"/>
                  </a:lnTo>
                  <a:lnTo>
                    <a:pt x="28855" y="11819"/>
                  </a:lnTo>
                  <a:lnTo>
                    <a:pt x="30065" y="9953"/>
                  </a:lnTo>
                  <a:lnTo>
                    <a:pt x="31274" y="7914"/>
                  </a:lnTo>
                  <a:lnTo>
                    <a:pt x="32449" y="5944"/>
                  </a:lnTo>
                  <a:lnTo>
                    <a:pt x="33451" y="4216"/>
                  </a:lnTo>
                  <a:lnTo>
                    <a:pt x="34419" y="2454"/>
                  </a:lnTo>
                  <a:lnTo>
                    <a:pt x="34419" y="2454"/>
                  </a:lnTo>
                  <a:lnTo>
                    <a:pt x="34453" y="2281"/>
                  </a:lnTo>
                  <a:lnTo>
                    <a:pt x="34419" y="2108"/>
                  </a:lnTo>
                  <a:lnTo>
                    <a:pt x="34280" y="1867"/>
                  </a:lnTo>
                  <a:lnTo>
                    <a:pt x="34108" y="1659"/>
                  </a:lnTo>
                  <a:lnTo>
                    <a:pt x="33900" y="1417"/>
                  </a:lnTo>
                  <a:lnTo>
                    <a:pt x="33658" y="1175"/>
                  </a:lnTo>
                  <a:lnTo>
                    <a:pt x="33382" y="934"/>
                  </a:lnTo>
                  <a:lnTo>
                    <a:pt x="33071" y="692"/>
                  </a:lnTo>
                  <a:lnTo>
                    <a:pt x="32760" y="484"/>
                  </a:lnTo>
                  <a:lnTo>
                    <a:pt x="32449" y="312"/>
                  </a:lnTo>
                  <a:lnTo>
                    <a:pt x="32173" y="173"/>
                  </a:lnTo>
                  <a:lnTo>
                    <a:pt x="31861" y="70"/>
                  </a:lnTo>
                  <a:lnTo>
                    <a:pt x="31620" y="1"/>
                  </a:lnTo>
                  <a:lnTo>
                    <a:pt x="31412" y="35"/>
                  </a:lnTo>
                  <a:lnTo>
                    <a:pt x="31309" y="35"/>
                  </a:lnTo>
                  <a:lnTo>
                    <a:pt x="31205" y="104"/>
                  </a:lnTo>
                  <a:lnTo>
                    <a:pt x="31136" y="173"/>
                  </a:lnTo>
                  <a:lnTo>
                    <a:pt x="31101" y="242"/>
                  </a:lnTo>
                  <a:lnTo>
                    <a:pt x="31101" y="242"/>
                  </a:lnTo>
                  <a:lnTo>
                    <a:pt x="30721" y="934"/>
                  </a:lnTo>
                  <a:lnTo>
                    <a:pt x="29961" y="2247"/>
                  </a:lnTo>
                  <a:lnTo>
                    <a:pt x="28959" y="3940"/>
                  </a:lnTo>
                  <a:lnTo>
                    <a:pt x="27749" y="5806"/>
                  </a:lnTo>
                  <a:lnTo>
                    <a:pt x="27093" y="6774"/>
                  </a:lnTo>
                  <a:lnTo>
                    <a:pt x="26471" y="7707"/>
                  </a:lnTo>
                  <a:lnTo>
                    <a:pt x="25849" y="8570"/>
                  </a:lnTo>
                  <a:lnTo>
                    <a:pt x="25227" y="9365"/>
                  </a:lnTo>
                  <a:lnTo>
                    <a:pt x="24639" y="10056"/>
                  </a:lnTo>
                  <a:lnTo>
                    <a:pt x="24086" y="10644"/>
                  </a:lnTo>
                  <a:lnTo>
                    <a:pt x="23810" y="10851"/>
                  </a:lnTo>
                  <a:lnTo>
                    <a:pt x="23568" y="11059"/>
                  </a:lnTo>
                  <a:lnTo>
                    <a:pt x="23361" y="11197"/>
                  </a:lnTo>
                  <a:lnTo>
                    <a:pt x="23153" y="11300"/>
                  </a:lnTo>
                  <a:lnTo>
                    <a:pt x="23153" y="11300"/>
                  </a:lnTo>
                  <a:lnTo>
                    <a:pt x="22773" y="11370"/>
                  </a:lnTo>
                  <a:lnTo>
                    <a:pt x="22255" y="11439"/>
                  </a:lnTo>
                  <a:lnTo>
                    <a:pt x="21633" y="11439"/>
                  </a:lnTo>
                  <a:lnTo>
                    <a:pt x="20942" y="11404"/>
                  </a:lnTo>
                  <a:lnTo>
                    <a:pt x="20216" y="11335"/>
                  </a:lnTo>
                  <a:lnTo>
                    <a:pt x="19387" y="11231"/>
                  </a:lnTo>
                  <a:lnTo>
                    <a:pt x="18523" y="11093"/>
                  </a:lnTo>
                  <a:lnTo>
                    <a:pt x="17624" y="10920"/>
                  </a:lnTo>
                  <a:lnTo>
                    <a:pt x="16726" y="10748"/>
                  </a:lnTo>
                  <a:lnTo>
                    <a:pt x="15827" y="10540"/>
                  </a:lnTo>
                  <a:lnTo>
                    <a:pt x="14929" y="10298"/>
                  </a:lnTo>
                  <a:lnTo>
                    <a:pt x="14065" y="10022"/>
                  </a:lnTo>
                  <a:lnTo>
                    <a:pt x="13236" y="9780"/>
                  </a:lnTo>
                  <a:lnTo>
                    <a:pt x="12441" y="9504"/>
                  </a:lnTo>
                  <a:lnTo>
                    <a:pt x="11750" y="9193"/>
                  </a:lnTo>
                  <a:lnTo>
                    <a:pt x="11093" y="8916"/>
                  </a:lnTo>
                  <a:lnTo>
                    <a:pt x="11093" y="8916"/>
                  </a:lnTo>
                  <a:lnTo>
                    <a:pt x="10609" y="8847"/>
                  </a:lnTo>
                  <a:lnTo>
                    <a:pt x="9434" y="8709"/>
                  </a:lnTo>
                  <a:lnTo>
                    <a:pt x="8709" y="8640"/>
                  </a:lnTo>
                  <a:lnTo>
                    <a:pt x="7983" y="8570"/>
                  </a:lnTo>
                  <a:lnTo>
                    <a:pt x="7292" y="8570"/>
                  </a:lnTo>
                  <a:lnTo>
                    <a:pt x="6704" y="8570"/>
                  </a:lnTo>
                  <a:lnTo>
                    <a:pt x="6704" y="8570"/>
                  </a:lnTo>
                  <a:lnTo>
                    <a:pt x="6393" y="8640"/>
                  </a:lnTo>
                  <a:lnTo>
                    <a:pt x="6048" y="8743"/>
                  </a:lnTo>
                  <a:lnTo>
                    <a:pt x="5668" y="8916"/>
                  </a:lnTo>
                  <a:lnTo>
                    <a:pt x="5253" y="9123"/>
                  </a:lnTo>
                  <a:lnTo>
                    <a:pt x="4355" y="9676"/>
                  </a:lnTo>
                  <a:lnTo>
                    <a:pt x="3387" y="10298"/>
                  </a:lnTo>
                  <a:lnTo>
                    <a:pt x="2489" y="10989"/>
                  </a:lnTo>
                  <a:lnTo>
                    <a:pt x="1625" y="11715"/>
                  </a:lnTo>
                  <a:lnTo>
                    <a:pt x="934" y="12337"/>
                  </a:lnTo>
                  <a:lnTo>
                    <a:pt x="657" y="12648"/>
                  </a:lnTo>
                  <a:lnTo>
                    <a:pt x="415" y="12890"/>
                  </a:lnTo>
                  <a:lnTo>
                    <a:pt x="415" y="12890"/>
                  </a:lnTo>
                  <a:lnTo>
                    <a:pt x="346" y="13063"/>
                  </a:lnTo>
                  <a:lnTo>
                    <a:pt x="242" y="13236"/>
                  </a:lnTo>
                  <a:lnTo>
                    <a:pt x="104" y="13616"/>
                  </a:lnTo>
                  <a:lnTo>
                    <a:pt x="35" y="14134"/>
                  </a:lnTo>
                  <a:lnTo>
                    <a:pt x="1" y="14687"/>
                  </a:lnTo>
                  <a:lnTo>
                    <a:pt x="1" y="15344"/>
                  </a:lnTo>
                  <a:lnTo>
                    <a:pt x="35" y="16035"/>
                  </a:lnTo>
                  <a:lnTo>
                    <a:pt x="139" y="16795"/>
                  </a:lnTo>
                  <a:lnTo>
                    <a:pt x="242" y="17590"/>
                  </a:lnTo>
                  <a:lnTo>
                    <a:pt x="381" y="18419"/>
                  </a:lnTo>
                  <a:lnTo>
                    <a:pt x="553" y="19283"/>
                  </a:lnTo>
                  <a:lnTo>
                    <a:pt x="968" y="21045"/>
                  </a:lnTo>
                  <a:lnTo>
                    <a:pt x="1452" y="22877"/>
                  </a:lnTo>
                  <a:lnTo>
                    <a:pt x="1936" y="24639"/>
                  </a:lnTo>
                  <a:lnTo>
                    <a:pt x="1936" y="24639"/>
                  </a:lnTo>
                  <a:lnTo>
                    <a:pt x="2005" y="24777"/>
                  </a:lnTo>
                  <a:lnTo>
                    <a:pt x="2108" y="24916"/>
                  </a:lnTo>
                  <a:lnTo>
                    <a:pt x="2350" y="25192"/>
                  </a:lnTo>
                  <a:lnTo>
                    <a:pt x="2730" y="25503"/>
                  </a:lnTo>
                  <a:lnTo>
                    <a:pt x="3214" y="25814"/>
                  </a:lnTo>
                  <a:lnTo>
                    <a:pt x="3802" y="26160"/>
                  </a:lnTo>
                  <a:lnTo>
                    <a:pt x="4458" y="26505"/>
                  </a:lnTo>
                  <a:lnTo>
                    <a:pt x="5219" y="26851"/>
                  </a:lnTo>
                  <a:lnTo>
                    <a:pt x="6048" y="27231"/>
                  </a:lnTo>
                  <a:lnTo>
                    <a:pt x="7879" y="27957"/>
                  </a:lnTo>
                  <a:lnTo>
                    <a:pt x="9884" y="28751"/>
                  </a:lnTo>
                  <a:lnTo>
                    <a:pt x="12061" y="29512"/>
                  </a:lnTo>
                  <a:lnTo>
                    <a:pt x="14272" y="30272"/>
                  </a:lnTo>
                  <a:lnTo>
                    <a:pt x="18626" y="31689"/>
                  </a:lnTo>
                  <a:lnTo>
                    <a:pt x="22462" y="32898"/>
                  </a:lnTo>
                  <a:lnTo>
                    <a:pt x="25227" y="33762"/>
                  </a:lnTo>
                  <a:lnTo>
                    <a:pt x="26056" y="34039"/>
                  </a:lnTo>
                  <a:lnTo>
                    <a:pt x="26402" y="3421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7" name="Google Shape;2466;p11">
              <a:extLst>
                <a:ext uri="{FF2B5EF4-FFF2-40B4-BE49-F238E27FC236}">
                  <a16:creationId xmlns:a16="http://schemas.microsoft.com/office/drawing/2014/main" id="{0E63D751-07AC-A621-EE4D-4E8CA511EDCD}"/>
                </a:ext>
              </a:extLst>
            </p:cNvPr>
            <p:cNvSpPr/>
            <p:nvPr/>
          </p:nvSpPr>
          <p:spPr>
            <a:xfrm>
              <a:off x="1210475" y="2415175"/>
              <a:ext cx="134800" cy="251425"/>
            </a:xfrm>
            <a:custGeom>
              <a:avLst/>
              <a:gdLst/>
              <a:ahLst/>
              <a:cxnLst/>
              <a:rect l="l" t="t" r="r" b="b"/>
              <a:pathLst>
                <a:path w="5392" h="10057" extrusionOk="0">
                  <a:moveTo>
                    <a:pt x="3733" y="0"/>
                  </a:moveTo>
                  <a:lnTo>
                    <a:pt x="3629" y="35"/>
                  </a:lnTo>
                  <a:lnTo>
                    <a:pt x="3526" y="104"/>
                  </a:lnTo>
                  <a:lnTo>
                    <a:pt x="3422" y="207"/>
                  </a:lnTo>
                  <a:lnTo>
                    <a:pt x="3318" y="346"/>
                  </a:lnTo>
                  <a:lnTo>
                    <a:pt x="3076" y="760"/>
                  </a:lnTo>
                  <a:lnTo>
                    <a:pt x="2593" y="1797"/>
                  </a:lnTo>
                  <a:lnTo>
                    <a:pt x="2074" y="2799"/>
                  </a:lnTo>
                  <a:lnTo>
                    <a:pt x="1072" y="4665"/>
                  </a:lnTo>
                  <a:lnTo>
                    <a:pt x="1" y="6600"/>
                  </a:lnTo>
                  <a:lnTo>
                    <a:pt x="105" y="6808"/>
                  </a:lnTo>
                  <a:lnTo>
                    <a:pt x="346" y="7257"/>
                  </a:lnTo>
                  <a:lnTo>
                    <a:pt x="554" y="7568"/>
                  </a:lnTo>
                  <a:lnTo>
                    <a:pt x="796" y="7844"/>
                  </a:lnTo>
                  <a:lnTo>
                    <a:pt x="1038" y="8155"/>
                  </a:lnTo>
                  <a:lnTo>
                    <a:pt x="1349" y="8397"/>
                  </a:lnTo>
                  <a:lnTo>
                    <a:pt x="1729" y="8639"/>
                  </a:lnTo>
                  <a:lnTo>
                    <a:pt x="2212" y="8916"/>
                  </a:lnTo>
                  <a:lnTo>
                    <a:pt x="3318" y="9469"/>
                  </a:lnTo>
                  <a:lnTo>
                    <a:pt x="4355" y="9883"/>
                  </a:lnTo>
                  <a:lnTo>
                    <a:pt x="4701" y="10021"/>
                  </a:lnTo>
                  <a:lnTo>
                    <a:pt x="4942" y="10056"/>
                  </a:lnTo>
                  <a:lnTo>
                    <a:pt x="5081" y="10056"/>
                  </a:lnTo>
                  <a:lnTo>
                    <a:pt x="5184" y="9987"/>
                  </a:lnTo>
                  <a:lnTo>
                    <a:pt x="5288" y="9918"/>
                  </a:lnTo>
                  <a:lnTo>
                    <a:pt x="5323" y="9814"/>
                  </a:lnTo>
                  <a:lnTo>
                    <a:pt x="5357" y="9676"/>
                  </a:lnTo>
                  <a:lnTo>
                    <a:pt x="5392" y="9503"/>
                  </a:lnTo>
                  <a:lnTo>
                    <a:pt x="5357" y="9158"/>
                  </a:lnTo>
                  <a:lnTo>
                    <a:pt x="5288" y="8777"/>
                  </a:lnTo>
                  <a:lnTo>
                    <a:pt x="5184" y="8363"/>
                  </a:lnTo>
                  <a:lnTo>
                    <a:pt x="5046" y="8017"/>
                  </a:lnTo>
                  <a:lnTo>
                    <a:pt x="4873" y="7706"/>
                  </a:lnTo>
                  <a:lnTo>
                    <a:pt x="4735" y="7395"/>
                  </a:lnTo>
                  <a:lnTo>
                    <a:pt x="4631" y="7050"/>
                  </a:lnTo>
                  <a:lnTo>
                    <a:pt x="4562" y="6635"/>
                  </a:lnTo>
                  <a:lnTo>
                    <a:pt x="4528" y="6117"/>
                  </a:lnTo>
                  <a:lnTo>
                    <a:pt x="4528" y="5529"/>
                  </a:lnTo>
                  <a:lnTo>
                    <a:pt x="4597" y="4873"/>
                  </a:lnTo>
                  <a:lnTo>
                    <a:pt x="4701" y="4078"/>
                  </a:lnTo>
                  <a:lnTo>
                    <a:pt x="4873" y="3214"/>
                  </a:lnTo>
                  <a:lnTo>
                    <a:pt x="4770" y="2454"/>
                  </a:lnTo>
                  <a:lnTo>
                    <a:pt x="4666" y="1728"/>
                  </a:lnTo>
                  <a:lnTo>
                    <a:pt x="4459" y="1002"/>
                  </a:lnTo>
                  <a:lnTo>
                    <a:pt x="4355" y="657"/>
                  </a:lnTo>
                  <a:lnTo>
                    <a:pt x="4217" y="380"/>
                  </a:lnTo>
                  <a:lnTo>
                    <a:pt x="4079" y="173"/>
                  </a:lnTo>
                  <a:lnTo>
                    <a:pt x="3975" y="69"/>
                  </a:lnTo>
                  <a:lnTo>
                    <a:pt x="3906" y="35"/>
                  </a:lnTo>
                  <a:lnTo>
                    <a:pt x="3802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8" name="Google Shape;2467;p11">
              <a:extLst>
                <a:ext uri="{FF2B5EF4-FFF2-40B4-BE49-F238E27FC236}">
                  <a16:creationId xmlns:a16="http://schemas.microsoft.com/office/drawing/2014/main" id="{692B8FE3-4224-46D2-0142-DDB4C0F001DC}"/>
                </a:ext>
              </a:extLst>
            </p:cNvPr>
            <p:cNvSpPr/>
            <p:nvPr/>
          </p:nvSpPr>
          <p:spPr>
            <a:xfrm>
              <a:off x="1210475" y="2415175"/>
              <a:ext cx="134800" cy="251425"/>
            </a:xfrm>
            <a:custGeom>
              <a:avLst/>
              <a:gdLst/>
              <a:ahLst/>
              <a:cxnLst/>
              <a:rect l="l" t="t" r="r" b="b"/>
              <a:pathLst>
                <a:path w="5392" h="10057" fill="none" extrusionOk="0">
                  <a:moveTo>
                    <a:pt x="4873" y="3214"/>
                  </a:moveTo>
                  <a:lnTo>
                    <a:pt x="4873" y="3214"/>
                  </a:lnTo>
                  <a:lnTo>
                    <a:pt x="4701" y="4078"/>
                  </a:lnTo>
                  <a:lnTo>
                    <a:pt x="4597" y="4873"/>
                  </a:lnTo>
                  <a:lnTo>
                    <a:pt x="4528" y="5529"/>
                  </a:lnTo>
                  <a:lnTo>
                    <a:pt x="4528" y="6117"/>
                  </a:lnTo>
                  <a:lnTo>
                    <a:pt x="4562" y="6635"/>
                  </a:lnTo>
                  <a:lnTo>
                    <a:pt x="4631" y="7050"/>
                  </a:lnTo>
                  <a:lnTo>
                    <a:pt x="4735" y="7395"/>
                  </a:lnTo>
                  <a:lnTo>
                    <a:pt x="4873" y="7706"/>
                  </a:lnTo>
                  <a:lnTo>
                    <a:pt x="4873" y="7706"/>
                  </a:lnTo>
                  <a:lnTo>
                    <a:pt x="5046" y="8017"/>
                  </a:lnTo>
                  <a:lnTo>
                    <a:pt x="5184" y="8363"/>
                  </a:lnTo>
                  <a:lnTo>
                    <a:pt x="5288" y="8777"/>
                  </a:lnTo>
                  <a:lnTo>
                    <a:pt x="5357" y="9158"/>
                  </a:lnTo>
                  <a:lnTo>
                    <a:pt x="5392" y="9503"/>
                  </a:lnTo>
                  <a:lnTo>
                    <a:pt x="5357" y="9676"/>
                  </a:lnTo>
                  <a:lnTo>
                    <a:pt x="5323" y="9814"/>
                  </a:lnTo>
                  <a:lnTo>
                    <a:pt x="5288" y="9918"/>
                  </a:lnTo>
                  <a:lnTo>
                    <a:pt x="5184" y="9987"/>
                  </a:lnTo>
                  <a:lnTo>
                    <a:pt x="5081" y="10056"/>
                  </a:lnTo>
                  <a:lnTo>
                    <a:pt x="4942" y="10056"/>
                  </a:lnTo>
                  <a:lnTo>
                    <a:pt x="4942" y="10056"/>
                  </a:lnTo>
                  <a:lnTo>
                    <a:pt x="4701" y="10021"/>
                  </a:lnTo>
                  <a:lnTo>
                    <a:pt x="4355" y="9883"/>
                  </a:lnTo>
                  <a:lnTo>
                    <a:pt x="3318" y="9469"/>
                  </a:lnTo>
                  <a:lnTo>
                    <a:pt x="2212" y="8916"/>
                  </a:lnTo>
                  <a:lnTo>
                    <a:pt x="1729" y="8639"/>
                  </a:lnTo>
                  <a:lnTo>
                    <a:pt x="1349" y="8397"/>
                  </a:lnTo>
                  <a:lnTo>
                    <a:pt x="1349" y="8397"/>
                  </a:lnTo>
                  <a:lnTo>
                    <a:pt x="1038" y="8155"/>
                  </a:lnTo>
                  <a:lnTo>
                    <a:pt x="796" y="7844"/>
                  </a:lnTo>
                  <a:lnTo>
                    <a:pt x="554" y="7568"/>
                  </a:lnTo>
                  <a:lnTo>
                    <a:pt x="346" y="7257"/>
                  </a:lnTo>
                  <a:lnTo>
                    <a:pt x="105" y="6808"/>
                  </a:lnTo>
                  <a:lnTo>
                    <a:pt x="1" y="6600"/>
                  </a:lnTo>
                  <a:lnTo>
                    <a:pt x="1" y="6600"/>
                  </a:lnTo>
                  <a:lnTo>
                    <a:pt x="1072" y="4665"/>
                  </a:lnTo>
                  <a:lnTo>
                    <a:pt x="2074" y="2799"/>
                  </a:lnTo>
                  <a:lnTo>
                    <a:pt x="2593" y="1797"/>
                  </a:lnTo>
                  <a:lnTo>
                    <a:pt x="3076" y="760"/>
                  </a:lnTo>
                  <a:lnTo>
                    <a:pt x="3076" y="760"/>
                  </a:lnTo>
                  <a:lnTo>
                    <a:pt x="3318" y="346"/>
                  </a:lnTo>
                  <a:lnTo>
                    <a:pt x="3422" y="207"/>
                  </a:lnTo>
                  <a:lnTo>
                    <a:pt x="3526" y="104"/>
                  </a:lnTo>
                  <a:lnTo>
                    <a:pt x="3629" y="35"/>
                  </a:lnTo>
                  <a:lnTo>
                    <a:pt x="3733" y="0"/>
                  </a:lnTo>
                  <a:lnTo>
                    <a:pt x="3802" y="0"/>
                  </a:lnTo>
                  <a:lnTo>
                    <a:pt x="3906" y="35"/>
                  </a:lnTo>
                  <a:lnTo>
                    <a:pt x="3975" y="69"/>
                  </a:lnTo>
                  <a:lnTo>
                    <a:pt x="4079" y="173"/>
                  </a:lnTo>
                  <a:lnTo>
                    <a:pt x="4217" y="380"/>
                  </a:lnTo>
                  <a:lnTo>
                    <a:pt x="4355" y="657"/>
                  </a:lnTo>
                  <a:lnTo>
                    <a:pt x="4459" y="1002"/>
                  </a:lnTo>
                  <a:lnTo>
                    <a:pt x="4666" y="1728"/>
                  </a:lnTo>
                  <a:lnTo>
                    <a:pt x="4770" y="2454"/>
                  </a:lnTo>
                  <a:lnTo>
                    <a:pt x="4873" y="321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9" name="Google Shape;2468;p11">
              <a:extLst>
                <a:ext uri="{FF2B5EF4-FFF2-40B4-BE49-F238E27FC236}">
                  <a16:creationId xmlns:a16="http://schemas.microsoft.com/office/drawing/2014/main" id="{3498472B-7DCF-A493-0D80-8F1B6C722DDF}"/>
                </a:ext>
              </a:extLst>
            </p:cNvPr>
            <p:cNvSpPr/>
            <p:nvPr/>
          </p:nvSpPr>
          <p:spPr>
            <a:xfrm>
              <a:off x="1323650" y="2495500"/>
              <a:ext cx="8675" cy="58775"/>
            </a:xfrm>
            <a:custGeom>
              <a:avLst/>
              <a:gdLst/>
              <a:ahLst/>
              <a:cxnLst/>
              <a:rect l="l" t="t" r="r" b="b"/>
              <a:pathLst>
                <a:path w="347" h="2351" extrusionOk="0">
                  <a:moveTo>
                    <a:pt x="346" y="1"/>
                  </a:moveTo>
                  <a:lnTo>
                    <a:pt x="208" y="657"/>
                  </a:lnTo>
                  <a:lnTo>
                    <a:pt x="150" y="1176"/>
                  </a:lnTo>
                  <a:lnTo>
                    <a:pt x="346" y="1"/>
                  </a:lnTo>
                  <a:close/>
                  <a:moveTo>
                    <a:pt x="150" y="1176"/>
                  </a:moveTo>
                  <a:lnTo>
                    <a:pt x="139" y="1245"/>
                  </a:lnTo>
                  <a:lnTo>
                    <a:pt x="70" y="1832"/>
                  </a:lnTo>
                  <a:lnTo>
                    <a:pt x="70" y="1832"/>
                  </a:lnTo>
                  <a:lnTo>
                    <a:pt x="139" y="1279"/>
                  </a:lnTo>
                  <a:lnTo>
                    <a:pt x="150" y="1176"/>
                  </a:lnTo>
                  <a:close/>
                  <a:moveTo>
                    <a:pt x="70" y="1832"/>
                  </a:moveTo>
                  <a:lnTo>
                    <a:pt x="1" y="2351"/>
                  </a:lnTo>
                  <a:lnTo>
                    <a:pt x="35" y="2351"/>
                  </a:lnTo>
                  <a:lnTo>
                    <a:pt x="70" y="1832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0" name="Google Shape;2469;p11">
              <a:extLst>
                <a:ext uri="{FF2B5EF4-FFF2-40B4-BE49-F238E27FC236}">
                  <a16:creationId xmlns:a16="http://schemas.microsoft.com/office/drawing/2014/main" id="{454ABF48-AD4E-6A71-9525-E8FA5B7DDEA9}"/>
                </a:ext>
              </a:extLst>
            </p:cNvPr>
            <p:cNvSpPr/>
            <p:nvPr/>
          </p:nvSpPr>
          <p:spPr>
            <a:xfrm>
              <a:off x="1323650" y="2495500"/>
              <a:ext cx="8675" cy="58775"/>
            </a:xfrm>
            <a:custGeom>
              <a:avLst/>
              <a:gdLst/>
              <a:ahLst/>
              <a:cxnLst/>
              <a:rect l="l" t="t" r="r" b="b"/>
              <a:pathLst>
                <a:path w="347" h="2351" fill="none" extrusionOk="0">
                  <a:moveTo>
                    <a:pt x="346" y="1"/>
                  </a:moveTo>
                  <a:lnTo>
                    <a:pt x="346" y="1"/>
                  </a:lnTo>
                  <a:lnTo>
                    <a:pt x="208" y="657"/>
                  </a:lnTo>
                  <a:lnTo>
                    <a:pt x="139" y="1279"/>
                  </a:lnTo>
                  <a:lnTo>
                    <a:pt x="70" y="1832"/>
                  </a:lnTo>
                  <a:lnTo>
                    <a:pt x="1" y="2351"/>
                  </a:lnTo>
                  <a:lnTo>
                    <a:pt x="1" y="2351"/>
                  </a:lnTo>
                  <a:lnTo>
                    <a:pt x="35" y="2351"/>
                  </a:lnTo>
                  <a:lnTo>
                    <a:pt x="35" y="2351"/>
                  </a:lnTo>
                  <a:lnTo>
                    <a:pt x="70" y="1832"/>
                  </a:lnTo>
                  <a:lnTo>
                    <a:pt x="139" y="1245"/>
                  </a:lnTo>
                  <a:lnTo>
                    <a:pt x="139" y="1245"/>
                  </a:lnTo>
                  <a:lnTo>
                    <a:pt x="3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1" name="Google Shape;2470;p11">
              <a:extLst>
                <a:ext uri="{FF2B5EF4-FFF2-40B4-BE49-F238E27FC236}">
                  <a16:creationId xmlns:a16="http://schemas.microsoft.com/office/drawing/2014/main" id="{26856534-D9D3-D466-843F-8FE963AA621D}"/>
                </a:ext>
              </a:extLst>
            </p:cNvPr>
            <p:cNvSpPr/>
            <p:nvPr/>
          </p:nvSpPr>
          <p:spPr>
            <a:xfrm>
              <a:off x="1283050" y="2479100"/>
              <a:ext cx="49275" cy="75175"/>
            </a:xfrm>
            <a:custGeom>
              <a:avLst/>
              <a:gdLst/>
              <a:ahLst/>
              <a:cxnLst/>
              <a:rect l="l" t="t" r="r" b="b"/>
              <a:pathLst>
                <a:path w="1971" h="3007" extrusionOk="0">
                  <a:moveTo>
                    <a:pt x="553" y="0"/>
                  </a:moveTo>
                  <a:lnTo>
                    <a:pt x="415" y="35"/>
                  </a:lnTo>
                  <a:lnTo>
                    <a:pt x="312" y="139"/>
                  </a:lnTo>
                  <a:lnTo>
                    <a:pt x="208" y="311"/>
                  </a:lnTo>
                  <a:lnTo>
                    <a:pt x="104" y="519"/>
                  </a:lnTo>
                  <a:lnTo>
                    <a:pt x="35" y="726"/>
                  </a:lnTo>
                  <a:lnTo>
                    <a:pt x="1" y="968"/>
                  </a:lnTo>
                  <a:lnTo>
                    <a:pt x="1" y="1210"/>
                  </a:lnTo>
                  <a:lnTo>
                    <a:pt x="35" y="1417"/>
                  </a:lnTo>
                  <a:lnTo>
                    <a:pt x="242" y="1694"/>
                  </a:lnTo>
                  <a:lnTo>
                    <a:pt x="588" y="2143"/>
                  </a:lnTo>
                  <a:lnTo>
                    <a:pt x="830" y="2385"/>
                  </a:lnTo>
                  <a:lnTo>
                    <a:pt x="1072" y="2627"/>
                  </a:lnTo>
                  <a:lnTo>
                    <a:pt x="1348" y="2834"/>
                  </a:lnTo>
                  <a:lnTo>
                    <a:pt x="1625" y="3007"/>
                  </a:lnTo>
                  <a:lnTo>
                    <a:pt x="1694" y="2488"/>
                  </a:lnTo>
                  <a:lnTo>
                    <a:pt x="1763" y="1935"/>
                  </a:lnTo>
                  <a:lnTo>
                    <a:pt x="1832" y="1313"/>
                  </a:lnTo>
                  <a:lnTo>
                    <a:pt x="1970" y="657"/>
                  </a:lnTo>
                  <a:lnTo>
                    <a:pt x="1728" y="450"/>
                  </a:lnTo>
                  <a:lnTo>
                    <a:pt x="1590" y="346"/>
                  </a:lnTo>
                  <a:lnTo>
                    <a:pt x="1452" y="311"/>
                  </a:lnTo>
                  <a:lnTo>
                    <a:pt x="1072" y="277"/>
                  </a:lnTo>
                  <a:lnTo>
                    <a:pt x="865" y="208"/>
                  </a:lnTo>
                  <a:lnTo>
                    <a:pt x="761" y="173"/>
                  </a:lnTo>
                  <a:lnTo>
                    <a:pt x="692" y="104"/>
                  </a:lnTo>
                  <a:lnTo>
                    <a:pt x="623" y="35"/>
                  </a:lnTo>
                  <a:lnTo>
                    <a:pt x="553" y="0"/>
                  </a:lnTo>
                  <a:close/>
                </a:path>
              </a:pathLst>
            </a:custGeom>
            <a:solidFill>
              <a:srgbClr val="6C322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2" name="Google Shape;2471;p11">
              <a:extLst>
                <a:ext uri="{FF2B5EF4-FFF2-40B4-BE49-F238E27FC236}">
                  <a16:creationId xmlns:a16="http://schemas.microsoft.com/office/drawing/2014/main" id="{FB1D1506-8118-CFA2-7ADC-6E984DA49FF2}"/>
                </a:ext>
              </a:extLst>
            </p:cNvPr>
            <p:cNvSpPr/>
            <p:nvPr/>
          </p:nvSpPr>
          <p:spPr>
            <a:xfrm>
              <a:off x="1283050" y="2479100"/>
              <a:ext cx="49275" cy="75175"/>
            </a:xfrm>
            <a:custGeom>
              <a:avLst/>
              <a:gdLst/>
              <a:ahLst/>
              <a:cxnLst/>
              <a:rect l="l" t="t" r="r" b="b"/>
              <a:pathLst>
                <a:path w="1971" h="3007" fill="none" extrusionOk="0">
                  <a:moveTo>
                    <a:pt x="553" y="0"/>
                  </a:moveTo>
                  <a:lnTo>
                    <a:pt x="553" y="0"/>
                  </a:lnTo>
                  <a:lnTo>
                    <a:pt x="415" y="35"/>
                  </a:lnTo>
                  <a:lnTo>
                    <a:pt x="312" y="139"/>
                  </a:lnTo>
                  <a:lnTo>
                    <a:pt x="208" y="311"/>
                  </a:lnTo>
                  <a:lnTo>
                    <a:pt x="104" y="519"/>
                  </a:lnTo>
                  <a:lnTo>
                    <a:pt x="35" y="726"/>
                  </a:lnTo>
                  <a:lnTo>
                    <a:pt x="1" y="968"/>
                  </a:lnTo>
                  <a:lnTo>
                    <a:pt x="1" y="1210"/>
                  </a:lnTo>
                  <a:lnTo>
                    <a:pt x="35" y="1417"/>
                  </a:lnTo>
                  <a:lnTo>
                    <a:pt x="35" y="1417"/>
                  </a:lnTo>
                  <a:lnTo>
                    <a:pt x="242" y="1694"/>
                  </a:lnTo>
                  <a:lnTo>
                    <a:pt x="588" y="2143"/>
                  </a:lnTo>
                  <a:lnTo>
                    <a:pt x="830" y="2385"/>
                  </a:lnTo>
                  <a:lnTo>
                    <a:pt x="1072" y="2627"/>
                  </a:lnTo>
                  <a:lnTo>
                    <a:pt x="1348" y="2834"/>
                  </a:lnTo>
                  <a:lnTo>
                    <a:pt x="1625" y="3007"/>
                  </a:lnTo>
                  <a:lnTo>
                    <a:pt x="1625" y="3007"/>
                  </a:lnTo>
                  <a:lnTo>
                    <a:pt x="1694" y="2488"/>
                  </a:lnTo>
                  <a:lnTo>
                    <a:pt x="1763" y="1935"/>
                  </a:lnTo>
                  <a:lnTo>
                    <a:pt x="1832" y="1313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970" y="657"/>
                  </a:lnTo>
                  <a:lnTo>
                    <a:pt x="1728" y="450"/>
                  </a:lnTo>
                  <a:lnTo>
                    <a:pt x="1590" y="346"/>
                  </a:lnTo>
                  <a:lnTo>
                    <a:pt x="1452" y="311"/>
                  </a:lnTo>
                  <a:lnTo>
                    <a:pt x="1452" y="311"/>
                  </a:lnTo>
                  <a:lnTo>
                    <a:pt x="1072" y="277"/>
                  </a:lnTo>
                  <a:lnTo>
                    <a:pt x="865" y="208"/>
                  </a:lnTo>
                  <a:lnTo>
                    <a:pt x="761" y="173"/>
                  </a:lnTo>
                  <a:lnTo>
                    <a:pt x="692" y="104"/>
                  </a:lnTo>
                  <a:lnTo>
                    <a:pt x="692" y="104"/>
                  </a:lnTo>
                  <a:lnTo>
                    <a:pt x="623" y="35"/>
                  </a:lnTo>
                  <a:lnTo>
                    <a:pt x="55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3" name="Google Shape;2472;p11">
              <a:extLst>
                <a:ext uri="{FF2B5EF4-FFF2-40B4-BE49-F238E27FC236}">
                  <a16:creationId xmlns:a16="http://schemas.microsoft.com/office/drawing/2014/main" id="{A4A1774E-88D2-626A-93B4-1E44289624DF}"/>
                </a:ext>
              </a:extLst>
            </p:cNvPr>
            <p:cNvSpPr/>
            <p:nvPr/>
          </p:nvSpPr>
          <p:spPr>
            <a:xfrm>
              <a:off x="1243300" y="2803925"/>
              <a:ext cx="171950" cy="188350"/>
            </a:xfrm>
            <a:custGeom>
              <a:avLst/>
              <a:gdLst/>
              <a:ahLst/>
              <a:cxnLst/>
              <a:rect l="l" t="t" r="r" b="b"/>
              <a:pathLst>
                <a:path w="6878" h="7534" extrusionOk="0">
                  <a:moveTo>
                    <a:pt x="312" y="1"/>
                  </a:moveTo>
                  <a:lnTo>
                    <a:pt x="105" y="968"/>
                  </a:lnTo>
                  <a:lnTo>
                    <a:pt x="1" y="1763"/>
                  </a:lnTo>
                  <a:lnTo>
                    <a:pt x="1" y="2385"/>
                  </a:lnTo>
                  <a:lnTo>
                    <a:pt x="36" y="2903"/>
                  </a:lnTo>
                  <a:lnTo>
                    <a:pt x="139" y="3283"/>
                  </a:lnTo>
                  <a:lnTo>
                    <a:pt x="243" y="3629"/>
                  </a:lnTo>
                  <a:lnTo>
                    <a:pt x="381" y="3871"/>
                  </a:lnTo>
                  <a:lnTo>
                    <a:pt x="485" y="4078"/>
                  </a:lnTo>
                  <a:lnTo>
                    <a:pt x="588" y="4182"/>
                  </a:lnTo>
                  <a:lnTo>
                    <a:pt x="761" y="4320"/>
                  </a:lnTo>
                  <a:lnTo>
                    <a:pt x="1314" y="4700"/>
                  </a:lnTo>
                  <a:lnTo>
                    <a:pt x="2109" y="5149"/>
                  </a:lnTo>
                  <a:lnTo>
                    <a:pt x="3007" y="5668"/>
                  </a:lnTo>
                  <a:lnTo>
                    <a:pt x="5046" y="6670"/>
                  </a:lnTo>
                  <a:lnTo>
                    <a:pt x="6878" y="7534"/>
                  </a:lnTo>
                  <a:lnTo>
                    <a:pt x="6878" y="7534"/>
                  </a:lnTo>
                  <a:lnTo>
                    <a:pt x="5012" y="6359"/>
                  </a:lnTo>
                  <a:lnTo>
                    <a:pt x="3526" y="5357"/>
                  </a:lnTo>
                  <a:lnTo>
                    <a:pt x="2938" y="4942"/>
                  </a:lnTo>
                  <a:lnTo>
                    <a:pt x="2420" y="4527"/>
                  </a:lnTo>
                  <a:lnTo>
                    <a:pt x="1971" y="4113"/>
                  </a:lnTo>
                  <a:lnTo>
                    <a:pt x="1591" y="3733"/>
                  </a:lnTo>
                  <a:lnTo>
                    <a:pt x="1280" y="3352"/>
                  </a:lnTo>
                  <a:lnTo>
                    <a:pt x="1038" y="2972"/>
                  </a:lnTo>
                  <a:lnTo>
                    <a:pt x="830" y="2558"/>
                  </a:lnTo>
                  <a:lnTo>
                    <a:pt x="658" y="2108"/>
                  </a:lnTo>
                  <a:lnTo>
                    <a:pt x="519" y="1659"/>
                  </a:lnTo>
                  <a:lnTo>
                    <a:pt x="416" y="1175"/>
                  </a:lnTo>
                  <a:lnTo>
                    <a:pt x="347" y="623"/>
                  </a:lnTo>
                  <a:lnTo>
                    <a:pt x="312" y="1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4" name="Google Shape;2473;p11">
              <a:extLst>
                <a:ext uri="{FF2B5EF4-FFF2-40B4-BE49-F238E27FC236}">
                  <a16:creationId xmlns:a16="http://schemas.microsoft.com/office/drawing/2014/main" id="{0FD47295-A3AA-54C2-CD42-16993AC3C08A}"/>
                </a:ext>
              </a:extLst>
            </p:cNvPr>
            <p:cNvSpPr/>
            <p:nvPr/>
          </p:nvSpPr>
          <p:spPr>
            <a:xfrm>
              <a:off x="1243300" y="2803925"/>
              <a:ext cx="171950" cy="188350"/>
            </a:xfrm>
            <a:custGeom>
              <a:avLst/>
              <a:gdLst/>
              <a:ahLst/>
              <a:cxnLst/>
              <a:rect l="l" t="t" r="r" b="b"/>
              <a:pathLst>
                <a:path w="6878" h="7534" fill="none" extrusionOk="0">
                  <a:moveTo>
                    <a:pt x="312" y="1"/>
                  </a:moveTo>
                  <a:lnTo>
                    <a:pt x="312" y="1"/>
                  </a:lnTo>
                  <a:lnTo>
                    <a:pt x="105" y="968"/>
                  </a:lnTo>
                  <a:lnTo>
                    <a:pt x="1" y="1763"/>
                  </a:lnTo>
                  <a:lnTo>
                    <a:pt x="1" y="2385"/>
                  </a:lnTo>
                  <a:lnTo>
                    <a:pt x="36" y="2903"/>
                  </a:lnTo>
                  <a:lnTo>
                    <a:pt x="139" y="3283"/>
                  </a:lnTo>
                  <a:lnTo>
                    <a:pt x="243" y="3629"/>
                  </a:lnTo>
                  <a:lnTo>
                    <a:pt x="381" y="3871"/>
                  </a:lnTo>
                  <a:lnTo>
                    <a:pt x="485" y="4078"/>
                  </a:lnTo>
                  <a:lnTo>
                    <a:pt x="485" y="4078"/>
                  </a:lnTo>
                  <a:lnTo>
                    <a:pt x="588" y="4182"/>
                  </a:lnTo>
                  <a:lnTo>
                    <a:pt x="761" y="4320"/>
                  </a:lnTo>
                  <a:lnTo>
                    <a:pt x="1314" y="4700"/>
                  </a:lnTo>
                  <a:lnTo>
                    <a:pt x="2109" y="5149"/>
                  </a:lnTo>
                  <a:lnTo>
                    <a:pt x="3007" y="5668"/>
                  </a:lnTo>
                  <a:lnTo>
                    <a:pt x="5046" y="6670"/>
                  </a:lnTo>
                  <a:lnTo>
                    <a:pt x="6878" y="7534"/>
                  </a:lnTo>
                  <a:lnTo>
                    <a:pt x="6878" y="7534"/>
                  </a:lnTo>
                  <a:lnTo>
                    <a:pt x="5012" y="6359"/>
                  </a:lnTo>
                  <a:lnTo>
                    <a:pt x="3526" y="5357"/>
                  </a:lnTo>
                  <a:lnTo>
                    <a:pt x="2938" y="4942"/>
                  </a:lnTo>
                  <a:lnTo>
                    <a:pt x="2420" y="4527"/>
                  </a:lnTo>
                  <a:lnTo>
                    <a:pt x="1971" y="4113"/>
                  </a:lnTo>
                  <a:lnTo>
                    <a:pt x="1591" y="3733"/>
                  </a:lnTo>
                  <a:lnTo>
                    <a:pt x="1280" y="3352"/>
                  </a:lnTo>
                  <a:lnTo>
                    <a:pt x="1038" y="2972"/>
                  </a:lnTo>
                  <a:lnTo>
                    <a:pt x="830" y="2558"/>
                  </a:lnTo>
                  <a:lnTo>
                    <a:pt x="658" y="2108"/>
                  </a:lnTo>
                  <a:lnTo>
                    <a:pt x="519" y="1659"/>
                  </a:lnTo>
                  <a:lnTo>
                    <a:pt x="416" y="1175"/>
                  </a:lnTo>
                  <a:lnTo>
                    <a:pt x="347" y="623"/>
                  </a:lnTo>
                  <a:lnTo>
                    <a:pt x="31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5" name="Google Shape;2474;p11">
              <a:extLst>
                <a:ext uri="{FF2B5EF4-FFF2-40B4-BE49-F238E27FC236}">
                  <a16:creationId xmlns:a16="http://schemas.microsoft.com/office/drawing/2014/main" id="{E44023B5-B96B-FBEA-C8E9-223331F9D5BF}"/>
                </a:ext>
              </a:extLst>
            </p:cNvPr>
            <p:cNvSpPr/>
            <p:nvPr/>
          </p:nvSpPr>
          <p:spPr>
            <a:xfrm>
              <a:off x="1174200" y="3004350"/>
              <a:ext cx="25" cy="21625"/>
            </a:xfrm>
            <a:custGeom>
              <a:avLst/>
              <a:gdLst/>
              <a:ahLst/>
              <a:cxnLst/>
              <a:rect l="l" t="t" r="r" b="b"/>
              <a:pathLst>
                <a:path w="1" h="865" extrusionOk="0">
                  <a:moveTo>
                    <a:pt x="0" y="1"/>
                  </a:moveTo>
                  <a:lnTo>
                    <a:pt x="0" y="1"/>
                  </a:lnTo>
                  <a:lnTo>
                    <a:pt x="0" y="865"/>
                  </a:lnTo>
                  <a:lnTo>
                    <a:pt x="0" y="865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6" name="Google Shape;2475;p11">
              <a:extLst>
                <a:ext uri="{FF2B5EF4-FFF2-40B4-BE49-F238E27FC236}">
                  <a16:creationId xmlns:a16="http://schemas.microsoft.com/office/drawing/2014/main" id="{54D6675B-8F65-BCC8-9B69-319CC72D8149}"/>
                </a:ext>
              </a:extLst>
            </p:cNvPr>
            <p:cNvSpPr/>
            <p:nvPr/>
          </p:nvSpPr>
          <p:spPr>
            <a:xfrm>
              <a:off x="1174200" y="3004350"/>
              <a:ext cx="25" cy="21625"/>
            </a:xfrm>
            <a:custGeom>
              <a:avLst/>
              <a:gdLst/>
              <a:ahLst/>
              <a:cxnLst/>
              <a:rect l="l" t="t" r="r" b="b"/>
              <a:pathLst>
                <a:path w="1" h="865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865"/>
                  </a:lnTo>
                  <a:lnTo>
                    <a:pt x="0" y="865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7" name="Google Shape;2476;p11">
              <a:extLst>
                <a:ext uri="{FF2B5EF4-FFF2-40B4-BE49-F238E27FC236}">
                  <a16:creationId xmlns:a16="http://schemas.microsoft.com/office/drawing/2014/main" id="{AA03065D-2C89-B053-ED30-9DA8CEB411E3}"/>
                </a:ext>
              </a:extLst>
            </p:cNvPr>
            <p:cNvSpPr/>
            <p:nvPr/>
          </p:nvSpPr>
          <p:spPr>
            <a:xfrm>
              <a:off x="1173325" y="3004350"/>
              <a:ext cx="310175" cy="120975"/>
            </a:xfrm>
            <a:custGeom>
              <a:avLst/>
              <a:gdLst/>
              <a:ahLst/>
              <a:cxnLst/>
              <a:rect l="l" t="t" r="r" b="b"/>
              <a:pathLst>
                <a:path w="12407" h="4839" extrusionOk="0">
                  <a:moveTo>
                    <a:pt x="35" y="1"/>
                  </a:moveTo>
                  <a:lnTo>
                    <a:pt x="35" y="865"/>
                  </a:lnTo>
                  <a:lnTo>
                    <a:pt x="1" y="1279"/>
                  </a:lnTo>
                  <a:lnTo>
                    <a:pt x="35" y="1279"/>
                  </a:lnTo>
                  <a:lnTo>
                    <a:pt x="243" y="1314"/>
                  </a:lnTo>
                  <a:lnTo>
                    <a:pt x="727" y="1417"/>
                  </a:lnTo>
                  <a:lnTo>
                    <a:pt x="2143" y="1832"/>
                  </a:lnTo>
                  <a:lnTo>
                    <a:pt x="6256" y="3042"/>
                  </a:lnTo>
                  <a:lnTo>
                    <a:pt x="10333" y="4286"/>
                  </a:lnTo>
                  <a:lnTo>
                    <a:pt x="11750" y="4666"/>
                  </a:lnTo>
                  <a:lnTo>
                    <a:pt x="12165" y="4804"/>
                  </a:lnTo>
                  <a:lnTo>
                    <a:pt x="12407" y="4838"/>
                  </a:lnTo>
                  <a:lnTo>
                    <a:pt x="10506" y="4078"/>
                  </a:lnTo>
                  <a:lnTo>
                    <a:pt x="6256" y="2489"/>
                  </a:lnTo>
                  <a:lnTo>
                    <a:pt x="1971" y="830"/>
                  </a:lnTo>
                  <a:lnTo>
                    <a:pt x="588" y="277"/>
                  </a:lnTo>
                  <a:lnTo>
                    <a:pt x="174" y="70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8" name="Google Shape;2477;p11">
              <a:extLst>
                <a:ext uri="{FF2B5EF4-FFF2-40B4-BE49-F238E27FC236}">
                  <a16:creationId xmlns:a16="http://schemas.microsoft.com/office/drawing/2014/main" id="{4306DA56-5B9E-FBE9-EF3B-67C696074FCC}"/>
                </a:ext>
              </a:extLst>
            </p:cNvPr>
            <p:cNvSpPr/>
            <p:nvPr/>
          </p:nvSpPr>
          <p:spPr>
            <a:xfrm>
              <a:off x="1173325" y="3004350"/>
              <a:ext cx="310175" cy="120975"/>
            </a:xfrm>
            <a:custGeom>
              <a:avLst/>
              <a:gdLst/>
              <a:ahLst/>
              <a:cxnLst/>
              <a:rect l="l" t="t" r="r" b="b"/>
              <a:pathLst>
                <a:path w="12407" h="4839" fill="none" extrusionOk="0">
                  <a:moveTo>
                    <a:pt x="35" y="1"/>
                  </a:moveTo>
                  <a:lnTo>
                    <a:pt x="35" y="1"/>
                  </a:lnTo>
                  <a:lnTo>
                    <a:pt x="35" y="865"/>
                  </a:lnTo>
                  <a:lnTo>
                    <a:pt x="35" y="865"/>
                  </a:lnTo>
                  <a:lnTo>
                    <a:pt x="1" y="1279"/>
                  </a:lnTo>
                  <a:lnTo>
                    <a:pt x="1" y="1279"/>
                  </a:lnTo>
                  <a:lnTo>
                    <a:pt x="35" y="1279"/>
                  </a:lnTo>
                  <a:lnTo>
                    <a:pt x="35" y="1279"/>
                  </a:lnTo>
                  <a:lnTo>
                    <a:pt x="243" y="1314"/>
                  </a:lnTo>
                  <a:lnTo>
                    <a:pt x="727" y="1417"/>
                  </a:lnTo>
                  <a:lnTo>
                    <a:pt x="2143" y="1832"/>
                  </a:lnTo>
                  <a:lnTo>
                    <a:pt x="6256" y="3042"/>
                  </a:lnTo>
                  <a:lnTo>
                    <a:pt x="6256" y="3042"/>
                  </a:lnTo>
                  <a:lnTo>
                    <a:pt x="10333" y="4286"/>
                  </a:lnTo>
                  <a:lnTo>
                    <a:pt x="11750" y="4666"/>
                  </a:lnTo>
                  <a:lnTo>
                    <a:pt x="12165" y="4804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2407" y="4838"/>
                  </a:lnTo>
                  <a:lnTo>
                    <a:pt x="10506" y="4078"/>
                  </a:lnTo>
                  <a:lnTo>
                    <a:pt x="6256" y="2489"/>
                  </a:lnTo>
                  <a:lnTo>
                    <a:pt x="1971" y="830"/>
                  </a:lnTo>
                  <a:lnTo>
                    <a:pt x="588" y="277"/>
                  </a:lnTo>
                  <a:lnTo>
                    <a:pt x="174" y="70"/>
                  </a:lnTo>
                  <a:lnTo>
                    <a:pt x="3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9" name="Google Shape;2478;p11">
              <a:extLst>
                <a:ext uri="{FF2B5EF4-FFF2-40B4-BE49-F238E27FC236}">
                  <a16:creationId xmlns:a16="http://schemas.microsoft.com/office/drawing/2014/main" id="{36D05790-C42D-46B9-3C49-487FD2FFB29F}"/>
                </a:ext>
              </a:extLst>
            </p:cNvPr>
            <p:cNvSpPr/>
            <p:nvPr/>
          </p:nvSpPr>
          <p:spPr>
            <a:xfrm>
              <a:off x="1481750" y="2769375"/>
              <a:ext cx="1750" cy="3475"/>
            </a:xfrm>
            <a:custGeom>
              <a:avLst/>
              <a:gdLst/>
              <a:ahLst/>
              <a:cxnLst/>
              <a:rect l="l" t="t" r="r" b="b"/>
              <a:pathLst>
                <a:path w="70" h="139" extrusionOk="0">
                  <a:moveTo>
                    <a:pt x="1" y="0"/>
                  </a:moveTo>
                  <a:lnTo>
                    <a:pt x="70" y="138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0" name="Google Shape;2479;p11">
              <a:extLst>
                <a:ext uri="{FF2B5EF4-FFF2-40B4-BE49-F238E27FC236}">
                  <a16:creationId xmlns:a16="http://schemas.microsoft.com/office/drawing/2014/main" id="{B0D663FA-A3AB-77F8-8DF1-D620FB234273}"/>
                </a:ext>
              </a:extLst>
            </p:cNvPr>
            <p:cNvSpPr/>
            <p:nvPr/>
          </p:nvSpPr>
          <p:spPr>
            <a:xfrm>
              <a:off x="1481750" y="2769375"/>
              <a:ext cx="1750" cy="3475"/>
            </a:xfrm>
            <a:custGeom>
              <a:avLst/>
              <a:gdLst/>
              <a:ahLst/>
              <a:cxnLst/>
              <a:rect l="l" t="t" r="r" b="b"/>
              <a:pathLst>
                <a:path w="70" h="139" fill="none" extrusionOk="0">
                  <a:moveTo>
                    <a:pt x="35" y="0"/>
                  </a:moveTo>
                  <a:lnTo>
                    <a:pt x="35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1" name="Google Shape;2480;p11">
              <a:extLst>
                <a:ext uri="{FF2B5EF4-FFF2-40B4-BE49-F238E27FC236}">
                  <a16:creationId xmlns:a16="http://schemas.microsoft.com/office/drawing/2014/main" id="{745B20C7-B49C-FF89-D49A-BE384AD72DB5}"/>
                </a:ext>
              </a:extLst>
            </p:cNvPr>
            <p:cNvSpPr/>
            <p:nvPr/>
          </p:nvSpPr>
          <p:spPr>
            <a:xfrm>
              <a:off x="1410050" y="2691625"/>
              <a:ext cx="72600" cy="77775"/>
            </a:xfrm>
            <a:custGeom>
              <a:avLst/>
              <a:gdLst/>
              <a:ahLst/>
              <a:cxnLst/>
              <a:rect l="l" t="t" r="r" b="b"/>
              <a:pathLst>
                <a:path w="2904" h="3111" extrusionOk="0">
                  <a:moveTo>
                    <a:pt x="0" y="0"/>
                  </a:moveTo>
                  <a:lnTo>
                    <a:pt x="830" y="760"/>
                  </a:lnTo>
                  <a:lnTo>
                    <a:pt x="1521" y="1382"/>
                  </a:lnTo>
                  <a:lnTo>
                    <a:pt x="1866" y="1728"/>
                  </a:lnTo>
                  <a:lnTo>
                    <a:pt x="2177" y="2108"/>
                  </a:lnTo>
                  <a:lnTo>
                    <a:pt x="2523" y="2557"/>
                  </a:lnTo>
                  <a:lnTo>
                    <a:pt x="2869" y="3110"/>
                  </a:lnTo>
                  <a:lnTo>
                    <a:pt x="2903" y="3110"/>
                  </a:lnTo>
                  <a:lnTo>
                    <a:pt x="2454" y="1970"/>
                  </a:lnTo>
                  <a:lnTo>
                    <a:pt x="2177" y="1313"/>
                  </a:lnTo>
                  <a:lnTo>
                    <a:pt x="2074" y="933"/>
                  </a:lnTo>
                  <a:lnTo>
                    <a:pt x="1832" y="795"/>
                  </a:lnTo>
                  <a:lnTo>
                    <a:pt x="1244" y="484"/>
                  </a:lnTo>
                  <a:lnTo>
                    <a:pt x="553" y="173"/>
                  </a:lnTo>
                  <a:lnTo>
                    <a:pt x="242" y="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8C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2" name="Google Shape;2481;p11">
              <a:extLst>
                <a:ext uri="{FF2B5EF4-FFF2-40B4-BE49-F238E27FC236}">
                  <a16:creationId xmlns:a16="http://schemas.microsoft.com/office/drawing/2014/main" id="{698FA6BF-6378-F0E6-D070-E3486FB0485B}"/>
                </a:ext>
              </a:extLst>
            </p:cNvPr>
            <p:cNvSpPr/>
            <p:nvPr/>
          </p:nvSpPr>
          <p:spPr>
            <a:xfrm>
              <a:off x="1410050" y="2691625"/>
              <a:ext cx="72600" cy="77775"/>
            </a:xfrm>
            <a:custGeom>
              <a:avLst/>
              <a:gdLst/>
              <a:ahLst/>
              <a:cxnLst/>
              <a:rect l="l" t="t" r="r" b="b"/>
              <a:pathLst>
                <a:path w="2904" h="311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830" y="760"/>
                  </a:lnTo>
                  <a:lnTo>
                    <a:pt x="1521" y="1382"/>
                  </a:lnTo>
                  <a:lnTo>
                    <a:pt x="1866" y="1728"/>
                  </a:lnTo>
                  <a:lnTo>
                    <a:pt x="2177" y="2108"/>
                  </a:lnTo>
                  <a:lnTo>
                    <a:pt x="2523" y="2557"/>
                  </a:lnTo>
                  <a:lnTo>
                    <a:pt x="2869" y="3110"/>
                  </a:lnTo>
                  <a:lnTo>
                    <a:pt x="2869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903" y="3110"/>
                  </a:lnTo>
                  <a:lnTo>
                    <a:pt x="2454" y="1970"/>
                  </a:lnTo>
                  <a:lnTo>
                    <a:pt x="2177" y="1313"/>
                  </a:lnTo>
                  <a:lnTo>
                    <a:pt x="2074" y="933"/>
                  </a:lnTo>
                  <a:lnTo>
                    <a:pt x="2074" y="933"/>
                  </a:lnTo>
                  <a:lnTo>
                    <a:pt x="1832" y="795"/>
                  </a:lnTo>
                  <a:lnTo>
                    <a:pt x="1244" y="484"/>
                  </a:lnTo>
                  <a:lnTo>
                    <a:pt x="553" y="173"/>
                  </a:lnTo>
                  <a:lnTo>
                    <a:pt x="242" y="6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3" name="Google Shape;2482;p11">
              <a:extLst>
                <a:ext uri="{FF2B5EF4-FFF2-40B4-BE49-F238E27FC236}">
                  <a16:creationId xmlns:a16="http://schemas.microsoft.com/office/drawing/2014/main" id="{B79095C6-1002-9950-B44F-19995CD3336D}"/>
                </a:ext>
              </a:extLst>
            </p:cNvPr>
            <p:cNvSpPr/>
            <p:nvPr/>
          </p:nvSpPr>
          <p:spPr>
            <a:xfrm>
              <a:off x="1150875" y="3134800"/>
              <a:ext cx="12125" cy="48400"/>
            </a:xfrm>
            <a:custGeom>
              <a:avLst/>
              <a:gdLst/>
              <a:ahLst/>
              <a:cxnLst/>
              <a:rect l="l" t="t" r="r" b="b"/>
              <a:pathLst>
                <a:path w="485" h="1936" extrusionOk="0">
                  <a:moveTo>
                    <a:pt x="484" y="1"/>
                  </a:moveTo>
                  <a:lnTo>
                    <a:pt x="484" y="1"/>
                  </a:lnTo>
                  <a:lnTo>
                    <a:pt x="277" y="968"/>
                  </a:lnTo>
                  <a:lnTo>
                    <a:pt x="0" y="1936"/>
                  </a:lnTo>
                  <a:lnTo>
                    <a:pt x="0" y="1936"/>
                  </a:lnTo>
                  <a:lnTo>
                    <a:pt x="277" y="968"/>
                  </a:lnTo>
                  <a:lnTo>
                    <a:pt x="484" y="1"/>
                  </a:lnTo>
                  <a:close/>
                </a:path>
              </a:pathLst>
            </a:custGeom>
            <a:solidFill>
              <a:srgbClr val="E6E6E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4" name="Google Shape;2483;p11">
              <a:extLst>
                <a:ext uri="{FF2B5EF4-FFF2-40B4-BE49-F238E27FC236}">
                  <a16:creationId xmlns:a16="http://schemas.microsoft.com/office/drawing/2014/main" id="{9D903389-CAA2-E601-C0EC-7FD04BDC06AB}"/>
                </a:ext>
              </a:extLst>
            </p:cNvPr>
            <p:cNvSpPr/>
            <p:nvPr/>
          </p:nvSpPr>
          <p:spPr>
            <a:xfrm>
              <a:off x="1150875" y="3134800"/>
              <a:ext cx="12125" cy="48400"/>
            </a:xfrm>
            <a:custGeom>
              <a:avLst/>
              <a:gdLst/>
              <a:ahLst/>
              <a:cxnLst/>
              <a:rect l="l" t="t" r="r" b="b"/>
              <a:pathLst>
                <a:path w="485" h="1936" fill="none" extrusionOk="0">
                  <a:moveTo>
                    <a:pt x="484" y="1"/>
                  </a:moveTo>
                  <a:lnTo>
                    <a:pt x="484" y="1"/>
                  </a:lnTo>
                  <a:lnTo>
                    <a:pt x="277" y="968"/>
                  </a:lnTo>
                  <a:lnTo>
                    <a:pt x="0" y="1936"/>
                  </a:lnTo>
                  <a:lnTo>
                    <a:pt x="0" y="1936"/>
                  </a:lnTo>
                  <a:lnTo>
                    <a:pt x="277" y="968"/>
                  </a:lnTo>
                  <a:lnTo>
                    <a:pt x="484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5" name="Google Shape;2484;p11">
              <a:extLst>
                <a:ext uri="{FF2B5EF4-FFF2-40B4-BE49-F238E27FC236}">
                  <a16:creationId xmlns:a16="http://schemas.microsoft.com/office/drawing/2014/main" id="{D57ABCDB-B1B6-7162-6E57-F603362F3147}"/>
                </a:ext>
              </a:extLst>
            </p:cNvPr>
            <p:cNvSpPr/>
            <p:nvPr/>
          </p:nvSpPr>
          <p:spPr>
            <a:xfrm>
              <a:off x="785450" y="3273025"/>
              <a:ext cx="428525" cy="951200"/>
            </a:xfrm>
            <a:custGeom>
              <a:avLst/>
              <a:gdLst/>
              <a:ahLst/>
              <a:cxnLst/>
              <a:rect l="l" t="t" r="r" b="b"/>
              <a:pathLst>
                <a:path w="17141" h="38048" extrusionOk="0">
                  <a:moveTo>
                    <a:pt x="12890" y="1"/>
                  </a:moveTo>
                  <a:lnTo>
                    <a:pt x="12302" y="968"/>
                  </a:lnTo>
                  <a:lnTo>
                    <a:pt x="11784" y="1970"/>
                  </a:lnTo>
                  <a:lnTo>
                    <a:pt x="11335" y="2972"/>
                  </a:lnTo>
                  <a:lnTo>
                    <a:pt x="10920" y="3940"/>
                  </a:lnTo>
                  <a:lnTo>
                    <a:pt x="10574" y="4942"/>
                  </a:lnTo>
                  <a:lnTo>
                    <a:pt x="10263" y="5979"/>
                  </a:lnTo>
                  <a:lnTo>
                    <a:pt x="9987" y="6981"/>
                  </a:lnTo>
                  <a:lnTo>
                    <a:pt x="9710" y="7983"/>
                  </a:lnTo>
                  <a:lnTo>
                    <a:pt x="9503" y="9020"/>
                  </a:lnTo>
                  <a:lnTo>
                    <a:pt x="9296" y="10057"/>
                  </a:lnTo>
                  <a:lnTo>
                    <a:pt x="8950" y="12130"/>
                  </a:lnTo>
                  <a:lnTo>
                    <a:pt x="8639" y="14272"/>
                  </a:lnTo>
                  <a:lnTo>
                    <a:pt x="8294" y="16415"/>
                  </a:lnTo>
                  <a:lnTo>
                    <a:pt x="7914" y="18592"/>
                  </a:lnTo>
                  <a:lnTo>
                    <a:pt x="7672" y="19732"/>
                  </a:lnTo>
                  <a:lnTo>
                    <a:pt x="7430" y="20838"/>
                  </a:lnTo>
                  <a:lnTo>
                    <a:pt x="7119" y="21979"/>
                  </a:lnTo>
                  <a:lnTo>
                    <a:pt x="6773" y="23119"/>
                  </a:lnTo>
                  <a:lnTo>
                    <a:pt x="6393" y="24294"/>
                  </a:lnTo>
                  <a:lnTo>
                    <a:pt x="5944" y="25469"/>
                  </a:lnTo>
                  <a:lnTo>
                    <a:pt x="5460" y="26644"/>
                  </a:lnTo>
                  <a:lnTo>
                    <a:pt x="4907" y="27853"/>
                  </a:lnTo>
                  <a:lnTo>
                    <a:pt x="4285" y="29063"/>
                  </a:lnTo>
                  <a:lnTo>
                    <a:pt x="3594" y="30307"/>
                  </a:lnTo>
                  <a:lnTo>
                    <a:pt x="2834" y="31551"/>
                  </a:lnTo>
                  <a:lnTo>
                    <a:pt x="1970" y="32795"/>
                  </a:lnTo>
                  <a:lnTo>
                    <a:pt x="1037" y="34073"/>
                  </a:lnTo>
                  <a:lnTo>
                    <a:pt x="0" y="35386"/>
                  </a:lnTo>
                  <a:lnTo>
                    <a:pt x="207" y="35628"/>
                  </a:lnTo>
                  <a:lnTo>
                    <a:pt x="449" y="35836"/>
                  </a:lnTo>
                  <a:lnTo>
                    <a:pt x="726" y="36008"/>
                  </a:lnTo>
                  <a:lnTo>
                    <a:pt x="1002" y="36181"/>
                  </a:lnTo>
                  <a:lnTo>
                    <a:pt x="1313" y="36319"/>
                  </a:lnTo>
                  <a:lnTo>
                    <a:pt x="1659" y="36423"/>
                  </a:lnTo>
                  <a:lnTo>
                    <a:pt x="2004" y="36527"/>
                  </a:lnTo>
                  <a:lnTo>
                    <a:pt x="2350" y="36596"/>
                  </a:lnTo>
                  <a:lnTo>
                    <a:pt x="3110" y="36734"/>
                  </a:lnTo>
                  <a:lnTo>
                    <a:pt x="3905" y="36803"/>
                  </a:lnTo>
                  <a:lnTo>
                    <a:pt x="4769" y="36838"/>
                  </a:lnTo>
                  <a:lnTo>
                    <a:pt x="8674" y="36838"/>
                  </a:lnTo>
                  <a:lnTo>
                    <a:pt x="9192" y="36872"/>
                  </a:lnTo>
                  <a:lnTo>
                    <a:pt x="9676" y="36941"/>
                  </a:lnTo>
                  <a:lnTo>
                    <a:pt x="10125" y="37011"/>
                  </a:lnTo>
                  <a:lnTo>
                    <a:pt x="10540" y="37080"/>
                  </a:lnTo>
                  <a:lnTo>
                    <a:pt x="10954" y="37218"/>
                  </a:lnTo>
                  <a:lnTo>
                    <a:pt x="11300" y="37356"/>
                  </a:lnTo>
                  <a:lnTo>
                    <a:pt x="11646" y="37529"/>
                  </a:lnTo>
                  <a:lnTo>
                    <a:pt x="12095" y="37702"/>
                  </a:lnTo>
                  <a:lnTo>
                    <a:pt x="12613" y="37874"/>
                  </a:lnTo>
                  <a:lnTo>
                    <a:pt x="13235" y="38047"/>
                  </a:lnTo>
                  <a:lnTo>
                    <a:pt x="13650" y="37080"/>
                  </a:lnTo>
                  <a:lnTo>
                    <a:pt x="14030" y="36078"/>
                  </a:lnTo>
                  <a:lnTo>
                    <a:pt x="14410" y="35075"/>
                  </a:lnTo>
                  <a:lnTo>
                    <a:pt x="14756" y="34004"/>
                  </a:lnTo>
                  <a:lnTo>
                    <a:pt x="15032" y="32933"/>
                  </a:lnTo>
                  <a:lnTo>
                    <a:pt x="15343" y="31827"/>
                  </a:lnTo>
                  <a:lnTo>
                    <a:pt x="15585" y="30721"/>
                  </a:lnTo>
                  <a:lnTo>
                    <a:pt x="15827" y="29581"/>
                  </a:lnTo>
                  <a:lnTo>
                    <a:pt x="16034" y="28406"/>
                  </a:lnTo>
                  <a:lnTo>
                    <a:pt x="16242" y="27231"/>
                  </a:lnTo>
                  <a:lnTo>
                    <a:pt x="16414" y="26056"/>
                  </a:lnTo>
                  <a:lnTo>
                    <a:pt x="16553" y="24847"/>
                  </a:lnTo>
                  <a:lnTo>
                    <a:pt x="16795" y="22428"/>
                  </a:lnTo>
                  <a:lnTo>
                    <a:pt x="16967" y="19974"/>
                  </a:lnTo>
                  <a:lnTo>
                    <a:pt x="17071" y="17521"/>
                  </a:lnTo>
                  <a:lnTo>
                    <a:pt x="17140" y="15033"/>
                  </a:lnTo>
                  <a:lnTo>
                    <a:pt x="17106" y="12614"/>
                  </a:lnTo>
                  <a:lnTo>
                    <a:pt x="17036" y="10195"/>
                  </a:lnTo>
                  <a:lnTo>
                    <a:pt x="16933" y="7810"/>
                  </a:lnTo>
                  <a:lnTo>
                    <a:pt x="16795" y="5495"/>
                  </a:lnTo>
                  <a:lnTo>
                    <a:pt x="16622" y="3283"/>
                  </a:lnTo>
                  <a:lnTo>
                    <a:pt x="16414" y="1141"/>
                  </a:lnTo>
                  <a:lnTo>
                    <a:pt x="15585" y="1072"/>
                  </a:lnTo>
                  <a:lnTo>
                    <a:pt x="14859" y="968"/>
                  </a:lnTo>
                  <a:lnTo>
                    <a:pt x="14203" y="865"/>
                  </a:lnTo>
                  <a:lnTo>
                    <a:pt x="13650" y="761"/>
                  </a:lnTo>
                  <a:lnTo>
                    <a:pt x="13235" y="588"/>
                  </a:lnTo>
                  <a:lnTo>
                    <a:pt x="13097" y="519"/>
                  </a:lnTo>
                  <a:lnTo>
                    <a:pt x="12959" y="415"/>
                  </a:lnTo>
                  <a:lnTo>
                    <a:pt x="12890" y="312"/>
                  </a:lnTo>
                  <a:lnTo>
                    <a:pt x="12855" y="208"/>
                  </a:lnTo>
                  <a:lnTo>
                    <a:pt x="12855" y="104"/>
                  </a:lnTo>
                  <a:lnTo>
                    <a:pt x="12890" y="1"/>
                  </a:lnTo>
                  <a:close/>
                </a:path>
              </a:pathLst>
            </a:custGeom>
            <a:solidFill>
              <a:srgbClr val="BD450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6" name="Google Shape;2485;p11">
              <a:extLst>
                <a:ext uri="{FF2B5EF4-FFF2-40B4-BE49-F238E27FC236}">
                  <a16:creationId xmlns:a16="http://schemas.microsoft.com/office/drawing/2014/main" id="{87B51669-7852-3BFC-93A8-15942DDE6DBF}"/>
                </a:ext>
              </a:extLst>
            </p:cNvPr>
            <p:cNvSpPr/>
            <p:nvPr/>
          </p:nvSpPr>
          <p:spPr>
            <a:xfrm>
              <a:off x="785450" y="3273025"/>
              <a:ext cx="428525" cy="951200"/>
            </a:xfrm>
            <a:custGeom>
              <a:avLst/>
              <a:gdLst/>
              <a:ahLst/>
              <a:cxnLst/>
              <a:rect l="l" t="t" r="r" b="b"/>
              <a:pathLst>
                <a:path w="17141" h="38048" fill="none" extrusionOk="0">
                  <a:moveTo>
                    <a:pt x="12890" y="1"/>
                  </a:moveTo>
                  <a:lnTo>
                    <a:pt x="12890" y="1"/>
                  </a:lnTo>
                  <a:lnTo>
                    <a:pt x="12302" y="968"/>
                  </a:lnTo>
                  <a:lnTo>
                    <a:pt x="11784" y="1970"/>
                  </a:lnTo>
                  <a:lnTo>
                    <a:pt x="11335" y="2972"/>
                  </a:lnTo>
                  <a:lnTo>
                    <a:pt x="10920" y="3940"/>
                  </a:lnTo>
                  <a:lnTo>
                    <a:pt x="10574" y="4942"/>
                  </a:lnTo>
                  <a:lnTo>
                    <a:pt x="10263" y="5979"/>
                  </a:lnTo>
                  <a:lnTo>
                    <a:pt x="9987" y="6981"/>
                  </a:lnTo>
                  <a:lnTo>
                    <a:pt x="9710" y="7983"/>
                  </a:lnTo>
                  <a:lnTo>
                    <a:pt x="9503" y="9020"/>
                  </a:lnTo>
                  <a:lnTo>
                    <a:pt x="9296" y="10057"/>
                  </a:lnTo>
                  <a:lnTo>
                    <a:pt x="8950" y="12130"/>
                  </a:lnTo>
                  <a:lnTo>
                    <a:pt x="8639" y="14272"/>
                  </a:lnTo>
                  <a:lnTo>
                    <a:pt x="8294" y="16415"/>
                  </a:lnTo>
                  <a:lnTo>
                    <a:pt x="7914" y="18592"/>
                  </a:lnTo>
                  <a:lnTo>
                    <a:pt x="7672" y="19732"/>
                  </a:lnTo>
                  <a:lnTo>
                    <a:pt x="7430" y="20838"/>
                  </a:lnTo>
                  <a:lnTo>
                    <a:pt x="7119" y="21979"/>
                  </a:lnTo>
                  <a:lnTo>
                    <a:pt x="6773" y="23119"/>
                  </a:lnTo>
                  <a:lnTo>
                    <a:pt x="6393" y="24294"/>
                  </a:lnTo>
                  <a:lnTo>
                    <a:pt x="5944" y="25469"/>
                  </a:lnTo>
                  <a:lnTo>
                    <a:pt x="5460" y="26644"/>
                  </a:lnTo>
                  <a:lnTo>
                    <a:pt x="4907" y="27853"/>
                  </a:lnTo>
                  <a:lnTo>
                    <a:pt x="4285" y="29063"/>
                  </a:lnTo>
                  <a:lnTo>
                    <a:pt x="3594" y="30307"/>
                  </a:lnTo>
                  <a:lnTo>
                    <a:pt x="2834" y="31551"/>
                  </a:lnTo>
                  <a:lnTo>
                    <a:pt x="1970" y="32795"/>
                  </a:lnTo>
                  <a:lnTo>
                    <a:pt x="1037" y="34073"/>
                  </a:lnTo>
                  <a:lnTo>
                    <a:pt x="0" y="35386"/>
                  </a:lnTo>
                  <a:lnTo>
                    <a:pt x="0" y="35386"/>
                  </a:lnTo>
                  <a:lnTo>
                    <a:pt x="207" y="35628"/>
                  </a:lnTo>
                  <a:lnTo>
                    <a:pt x="449" y="35836"/>
                  </a:lnTo>
                  <a:lnTo>
                    <a:pt x="726" y="36008"/>
                  </a:lnTo>
                  <a:lnTo>
                    <a:pt x="1002" y="36181"/>
                  </a:lnTo>
                  <a:lnTo>
                    <a:pt x="1313" y="36319"/>
                  </a:lnTo>
                  <a:lnTo>
                    <a:pt x="1659" y="36423"/>
                  </a:lnTo>
                  <a:lnTo>
                    <a:pt x="2004" y="36527"/>
                  </a:lnTo>
                  <a:lnTo>
                    <a:pt x="2350" y="36596"/>
                  </a:lnTo>
                  <a:lnTo>
                    <a:pt x="3110" y="36734"/>
                  </a:lnTo>
                  <a:lnTo>
                    <a:pt x="3905" y="36803"/>
                  </a:lnTo>
                  <a:lnTo>
                    <a:pt x="4769" y="36838"/>
                  </a:lnTo>
                  <a:lnTo>
                    <a:pt x="5598" y="36838"/>
                  </a:lnTo>
                  <a:lnTo>
                    <a:pt x="5598" y="36838"/>
                  </a:lnTo>
                  <a:lnTo>
                    <a:pt x="6600" y="36838"/>
                  </a:lnTo>
                  <a:lnTo>
                    <a:pt x="6600" y="36838"/>
                  </a:lnTo>
                  <a:lnTo>
                    <a:pt x="7568" y="36838"/>
                  </a:lnTo>
                  <a:lnTo>
                    <a:pt x="7568" y="36838"/>
                  </a:lnTo>
                  <a:lnTo>
                    <a:pt x="8674" y="36838"/>
                  </a:lnTo>
                  <a:lnTo>
                    <a:pt x="9192" y="36872"/>
                  </a:lnTo>
                  <a:lnTo>
                    <a:pt x="9676" y="36941"/>
                  </a:lnTo>
                  <a:lnTo>
                    <a:pt x="10125" y="37011"/>
                  </a:lnTo>
                  <a:lnTo>
                    <a:pt x="10540" y="37080"/>
                  </a:lnTo>
                  <a:lnTo>
                    <a:pt x="10954" y="37218"/>
                  </a:lnTo>
                  <a:lnTo>
                    <a:pt x="11300" y="37356"/>
                  </a:lnTo>
                  <a:lnTo>
                    <a:pt x="11300" y="37356"/>
                  </a:lnTo>
                  <a:lnTo>
                    <a:pt x="11646" y="37529"/>
                  </a:lnTo>
                  <a:lnTo>
                    <a:pt x="12095" y="37702"/>
                  </a:lnTo>
                  <a:lnTo>
                    <a:pt x="12613" y="37874"/>
                  </a:lnTo>
                  <a:lnTo>
                    <a:pt x="13235" y="38047"/>
                  </a:lnTo>
                  <a:lnTo>
                    <a:pt x="13235" y="38047"/>
                  </a:lnTo>
                  <a:lnTo>
                    <a:pt x="13650" y="37080"/>
                  </a:lnTo>
                  <a:lnTo>
                    <a:pt x="14030" y="36078"/>
                  </a:lnTo>
                  <a:lnTo>
                    <a:pt x="14410" y="35075"/>
                  </a:lnTo>
                  <a:lnTo>
                    <a:pt x="14756" y="34004"/>
                  </a:lnTo>
                  <a:lnTo>
                    <a:pt x="15032" y="32933"/>
                  </a:lnTo>
                  <a:lnTo>
                    <a:pt x="15343" y="31827"/>
                  </a:lnTo>
                  <a:lnTo>
                    <a:pt x="15585" y="30721"/>
                  </a:lnTo>
                  <a:lnTo>
                    <a:pt x="15827" y="29581"/>
                  </a:lnTo>
                  <a:lnTo>
                    <a:pt x="16034" y="28406"/>
                  </a:lnTo>
                  <a:lnTo>
                    <a:pt x="16242" y="27231"/>
                  </a:lnTo>
                  <a:lnTo>
                    <a:pt x="16414" y="26056"/>
                  </a:lnTo>
                  <a:lnTo>
                    <a:pt x="16553" y="24847"/>
                  </a:lnTo>
                  <a:lnTo>
                    <a:pt x="16795" y="22428"/>
                  </a:lnTo>
                  <a:lnTo>
                    <a:pt x="16967" y="19974"/>
                  </a:lnTo>
                  <a:lnTo>
                    <a:pt x="17071" y="17521"/>
                  </a:lnTo>
                  <a:lnTo>
                    <a:pt x="17140" y="15033"/>
                  </a:lnTo>
                  <a:lnTo>
                    <a:pt x="17106" y="12614"/>
                  </a:lnTo>
                  <a:lnTo>
                    <a:pt x="17036" y="10195"/>
                  </a:lnTo>
                  <a:lnTo>
                    <a:pt x="16933" y="7810"/>
                  </a:lnTo>
                  <a:lnTo>
                    <a:pt x="16795" y="5495"/>
                  </a:lnTo>
                  <a:lnTo>
                    <a:pt x="16622" y="3283"/>
                  </a:lnTo>
                  <a:lnTo>
                    <a:pt x="16414" y="1141"/>
                  </a:lnTo>
                  <a:lnTo>
                    <a:pt x="16414" y="1141"/>
                  </a:lnTo>
                  <a:lnTo>
                    <a:pt x="16414" y="1141"/>
                  </a:lnTo>
                  <a:lnTo>
                    <a:pt x="15585" y="1072"/>
                  </a:lnTo>
                  <a:lnTo>
                    <a:pt x="14859" y="968"/>
                  </a:lnTo>
                  <a:lnTo>
                    <a:pt x="14203" y="865"/>
                  </a:lnTo>
                  <a:lnTo>
                    <a:pt x="13650" y="761"/>
                  </a:lnTo>
                  <a:lnTo>
                    <a:pt x="13235" y="588"/>
                  </a:lnTo>
                  <a:lnTo>
                    <a:pt x="13097" y="519"/>
                  </a:lnTo>
                  <a:lnTo>
                    <a:pt x="12959" y="415"/>
                  </a:lnTo>
                  <a:lnTo>
                    <a:pt x="12890" y="312"/>
                  </a:lnTo>
                  <a:lnTo>
                    <a:pt x="12855" y="208"/>
                  </a:lnTo>
                  <a:lnTo>
                    <a:pt x="12855" y="104"/>
                  </a:lnTo>
                  <a:lnTo>
                    <a:pt x="1289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7" name="Google Shape;2486;p11">
              <a:extLst>
                <a:ext uri="{FF2B5EF4-FFF2-40B4-BE49-F238E27FC236}">
                  <a16:creationId xmlns:a16="http://schemas.microsoft.com/office/drawing/2014/main" id="{41C7C41B-934D-7269-4CA1-83EB07BDF476}"/>
                </a:ext>
              </a:extLst>
            </p:cNvPr>
            <p:cNvSpPr/>
            <p:nvPr/>
          </p:nvSpPr>
          <p:spPr>
            <a:xfrm>
              <a:off x="1106825" y="3095075"/>
              <a:ext cx="89000" cy="206475"/>
            </a:xfrm>
            <a:custGeom>
              <a:avLst/>
              <a:gdLst/>
              <a:ahLst/>
              <a:cxnLst/>
              <a:rect l="l" t="t" r="r" b="b"/>
              <a:pathLst>
                <a:path w="3560" h="8259" extrusionOk="0">
                  <a:moveTo>
                    <a:pt x="2488" y="0"/>
                  </a:moveTo>
                  <a:lnTo>
                    <a:pt x="2384" y="795"/>
                  </a:lnTo>
                  <a:lnTo>
                    <a:pt x="2246" y="1590"/>
                  </a:lnTo>
                  <a:lnTo>
                    <a:pt x="2039" y="2557"/>
                  </a:lnTo>
                  <a:lnTo>
                    <a:pt x="1762" y="3525"/>
                  </a:lnTo>
                  <a:lnTo>
                    <a:pt x="1417" y="4492"/>
                  </a:lnTo>
                  <a:lnTo>
                    <a:pt x="1037" y="5425"/>
                  </a:lnTo>
                  <a:lnTo>
                    <a:pt x="588" y="6255"/>
                  </a:lnTo>
                  <a:lnTo>
                    <a:pt x="346" y="6669"/>
                  </a:lnTo>
                  <a:lnTo>
                    <a:pt x="69" y="7050"/>
                  </a:lnTo>
                  <a:lnTo>
                    <a:pt x="35" y="7119"/>
                  </a:lnTo>
                  <a:lnTo>
                    <a:pt x="0" y="7222"/>
                  </a:lnTo>
                  <a:lnTo>
                    <a:pt x="0" y="7326"/>
                  </a:lnTo>
                  <a:lnTo>
                    <a:pt x="35" y="7430"/>
                  </a:lnTo>
                  <a:lnTo>
                    <a:pt x="104" y="7533"/>
                  </a:lnTo>
                  <a:lnTo>
                    <a:pt x="242" y="7637"/>
                  </a:lnTo>
                  <a:lnTo>
                    <a:pt x="380" y="7706"/>
                  </a:lnTo>
                  <a:lnTo>
                    <a:pt x="795" y="7879"/>
                  </a:lnTo>
                  <a:lnTo>
                    <a:pt x="1348" y="7983"/>
                  </a:lnTo>
                  <a:lnTo>
                    <a:pt x="2004" y="8086"/>
                  </a:lnTo>
                  <a:lnTo>
                    <a:pt x="2730" y="8190"/>
                  </a:lnTo>
                  <a:lnTo>
                    <a:pt x="3559" y="8259"/>
                  </a:lnTo>
                  <a:lnTo>
                    <a:pt x="3387" y="6428"/>
                  </a:lnTo>
                  <a:lnTo>
                    <a:pt x="3179" y="4700"/>
                  </a:lnTo>
                  <a:lnTo>
                    <a:pt x="2834" y="2212"/>
                  </a:lnTo>
                  <a:lnTo>
                    <a:pt x="2488" y="0"/>
                  </a:lnTo>
                  <a:close/>
                </a:path>
              </a:pathLst>
            </a:custGeom>
            <a:solidFill>
              <a:srgbClr val="E6A50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8" name="Google Shape;2487;p11">
              <a:extLst>
                <a:ext uri="{FF2B5EF4-FFF2-40B4-BE49-F238E27FC236}">
                  <a16:creationId xmlns:a16="http://schemas.microsoft.com/office/drawing/2014/main" id="{D9A11112-FA0F-A825-D504-9E7E42857E25}"/>
                </a:ext>
              </a:extLst>
            </p:cNvPr>
            <p:cNvSpPr/>
            <p:nvPr/>
          </p:nvSpPr>
          <p:spPr>
            <a:xfrm>
              <a:off x="1106825" y="3095075"/>
              <a:ext cx="89000" cy="206475"/>
            </a:xfrm>
            <a:custGeom>
              <a:avLst/>
              <a:gdLst/>
              <a:ahLst/>
              <a:cxnLst/>
              <a:rect l="l" t="t" r="r" b="b"/>
              <a:pathLst>
                <a:path w="3560" h="8259" fill="none" extrusionOk="0">
                  <a:moveTo>
                    <a:pt x="2488" y="0"/>
                  </a:moveTo>
                  <a:lnTo>
                    <a:pt x="2488" y="0"/>
                  </a:lnTo>
                  <a:lnTo>
                    <a:pt x="2384" y="795"/>
                  </a:lnTo>
                  <a:lnTo>
                    <a:pt x="2246" y="1590"/>
                  </a:lnTo>
                  <a:lnTo>
                    <a:pt x="2246" y="1590"/>
                  </a:lnTo>
                  <a:lnTo>
                    <a:pt x="2039" y="2557"/>
                  </a:lnTo>
                  <a:lnTo>
                    <a:pt x="1762" y="3525"/>
                  </a:lnTo>
                  <a:lnTo>
                    <a:pt x="1762" y="3525"/>
                  </a:lnTo>
                  <a:lnTo>
                    <a:pt x="1417" y="4492"/>
                  </a:lnTo>
                  <a:lnTo>
                    <a:pt x="1037" y="5425"/>
                  </a:lnTo>
                  <a:lnTo>
                    <a:pt x="588" y="6255"/>
                  </a:lnTo>
                  <a:lnTo>
                    <a:pt x="346" y="6669"/>
                  </a:lnTo>
                  <a:lnTo>
                    <a:pt x="69" y="7050"/>
                  </a:lnTo>
                  <a:lnTo>
                    <a:pt x="69" y="7050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35" y="7119"/>
                  </a:lnTo>
                  <a:lnTo>
                    <a:pt x="0" y="7222"/>
                  </a:lnTo>
                  <a:lnTo>
                    <a:pt x="0" y="7326"/>
                  </a:lnTo>
                  <a:lnTo>
                    <a:pt x="35" y="7430"/>
                  </a:lnTo>
                  <a:lnTo>
                    <a:pt x="104" y="7533"/>
                  </a:lnTo>
                  <a:lnTo>
                    <a:pt x="242" y="7637"/>
                  </a:lnTo>
                  <a:lnTo>
                    <a:pt x="380" y="7706"/>
                  </a:lnTo>
                  <a:lnTo>
                    <a:pt x="795" y="7879"/>
                  </a:lnTo>
                  <a:lnTo>
                    <a:pt x="1348" y="7983"/>
                  </a:lnTo>
                  <a:lnTo>
                    <a:pt x="2004" y="8086"/>
                  </a:lnTo>
                  <a:lnTo>
                    <a:pt x="2730" y="8190"/>
                  </a:lnTo>
                  <a:lnTo>
                    <a:pt x="3559" y="8259"/>
                  </a:lnTo>
                  <a:lnTo>
                    <a:pt x="3559" y="8259"/>
                  </a:lnTo>
                  <a:lnTo>
                    <a:pt x="3387" y="6428"/>
                  </a:lnTo>
                  <a:lnTo>
                    <a:pt x="3179" y="4700"/>
                  </a:lnTo>
                  <a:lnTo>
                    <a:pt x="3179" y="4700"/>
                  </a:lnTo>
                  <a:lnTo>
                    <a:pt x="2834" y="2212"/>
                  </a:lnTo>
                  <a:lnTo>
                    <a:pt x="248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59" name="Google Shape;2488;p11">
              <a:extLst>
                <a:ext uri="{FF2B5EF4-FFF2-40B4-BE49-F238E27FC236}">
                  <a16:creationId xmlns:a16="http://schemas.microsoft.com/office/drawing/2014/main" id="{8B284D15-62F0-E829-8436-A36B4251BA1D}"/>
                </a:ext>
              </a:extLst>
            </p:cNvPr>
            <p:cNvSpPr/>
            <p:nvPr/>
          </p:nvSpPr>
          <p:spPr>
            <a:xfrm>
              <a:off x="1180250" y="2334825"/>
              <a:ext cx="218600" cy="170200"/>
            </a:xfrm>
            <a:custGeom>
              <a:avLst/>
              <a:gdLst/>
              <a:ahLst/>
              <a:cxnLst/>
              <a:rect l="l" t="t" r="r" b="b"/>
              <a:pathLst>
                <a:path w="8744" h="6808" extrusionOk="0">
                  <a:moveTo>
                    <a:pt x="4389" y="0"/>
                  </a:moveTo>
                  <a:lnTo>
                    <a:pt x="0" y="2316"/>
                  </a:lnTo>
                  <a:lnTo>
                    <a:pt x="622" y="3076"/>
                  </a:lnTo>
                  <a:lnTo>
                    <a:pt x="2316" y="5253"/>
                  </a:lnTo>
                  <a:lnTo>
                    <a:pt x="2592" y="5599"/>
                  </a:lnTo>
                  <a:lnTo>
                    <a:pt x="2869" y="5875"/>
                  </a:lnTo>
                  <a:lnTo>
                    <a:pt x="3180" y="6117"/>
                  </a:lnTo>
                  <a:lnTo>
                    <a:pt x="3491" y="6324"/>
                  </a:lnTo>
                  <a:lnTo>
                    <a:pt x="3836" y="6497"/>
                  </a:lnTo>
                  <a:lnTo>
                    <a:pt x="4182" y="6635"/>
                  </a:lnTo>
                  <a:lnTo>
                    <a:pt x="4527" y="6739"/>
                  </a:lnTo>
                  <a:lnTo>
                    <a:pt x="4907" y="6773"/>
                  </a:lnTo>
                  <a:lnTo>
                    <a:pt x="5288" y="6808"/>
                  </a:lnTo>
                  <a:lnTo>
                    <a:pt x="6048" y="6808"/>
                  </a:lnTo>
                  <a:lnTo>
                    <a:pt x="6428" y="6739"/>
                  </a:lnTo>
                  <a:lnTo>
                    <a:pt x="6843" y="6670"/>
                  </a:lnTo>
                  <a:lnTo>
                    <a:pt x="7223" y="6601"/>
                  </a:lnTo>
                  <a:lnTo>
                    <a:pt x="8017" y="6359"/>
                  </a:lnTo>
                  <a:lnTo>
                    <a:pt x="8225" y="6290"/>
                  </a:lnTo>
                  <a:lnTo>
                    <a:pt x="8363" y="6186"/>
                  </a:lnTo>
                  <a:lnTo>
                    <a:pt x="8501" y="6082"/>
                  </a:lnTo>
                  <a:lnTo>
                    <a:pt x="8605" y="5979"/>
                  </a:lnTo>
                  <a:lnTo>
                    <a:pt x="8674" y="5875"/>
                  </a:lnTo>
                  <a:lnTo>
                    <a:pt x="8709" y="5737"/>
                  </a:lnTo>
                  <a:lnTo>
                    <a:pt x="8743" y="5599"/>
                  </a:lnTo>
                  <a:lnTo>
                    <a:pt x="8743" y="5460"/>
                  </a:lnTo>
                  <a:lnTo>
                    <a:pt x="8674" y="5149"/>
                  </a:lnTo>
                  <a:lnTo>
                    <a:pt x="8570" y="4838"/>
                  </a:lnTo>
                  <a:lnTo>
                    <a:pt x="8398" y="4493"/>
                  </a:lnTo>
                  <a:lnTo>
                    <a:pt x="8190" y="4182"/>
                  </a:lnTo>
                  <a:lnTo>
                    <a:pt x="7776" y="3525"/>
                  </a:lnTo>
                  <a:lnTo>
                    <a:pt x="7361" y="2938"/>
                  </a:lnTo>
                  <a:lnTo>
                    <a:pt x="7188" y="2696"/>
                  </a:lnTo>
                  <a:lnTo>
                    <a:pt x="7084" y="2488"/>
                  </a:lnTo>
                  <a:lnTo>
                    <a:pt x="7050" y="2316"/>
                  </a:lnTo>
                  <a:lnTo>
                    <a:pt x="7050" y="2247"/>
                  </a:lnTo>
                  <a:lnTo>
                    <a:pt x="7084" y="2212"/>
                  </a:lnTo>
                  <a:lnTo>
                    <a:pt x="7154" y="2108"/>
                  </a:lnTo>
                  <a:lnTo>
                    <a:pt x="7188" y="2005"/>
                  </a:lnTo>
                  <a:lnTo>
                    <a:pt x="7154" y="1901"/>
                  </a:lnTo>
                  <a:lnTo>
                    <a:pt x="7119" y="1797"/>
                  </a:lnTo>
                  <a:lnTo>
                    <a:pt x="7050" y="1728"/>
                  </a:lnTo>
                  <a:lnTo>
                    <a:pt x="6912" y="1625"/>
                  </a:lnTo>
                  <a:lnTo>
                    <a:pt x="6566" y="1417"/>
                  </a:lnTo>
                  <a:lnTo>
                    <a:pt x="5633" y="864"/>
                  </a:lnTo>
                  <a:lnTo>
                    <a:pt x="5011" y="484"/>
                  </a:lnTo>
                  <a:lnTo>
                    <a:pt x="4389" y="0"/>
                  </a:lnTo>
                  <a:close/>
                </a:path>
              </a:pathLst>
            </a:custGeom>
            <a:solidFill>
              <a:srgbClr val="8A3A1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0" name="Google Shape;2489;p11">
              <a:extLst>
                <a:ext uri="{FF2B5EF4-FFF2-40B4-BE49-F238E27FC236}">
                  <a16:creationId xmlns:a16="http://schemas.microsoft.com/office/drawing/2014/main" id="{D9C91845-8B6E-3AC3-68CB-99804BDB038B}"/>
                </a:ext>
              </a:extLst>
            </p:cNvPr>
            <p:cNvSpPr/>
            <p:nvPr/>
          </p:nvSpPr>
          <p:spPr>
            <a:xfrm>
              <a:off x="836400" y="2294225"/>
              <a:ext cx="466550" cy="533925"/>
            </a:xfrm>
            <a:custGeom>
              <a:avLst/>
              <a:gdLst/>
              <a:ahLst/>
              <a:cxnLst/>
              <a:rect l="l" t="t" r="r" b="b"/>
              <a:pathLst>
                <a:path w="18662" h="21357" extrusionOk="0">
                  <a:moveTo>
                    <a:pt x="15206" y="0"/>
                  </a:moveTo>
                  <a:lnTo>
                    <a:pt x="14826" y="35"/>
                  </a:lnTo>
                  <a:lnTo>
                    <a:pt x="14446" y="104"/>
                  </a:lnTo>
                  <a:lnTo>
                    <a:pt x="14031" y="208"/>
                  </a:lnTo>
                  <a:lnTo>
                    <a:pt x="13616" y="311"/>
                  </a:lnTo>
                  <a:lnTo>
                    <a:pt x="13167" y="484"/>
                  </a:lnTo>
                  <a:lnTo>
                    <a:pt x="12683" y="691"/>
                  </a:lnTo>
                  <a:lnTo>
                    <a:pt x="12338" y="864"/>
                  </a:lnTo>
                  <a:lnTo>
                    <a:pt x="12027" y="1037"/>
                  </a:lnTo>
                  <a:lnTo>
                    <a:pt x="11750" y="1244"/>
                  </a:lnTo>
                  <a:lnTo>
                    <a:pt x="11508" y="1486"/>
                  </a:lnTo>
                  <a:lnTo>
                    <a:pt x="11266" y="1763"/>
                  </a:lnTo>
                  <a:lnTo>
                    <a:pt x="11059" y="2005"/>
                  </a:lnTo>
                  <a:lnTo>
                    <a:pt x="10886" y="2316"/>
                  </a:lnTo>
                  <a:lnTo>
                    <a:pt x="10713" y="2592"/>
                  </a:lnTo>
                  <a:lnTo>
                    <a:pt x="10575" y="2903"/>
                  </a:lnTo>
                  <a:lnTo>
                    <a:pt x="10472" y="3249"/>
                  </a:lnTo>
                  <a:lnTo>
                    <a:pt x="10264" y="3905"/>
                  </a:lnTo>
                  <a:lnTo>
                    <a:pt x="10126" y="4596"/>
                  </a:lnTo>
                  <a:lnTo>
                    <a:pt x="10022" y="5287"/>
                  </a:lnTo>
                  <a:lnTo>
                    <a:pt x="9953" y="5978"/>
                  </a:lnTo>
                  <a:lnTo>
                    <a:pt x="9919" y="6635"/>
                  </a:lnTo>
                  <a:lnTo>
                    <a:pt x="9850" y="7810"/>
                  </a:lnTo>
                  <a:lnTo>
                    <a:pt x="9815" y="8328"/>
                  </a:lnTo>
                  <a:lnTo>
                    <a:pt x="9780" y="8778"/>
                  </a:lnTo>
                  <a:lnTo>
                    <a:pt x="9711" y="9123"/>
                  </a:lnTo>
                  <a:lnTo>
                    <a:pt x="9677" y="9227"/>
                  </a:lnTo>
                  <a:lnTo>
                    <a:pt x="9608" y="9330"/>
                  </a:lnTo>
                  <a:lnTo>
                    <a:pt x="9469" y="9503"/>
                  </a:lnTo>
                  <a:lnTo>
                    <a:pt x="9331" y="9641"/>
                  </a:lnTo>
                  <a:lnTo>
                    <a:pt x="9193" y="9745"/>
                  </a:lnTo>
                  <a:lnTo>
                    <a:pt x="9055" y="9849"/>
                  </a:lnTo>
                  <a:lnTo>
                    <a:pt x="8709" y="9987"/>
                  </a:lnTo>
                  <a:lnTo>
                    <a:pt x="8329" y="10091"/>
                  </a:lnTo>
                  <a:lnTo>
                    <a:pt x="7811" y="10263"/>
                  </a:lnTo>
                  <a:lnTo>
                    <a:pt x="7154" y="10505"/>
                  </a:lnTo>
                  <a:lnTo>
                    <a:pt x="6359" y="10885"/>
                  </a:lnTo>
                  <a:lnTo>
                    <a:pt x="5357" y="11438"/>
                  </a:lnTo>
                  <a:lnTo>
                    <a:pt x="4873" y="11749"/>
                  </a:lnTo>
                  <a:lnTo>
                    <a:pt x="4493" y="12095"/>
                  </a:lnTo>
                  <a:lnTo>
                    <a:pt x="4217" y="12406"/>
                  </a:lnTo>
                  <a:lnTo>
                    <a:pt x="4044" y="12717"/>
                  </a:lnTo>
                  <a:lnTo>
                    <a:pt x="3940" y="13028"/>
                  </a:lnTo>
                  <a:lnTo>
                    <a:pt x="3906" y="13339"/>
                  </a:lnTo>
                  <a:lnTo>
                    <a:pt x="3906" y="13650"/>
                  </a:lnTo>
                  <a:lnTo>
                    <a:pt x="3975" y="13926"/>
                  </a:lnTo>
                  <a:lnTo>
                    <a:pt x="4148" y="14479"/>
                  </a:lnTo>
                  <a:lnTo>
                    <a:pt x="4286" y="14998"/>
                  </a:lnTo>
                  <a:lnTo>
                    <a:pt x="4355" y="15205"/>
                  </a:lnTo>
                  <a:lnTo>
                    <a:pt x="4355" y="15447"/>
                  </a:lnTo>
                  <a:lnTo>
                    <a:pt x="4286" y="15620"/>
                  </a:lnTo>
                  <a:lnTo>
                    <a:pt x="4182" y="15793"/>
                  </a:lnTo>
                  <a:lnTo>
                    <a:pt x="4044" y="15931"/>
                  </a:lnTo>
                  <a:lnTo>
                    <a:pt x="3906" y="16034"/>
                  </a:lnTo>
                  <a:lnTo>
                    <a:pt x="3595" y="16207"/>
                  </a:lnTo>
                  <a:lnTo>
                    <a:pt x="3318" y="16276"/>
                  </a:lnTo>
                  <a:lnTo>
                    <a:pt x="3007" y="16345"/>
                  </a:lnTo>
                  <a:lnTo>
                    <a:pt x="2662" y="16415"/>
                  </a:lnTo>
                  <a:lnTo>
                    <a:pt x="2351" y="16553"/>
                  </a:lnTo>
                  <a:lnTo>
                    <a:pt x="2005" y="16726"/>
                  </a:lnTo>
                  <a:lnTo>
                    <a:pt x="1832" y="16864"/>
                  </a:lnTo>
                  <a:lnTo>
                    <a:pt x="1625" y="17037"/>
                  </a:lnTo>
                  <a:lnTo>
                    <a:pt x="1280" y="17451"/>
                  </a:lnTo>
                  <a:lnTo>
                    <a:pt x="934" y="17935"/>
                  </a:lnTo>
                  <a:lnTo>
                    <a:pt x="588" y="18453"/>
                  </a:lnTo>
                  <a:lnTo>
                    <a:pt x="347" y="19006"/>
                  </a:lnTo>
                  <a:lnTo>
                    <a:pt x="139" y="19525"/>
                  </a:lnTo>
                  <a:lnTo>
                    <a:pt x="70" y="19766"/>
                  </a:lnTo>
                  <a:lnTo>
                    <a:pt x="36" y="20008"/>
                  </a:lnTo>
                  <a:lnTo>
                    <a:pt x="1" y="20250"/>
                  </a:lnTo>
                  <a:lnTo>
                    <a:pt x="1" y="20423"/>
                  </a:lnTo>
                  <a:lnTo>
                    <a:pt x="70" y="20596"/>
                  </a:lnTo>
                  <a:lnTo>
                    <a:pt x="139" y="20769"/>
                  </a:lnTo>
                  <a:lnTo>
                    <a:pt x="277" y="20941"/>
                  </a:lnTo>
                  <a:lnTo>
                    <a:pt x="519" y="21080"/>
                  </a:lnTo>
                  <a:lnTo>
                    <a:pt x="796" y="21183"/>
                  </a:lnTo>
                  <a:lnTo>
                    <a:pt x="1107" y="21252"/>
                  </a:lnTo>
                  <a:lnTo>
                    <a:pt x="1521" y="21322"/>
                  </a:lnTo>
                  <a:lnTo>
                    <a:pt x="1936" y="21356"/>
                  </a:lnTo>
                  <a:lnTo>
                    <a:pt x="2420" y="21356"/>
                  </a:lnTo>
                  <a:lnTo>
                    <a:pt x="2938" y="21322"/>
                  </a:lnTo>
                  <a:lnTo>
                    <a:pt x="3491" y="21252"/>
                  </a:lnTo>
                  <a:lnTo>
                    <a:pt x="4079" y="21149"/>
                  </a:lnTo>
                  <a:lnTo>
                    <a:pt x="4701" y="21045"/>
                  </a:lnTo>
                  <a:lnTo>
                    <a:pt x="5323" y="20872"/>
                  </a:lnTo>
                  <a:lnTo>
                    <a:pt x="6014" y="20700"/>
                  </a:lnTo>
                  <a:lnTo>
                    <a:pt x="6670" y="20492"/>
                  </a:lnTo>
                  <a:lnTo>
                    <a:pt x="7361" y="20285"/>
                  </a:lnTo>
                  <a:lnTo>
                    <a:pt x="8087" y="20008"/>
                  </a:lnTo>
                  <a:lnTo>
                    <a:pt x="8778" y="19732"/>
                  </a:lnTo>
                  <a:lnTo>
                    <a:pt x="9469" y="19386"/>
                  </a:lnTo>
                  <a:lnTo>
                    <a:pt x="10195" y="19041"/>
                  </a:lnTo>
                  <a:lnTo>
                    <a:pt x="10886" y="18695"/>
                  </a:lnTo>
                  <a:lnTo>
                    <a:pt x="11577" y="18281"/>
                  </a:lnTo>
                  <a:lnTo>
                    <a:pt x="12268" y="17866"/>
                  </a:lnTo>
                  <a:lnTo>
                    <a:pt x="12925" y="17382"/>
                  </a:lnTo>
                  <a:lnTo>
                    <a:pt x="13547" y="16898"/>
                  </a:lnTo>
                  <a:lnTo>
                    <a:pt x="14135" y="16415"/>
                  </a:lnTo>
                  <a:lnTo>
                    <a:pt x="14687" y="15965"/>
                  </a:lnTo>
                  <a:lnTo>
                    <a:pt x="15171" y="15481"/>
                  </a:lnTo>
                  <a:lnTo>
                    <a:pt x="15620" y="15067"/>
                  </a:lnTo>
                  <a:lnTo>
                    <a:pt x="16001" y="14652"/>
                  </a:lnTo>
                  <a:lnTo>
                    <a:pt x="16346" y="14237"/>
                  </a:lnTo>
                  <a:lnTo>
                    <a:pt x="16657" y="13857"/>
                  </a:lnTo>
                  <a:lnTo>
                    <a:pt x="16899" y="13477"/>
                  </a:lnTo>
                  <a:lnTo>
                    <a:pt x="17141" y="13132"/>
                  </a:lnTo>
                  <a:lnTo>
                    <a:pt x="17314" y="12786"/>
                  </a:lnTo>
                  <a:lnTo>
                    <a:pt x="17486" y="12441"/>
                  </a:lnTo>
                  <a:lnTo>
                    <a:pt x="17590" y="12130"/>
                  </a:lnTo>
                  <a:lnTo>
                    <a:pt x="17694" y="11819"/>
                  </a:lnTo>
                  <a:lnTo>
                    <a:pt x="17763" y="11542"/>
                  </a:lnTo>
                  <a:lnTo>
                    <a:pt x="17797" y="11266"/>
                  </a:lnTo>
                  <a:lnTo>
                    <a:pt x="17797" y="10989"/>
                  </a:lnTo>
                  <a:lnTo>
                    <a:pt x="17797" y="10471"/>
                  </a:lnTo>
                  <a:lnTo>
                    <a:pt x="17728" y="10022"/>
                  </a:lnTo>
                  <a:lnTo>
                    <a:pt x="17625" y="9607"/>
                  </a:lnTo>
                  <a:lnTo>
                    <a:pt x="17486" y="9192"/>
                  </a:lnTo>
                  <a:lnTo>
                    <a:pt x="17279" y="8501"/>
                  </a:lnTo>
                  <a:lnTo>
                    <a:pt x="17210" y="8156"/>
                  </a:lnTo>
                  <a:lnTo>
                    <a:pt x="17210" y="7879"/>
                  </a:lnTo>
                  <a:lnTo>
                    <a:pt x="17210" y="7706"/>
                  </a:lnTo>
                  <a:lnTo>
                    <a:pt x="17175" y="7534"/>
                  </a:lnTo>
                  <a:lnTo>
                    <a:pt x="17106" y="7223"/>
                  </a:lnTo>
                  <a:lnTo>
                    <a:pt x="17037" y="7050"/>
                  </a:lnTo>
                  <a:lnTo>
                    <a:pt x="16934" y="6912"/>
                  </a:lnTo>
                  <a:lnTo>
                    <a:pt x="16830" y="6808"/>
                  </a:lnTo>
                  <a:lnTo>
                    <a:pt x="16692" y="6704"/>
                  </a:lnTo>
                  <a:lnTo>
                    <a:pt x="16277" y="6497"/>
                  </a:lnTo>
                  <a:lnTo>
                    <a:pt x="16070" y="6359"/>
                  </a:lnTo>
                  <a:lnTo>
                    <a:pt x="15897" y="6220"/>
                  </a:lnTo>
                  <a:lnTo>
                    <a:pt x="15724" y="6082"/>
                  </a:lnTo>
                  <a:lnTo>
                    <a:pt x="15655" y="5909"/>
                  </a:lnTo>
                  <a:lnTo>
                    <a:pt x="15620" y="5806"/>
                  </a:lnTo>
                  <a:lnTo>
                    <a:pt x="15620" y="5702"/>
                  </a:lnTo>
                  <a:lnTo>
                    <a:pt x="15655" y="5598"/>
                  </a:lnTo>
                  <a:lnTo>
                    <a:pt x="15724" y="5495"/>
                  </a:lnTo>
                  <a:lnTo>
                    <a:pt x="15828" y="5322"/>
                  </a:lnTo>
                  <a:lnTo>
                    <a:pt x="15966" y="5184"/>
                  </a:lnTo>
                  <a:lnTo>
                    <a:pt x="16104" y="5080"/>
                  </a:lnTo>
                  <a:lnTo>
                    <a:pt x="16242" y="5011"/>
                  </a:lnTo>
                  <a:lnTo>
                    <a:pt x="16415" y="4942"/>
                  </a:lnTo>
                  <a:lnTo>
                    <a:pt x="16553" y="4942"/>
                  </a:lnTo>
                  <a:lnTo>
                    <a:pt x="16692" y="4976"/>
                  </a:lnTo>
                  <a:lnTo>
                    <a:pt x="16830" y="5011"/>
                  </a:lnTo>
                  <a:lnTo>
                    <a:pt x="16934" y="5080"/>
                  </a:lnTo>
                  <a:lnTo>
                    <a:pt x="17072" y="5080"/>
                  </a:lnTo>
                  <a:lnTo>
                    <a:pt x="17210" y="5045"/>
                  </a:lnTo>
                  <a:lnTo>
                    <a:pt x="17383" y="5011"/>
                  </a:lnTo>
                  <a:lnTo>
                    <a:pt x="17521" y="4942"/>
                  </a:lnTo>
                  <a:lnTo>
                    <a:pt x="17625" y="4873"/>
                  </a:lnTo>
                  <a:lnTo>
                    <a:pt x="17728" y="4769"/>
                  </a:lnTo>
                  <a:lnTo>
                    <a:pt x="17763" y="4631"/>
                  </a:lnTo>
                  <a:lnTo>
                    <a:pt x="17867" y="4389"/>
                  </a:lnTo>
                  <a:lnTo>
                    <a:pt x="17970" y="4147"/>
                  </a:lnTo>
                  <a:lnTo>
                    <a:pt x="18247" y="3490"/>
                  </a:lnTo>
                  <a:lnTo>
                    <a:pt x="18419" y="3110"/>
                  </a:lnTo>
                  <a:lnTo>
                    <a:pt x="18523" y="2730"/>
                  </a:lnTo>
                  <a:lnTo>
                    <a:pt x="18627" y="2281"/>
                  </a:lnTo>
                  <a:lnTo>
                    <a:pt x="18661" y="1797"/>
                  </a:lnTo>
                  <a:lnTo>
                    <a:pt x="18661" y="1659"/>
                  </a:lnTo>
                  <a:lnTo>
                    <a:pt x="18592" y="1486"/>
                  </a:lnTo>
                  <a:lnTo>
                    <a:pt x="18489" y="1279"/>
                  </a:lnTo>
                  <a:lnTo>
                    <a:pt x="18350" y="1106"/>
                  </a:lnTo>
                  <a:lnTo>
                    <a:pt x="18039" y="795"/>
                  </a:lnTo>
                  <a:lnTo>
                    <a:pt x="17728" y="588"/>
                  </a:lnTo>
                  <a:lnTo>
                    <a:pt x="17383" y="380"/>
                  </a:lnTo>
                  <a:lnTo>
                    <a:pt x="16968" y="242"/>
                  </a:lnTo>
                  <a:lnTo>
                    <a:pt x="16484" y="104"/>
                  </a:lnTo>
                  <a:lnTo>
                    <a:pt x="158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1" name="Google Shape;2490;p11">
              <a:extLst>
                <a:ext uri="{FF2B5EF4-FFF2-40B4-BE49-F238E27FC236}">
                  <a16:creationId xmlns:a16="http://schemas.microsoft.com/office/drawing/2014/main" id="{111355BD-33A9-1D3B-42AA-3E5E4A8C6C89}"/>
                </a:ext>
              </a:extLst>
            </p:cNvPr>
            <p:cNvSpPr/>
            <p:nvPr/>
          </p:nvSpPr>
          <p:spPr>
            <a:xfrm>
              <a:off x="5011675" y="5126125"/>
              <a:ext cx="203925" cy="344725"/>
            </a:xfrm>
            <a:custGeom>
              <a:avLst/>
              <a:gdLst/>
              <a:ahLst/>
              <a:cxnLst/>
              <a:rect l="l" t="t" r="r" b="b"/>
              <a:pathLst>
                <a:path w="8157" h="13789" extrusionOk="0">
                  <a:moveTo>
                    <a:pt x="1003" y="0"/>
                  </a:moveTo>
                  <a:lnTo>
                    <a:pt x="1" y="9849"/>
                  </a:lnTo>
                  <a:lnTo>
                    <a:pt x="1" y="10229"/>
                  </a:lnTo>
                  <a:lnTo>
                    <a:pt x="1" y="10574"/>
                  </a:lnTo>
                  <a:lnTo>
                    <a:pt x="70" y="10920"/>
                  </a:lnTo>
                  <a:lnTo>
                    <a:pt x="139" y="11265"/>
                  </a:lnTo>
                  <a:lnTo>
                    <a:pt x="277" y="11611"/>
                  </a:lnTo>
                  <a:lnTo>
                    <a:pt x="416" y="11922"/>
                  </a:lnTo>
                  <a:lnTo>
                    <a:pt x="588" y="12199"/>
                  </a:lnTo>
                  <a:lnTo>
                    <a:pt x="796" y="12475"/>
                  </a:lnTo>
                  <a:lnTo>
                    <a:pt x="1038" y="12751"/>
                  </a:lnTo>
                  <a:lnTo>
                    <a:pt x="1280" y="12959"/>
                  </a:lnTo>
                  <a:lnTo>
                    <a:pt x="1556" y="13166"/>
                  </a:lnTo>
                  <a:lnTo>
                    <a:pt x="1867" y="13373"/>
                  </a:lnTo>
                  <a:lnTo>
                    <a:pt x="2178" y="13512"/>
                  </a:lnTo>
                  <a:lnTo>
                    <a:pt x="2524" y="13650"/>
                  </a:lnTo>
                  <a:lnTo>
                    <a:pt x="2869" y="13719"/>
                  </a:lnTo>
                  <a:lnTo>
                    <a:pt x="3215" y="13788"/>
                  </a:lnTo>
                  <a:lnTo>
                    <a:pt x="3975" y="13788"/>
                  </a:lnTo>
                  <a:lnTo>
                    <a:pt x="4320" y="13719"/>
                  </a:lnTo>
                  <a:lnTo>
                    <a:pt x="4666" y="13650"/>
                  </a:lnTo>
                  <a:lnTo>
                    <a:pt x="4977" y="13512"/>
                  </a:lnTo>
                  <a:lnTo>
                    <a:pt x="5288" y="13373"/>
                  </a:lnTo>
                  <a:lnTo>
                    <a:pt x="5599" y="13201"/>
                  </a:lnTo>
                  <a:lnTo>
                    <a:pt x="5876" y="12993"/>
                  </a:lnTo>
                  <a:lnTo>
                    <a:pt x="6117" y="12751"/>
                  </a:lnTo>
                  <a:lnTo>
                    <a:pt x="6359" y="12510"/>
                  </a:lnTo>
                  <a:lnTo>
                    <a:pt x="6567" y="12233"/>
                  </a:lnTo>
                  <a:lnTo>
                    <a:pt x="6739" y="11922"/>
                  </a:lnTo>
                  <a:lnTo>
                    <a:pt x="6878" y="11611"/>
                  </a:lnTo>
                  <a:lnTo>
                    <a:pt x="7016" y="11300"/>
                  </a:lnTo>
                  <a:lnTo>
                    <a:pt x="7120" y="10954"/>
                  </a:lnTo>
                  <a:lnTo>
                    <a:pt x="7154" y="10574"/>
                  </a:lnTo>
                  <a:lnTo>
                    <a:pt x="8156" y="726"/>
                  </a:lnTo>
                  <a:lnTo>
                    <a:pt x="100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2" name="Google Shape;2491;p11">
              <a:extLst>
                <a:ext uri="{FF2B5EF4-FFF2-40B4-BE49-F238E27FC236}">
                  <a16:creationId xmlns:a16="http://schemas.microsoft.com/office/drawing/2014/main" id="{59388005-9E35-85F6-9143-868E3C09D428}"/>
                </a:ext>
              </a:extLst>
            </p:cNvPr>
            <p:cNvSpPr/>
            <p:nvPr/>
          </p:nvSpPr>
          <p:spPr>
            <a:xfrm>
              <a:off x="5011675" y="5126125"/>
              <a:ext cx="203925" cy="344725"/>
            </a:xfrm>
            <a:custGeom>
              <a:avLst/>
              <a:gdLst/>
              <a:ahLst/>
              <a:cxnLst/>
              <a:rect l="l" t="t" r="r" b="b"/>
              <a:pathLst>
                <a:path w="8157" h="13789" fill="none" extrusionOk="0">
                  <a:moveTo>
                    <a:pt x="1003" y="0"/>
                  </a:moveTo>
                  <a:lnTo>
                    <a:pt x="8156" y="726"/>
                  </a:lnTo>
                  <a:lnTo>
                    <a:pt x="7154" y="10574"/>
                  </a:lnTo>
                  <a:lnTo>
                    <a:pt x="7154" y="10574"/>
                  </a:lnTo>
                  <a:lnTo>
                    <a:pt x="7120" y="10954"/>
                  </a:lnTo>
                  <a:lnTo>
                    <a:pt x="7016" y="11300"/>
                  </a:lnTo>
                  <a:lnTo>
                    <a:pt x="6878" y="11611"/>
                  </a:lnTo>
                  <a:lnTo>
                    <a:pt x="6739" y="11922"/>
                  </a:lnTo>
                  <a:lnTo>
                    <a:pt x="6567" y="12233"/>
                  </a:lnTo>
                  <a:lnTo>
                    <a:pt x="6359" y="12510"/>
                  </a:lnTo>
                  <a:lnTo>
                    <a:pt x="6117" y="12751"/>
                  </a:lnTo>
                  <a:lnTo>
                    <a:pt x="5876" y="12993"/>
                  </a:lnTo>
                  <a:lnTo>
                    <a:pt x="5599" y="13201"/>
                  </a:lnTo>
                  <a:lnTo>
                    <a:pt x="5288" y="13373"/>
                  </a:lnTo>
                  <a:lnTo>
                    <a:pt x="4977" y="13512"/>
                  </a:lnTo>
                  <a:lnTo>
                    <a:pt x="4666" y="13650"/>
                  </a:lnTo>
                  <a:lnTo>
                    <a:pt x="4320" y="13719"/>
                  </a:lnTo>
                  <a:lnTo>
                    <a:pt x="3975" y="13788"/>
                  </a:lnTo>
                  <a:lnTo>
                    <a:pt x="3595" y="13788"/>
                  </a:lnTo>
                  <a:lnTo>
                    <a:pt x="3249" y="13788"/>
                  </a:lnTo>
                  <a:lnTo>
                    <a:pt x="3215" y="13788"/>
                  </a:lnTo>
                  <a:lnTo>
                    <a:pt x="3215" y="13788"/>
                  </a:lnTo>
                  <a:lnTo>
                    <a:pt x="2869" y="13719"/>
                  </a:lnTo>
                  <a:lnTo>
                    <a:pt x="2524" y="13650"/>
                  </a:lnTo>
                  <a:lnTo>
                    <a:pt x="2178" y="13512"/>
                  </a:lnTo>
                  <a:lnTo>
                    <a:pt x="1867" y="13373"/>
                  </a:lnTo>
                  <a:lnTo>
                    <a:pt x="1556" y="13166"/>
                  </a:lnTo>
                  <a:lnTo>
                    <a:pt x="1280" y="12959"/>
                  </a:lnTo>
                  <a:lnTo>
                    <a:pt x="1038" y="12751"/>
                  </a:lnTo>
                  <a:lnTo>
                    <a:pt x="796" y="12475"/>
                  </a:lnTo>
                  <a:lnTo>
                    <a:pt x="588" y="12199"/>
                  </a:lnTo>
                  <a:lnTo>
                    <a:pt x="416" y="11922"/>
                  </a:lnTo>
                  <a:lnTo>
                    <a:pt x="277" y="11611"/>
                  </a:lnTo>
                  <a:lnTo>
                    <a:pt x="139" y="11265"/>
                  </a:lnTo>
                  <a:lnTo>
                    <a:pt x="70" y="10920"/>
                  </a:lnTo>
                  <a:lnTo>
                    <a:pt x="1" y="10574"/>
                  </a:lnTo>
                  <a:lnTo>
                    <a:pt x="1" y="10229"/>
                  </a:lnTo>
                  <a:lnTo>
                    <a:pt x="1" y="9849"/>
                  </a:lnTo>
                  <a:lnTo>
                    <a:pt x="100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3" name="Google Shape;2492;p11">
              <a:extLst>
                <a:ext uri="{FF2B5EF4-FFF2-40B4-BE49-F238E27FC236}">
                  <a16:creationId xmlns:a16="http://schemas.microsoft.com/office/drawing/2014/main" id="{7E9B0C94-E98A-A706-6A29-0CC0195ADF81}"/>
                </a:ext>
              </a:extLst>
            </p:cNvPr>
            <p:cNvSpPr/>
            <p:nvPr/>
          </p:nvSpPr>
          <p:spPr>
            <a:xfrm>
              <a:off x="5024650" y="2352975"/>
              <a:ext cx="450975" cy="2914850"/>
            </a:xfrm>
            <a:custGeom>
              <a:avLst/>
              <a:gdLst/>
              <a:ahLst/>
              <a:cxnLst/>
              <a:rect l="l" t="t" r="r" b="b"/>
              <a:pathLst>
                <a:path w="18039" h="116594" extrusionOk="0">
                  <a:moveTo>
                    <a:pt x="15101" y="0"/>
                  </a:moveTo>
                  <a:lnTo>
                    <a:pt x="14894" y="35"/>
                  </a:lnTo>
                  <a:lnTo>
                    <a:pt x="14687" y="104"/>
                  </a:lnTo>
                  <a:lnTo>
                    <a:pt x="14514" y="173"/>
                  </a:lnTo>
                  <a:lnTo>
                    <a:pt x="14341" y="277"/>
                  </a:lnTo>
                  <a:lnTo>
                    <a:pt x="14168" y="449"/>
                  </a:lnTo>
                  <a:lnTo>
                    <a:pt x="14065" y="622"/>
                  </a:lnTo>
                  <a:lnTo>
                    <a:pt x="13926" y="829"/>
                  </a:lnTo>
                  <a:lnTo>
                    <a:pt x="10955" y="7844"/>
                  </a:lnTo>
                  <a:lnTo>
                    <a:pt x="10886" y="8017"/>
                  </a:lnTo>
                  <a:lnTo>
                    <a:pt x="0" y="115868"/>
                  </a:lnTo>
                  <a:lnTo>
                    <a:pt x="1452" y="116006"/>
                  </a:lnTo>
                  <a:lnTo>
                    <a:pt x="1590" y="116040"/>
                  </a:lnTo>
                  <a:lnTo>
                    <a:pt x="4665" y="116351"/>
                  </a:lnTo>
                  <a:lnTo>
                    <a:pt x="6428" y="116524"/>
                  </a:lnTo>
                  <a:lnTo>
                    <a:pt x="7119" y="116593"/>
                  </a:lnTo>
                  <a:lnTo>
                    <a:pt x="18004" y="9088"/>
                  </a:lnTo>
                  <a:lnTo>
                    <a:pt x="18039" y="8743"/>
                  </a:lnTo>
                  <a:lnTo>
                    <a:pt x="16484" y="1071"/>
                  </a:lnTo>
                  <a:lnTo>
                    <a:pt x="16415" y="864"/>
                  </a:lnTo>
                  <a:lnTo>
                    <a:pt x="16311" y="657"/>
                  </a:lnTo>
                  <a:lnTo>
                    <a:pt x="16173" y="484"/>
                  </a:lnTo>
                  <a:lnTo>
                    <a:pt x="16034" y="346"/>
                  </a:lnTo>
                  <a:lnTo>
                    <a:pt x="15862" y="207"/>
                  </a:lnTo>
                  <a:lnTo>
                    <a:pt x="15689" y="104"/>
                  </a:lnTo>
                  <a:lnTo>
                    <a:pt x="15516" y="69"/>
                  </a:lnTo>
                  <a:lnTo>
                    <a:pt x="15309" y="35"/>
                  </a:lnTo>
                  <a:lnTo>
                    <a:pt x="15101" y="0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4" name="Google Shape;2493;p11">
              <a:extLst>
                <a:ext uri="{FF2B5EF4-FFF2-40B4-BE49-F238E27FC236}">
                  <a16:creationId xmlns:a16="http://schemas.microsoft.com/office/drawing/2014/main" id="{590BEA6C-9822-2B1F-CDE0-D7A9CE770A42}"/>
                </a:ext>
              </a:extLst>
            </p:cNvPr>
            <p:cNvSpPr/>
            <p:nvPr/>
          </p:nvSpPr>
          <p:spPr>
            <a:xfrm>
              <a:off x="5024650" y="2352975"/>
              <a:ext cx="450975" cy="2914850"/>
            </a:xfrm>
            <a:custGeom>
              <a:avLst/>
              <a:gdLst/>
              <a:ahLst/>
              <a:cxnLst/>
              <a:rect l="l" t="t" r="r" b="b"/>
              <a:pathLst>
                <a:path w="18039" h="116594" fill="none" extrusionOk="0">
                  <a:moveTo>
                    <a:pt x="7119" y="116593"/>
                  </a:moveTo>
                  <a:lnTo>
                    <a:pt x="6428" y="116524"/>
                  </a:lnTo>
                  <a:lnTo>
                    <a:pt x="4665" y="116351"/>
                  </a:lnTo>
                  <a:lnTo>
                    <a:pt x="1590" y="116040"/>
                  </a:lnTo>
                  <a:lnTo>
                    <a:pt x="1452" y="116006"/>
                  </a:lnTo>
                  <a:lnTo>
                    <a:pt x="0" y="115868"/>
                  </a:lnTo>
                  <a:lnTo>
                    <a:pt x="10886" y="8017"/>
                  </a:lnTo>
                  <a:lnTo>
                    <a:pt x="10955" y="7844"/>
                  </a:lnTo>
                  <a:lnTo>
                    <a:pt x="13926" y="829"/>
                  </a:lnTo>
                  <a:lnTo>
                    <a:pt x="13926" y="829"/>
                  </a:lnTo>
                  <a:lnTo>
                    <a:pt x="14065" y="622"/>
                  </a:lnTo>
                  <a:lnTo>
                    <a:pt x="14168" y="449"/>
                  </a:lnTo>
                  <a:lnTo>
                    <a:pt x="14341" y="277"/>
                  </a:lnTo>
                  <a:lnTo>
                    <a:pt x="14514" y="173"/>
                  </a:lnTo>
                  <a:lnTo>
                    <a:pt x="14687" y="104"/>
                  </a:lnTo>
                  <a:lnTo>
                    <a:pt x="14894" y="35"/>
                  </a:lnTo>
                  <a:lnTo>
                    <a:pt x="15101" y="0"/>
                  </a:lnTo>
                  <a:lnTo>
                    <a:pt x="15309" y="35"/>
                  </a:lnTo>
                  <a:lnTo>
                    <a:pt x="15516" y="69"/>
                  </a:lnTo>
                  <a:lnTo>
                    <a:pt x="15689" y="104"/>
                  </a:lnTo>
                  <a:lnTo>
                    <a:pt x="15862" y="207"/>
                  </a:lnTo>
                  <a:lnTo>
                    <a:pt x="16034" y="346"/>
                  </a:lnTo>
                  <a:lnTo>
                    <a:pt x="16173" y="484"/>
                  </a:lnTo>
                  <a:lnTo>
                    <a:pt x="16311" y="657"/>
                  </a:lnTo>
                  <a:lnTo>
                    <a:pt x="16415" y="864"/>
                  </a:lnTo>
                  <a:lnTo>
                    <a:pt x="16484" y="1071"/>
                  </a:lnTo>
                  <a:lnTo>
                    <a:pt x="18039" y="8743"/>
                  </a:lnTo>
                  <a:lnTo>
                    <a:pt x="18004" y="9088"/>
                  </a:lnTo>
                  <a:lnTo>
                    <a:pt x="7119" y="11659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5" name="Google Shape;2494;p11">
              <a:extLst>
                <a:ext uri="{FF2B5EF4-FFF2-40B4-BE49-F238E27FC236}">
                  <a16:creationId xmlns:a16="http://schemas.microsoft.com/office/drawing/2014/main" id="{2C9929D1-E590-8A05-CDB8-3335E098817C}"/>
                </a:ext>
              </a:extLst>
            </p:cNvPr>
            <p:cNvSpPr/>
            <p:nvPr/>
          </p:nvSpPr>
          <p:spPr>
            <a:xfrm>
              <a:off x="5296775" y="2296800"/>
              <a:ext cx="178850" cy="298950"/>
            </a:xfrm>
            <a:custGeom>
              <a:avLst/>
              <a:gdLst/>
              <a:ahLst/>
              <a:cxnLst/>
              <a:rect l="l" t="t" r="r" b="b"/>
              <a:pathLst>
                <a:path w="7154" h="11958" extrusionOk="0">
                  <a:moveTo>
                    <a:pt x="4493" y="1"/>
                  </a:moveTo>
                  <a:lnTo>
                    <a:pt x="4355" y="35"/>
                  </a:lnTo>
                  <a:lnTo>
                    <a:pt x="4216" y="70"/>
                  </a:lnTo>
                  <a:lnTo>
                    <a:pt x="4078" y="139"/>
                  </a:lnTo>
                  <a:lnTo>
                    <a:pt x="3975" y="208"/>
                  </a:lnTo>
                  <a:lnTo>
                    <a:pt x="3871" y="312"/>
                  </a:lnTo>
                  <a:lnTo>
                    <a:pt x="3767" y="450"/>
                  </a:lnTo>
                  <a:lnTo>
                    <a:pt x="3698" y="588"/>
                  </a:lnTo>
                  <a:lnTo>
                    <a:pt x="1" y="10264"/>
                  </a:lnTo>
                  <a:lnTo>
                    <a:pt x="381" y="10299"/>
                  </a:lnTo>
                  <a:lnTo>
                    <a:pt x="588" y="10299"/>
                  </a:lnTo>
                  <a:lnTo>
                    <a:pt x="726" y="10264"/>
                  </a:lnTo>
                  <a:lnTo>
                    <a:pt x="795" y="10230"/>
                  </a:lnTo>
                  <a:lnTo>
                    <a:pt x="864" y="10160"/>
                  </a:lnTo>
                  <a:lnTo>
                    <a:pt x="1072" y="10160"/>
                  </a:lnTo>
                  <a:lnTo>
                    <a:pt x="1210" y="10195"/>
                  </a:lnTo>
                  <a:lnTo>
                    <a:pt x="1348" y="10264"/>
                  </a:lnTo>
                  <a:lnTo>
                    <a:pt x="1556" y="10471"/>
                  </a:lnTo>
                  <a:lnTo>
                    <a:pt x="1694" y="10575"/>
                  </a:lnTo>
                  <a:lnTo>
                    <a:pt x="1832" y="10679"/>
                  </a:lnTo>
                  <a:lnTo>
                    <a:pt x="2039" y="10748"/>
                  </a:lnTo>
                  <a:lnTo>
                    <a:pt x="2316" y="10782"/>
                  </a:lnTo>
                  <a:lnTo>
                    <a:pt x="2558" y="10782"/>
                  </a:lnTo>
                  <a:lnTo>
                    <a:pt x="2730" y="10713"/>
                  </a:lnTo>
                  <a:lnTo>
                    <a:pt x="2869" y="10575"/>
                  </a:lnTo>
                  <a:lnTo>
                    <a:pt x="2972" y="10437"/>
                  </a:lnTo>
                  <a:lnTo>
                    <a:pt x="3076" y="10264"/>
                  </a:lnTo>
                  <a:lnTo>
                    <a:pt x="3180" y="10160"/>
                  </a:lnTo>
                  <a:lnTo>
                    <a:pt x="3283" y="10091"/>
                  </a:lnTo>
                  <a:lnTo>
                    <a:pt x="3387" y="10091"/>
                  </a:lnTo>
                  <a:lnTo>
                    <a:pt x="3491" y="10057"/>
                  </a:lnTo>
                  <a:lnTo>
                    <a:pt x="3629" y="10057"/>
                  </a:lnTo>
                  <a:lnTo>
                    <a:pt x="3767" y="10091"/>
                  </a:lnTo>
                  <a:lnTo>
                    <a:pt x="3905" y="10160"/>
                  </a:lnTo>
                  <a:lnTo>
                    <a:pt x="4009" y="10264"/>
                  </a:lnTo>
                  <a:lnTo>
                    <a:pt x="4113" y="10368"/>
                  </a:lnTo>
                  <a:lnTo>
                    <a:pt x="4320" y="10644"/>
                  </a:lnTo>
                  <a:lnTo>
                    <a:pt x="4493" y="10990"/>
                  </a:lnTo>
                  <a:lnTo>
                    <a:pt x="4666" y="11301"/>
                  </a:lnTo>
                  <a:lnTo>
                    <a:pt x="4838" y="11612"/>
                  </a:lnTo>
                  <a:lnTo>
                    <a:pt x="4942" y="11716"/>
                  </a:lnTo>
                  <a:lnTo>
                    <a:pt x="5046" y="11819"/>
                  </a:lnTo>
                  <a:lnTo>
                    <a:pt x="5184" y="11888"/>
                  </a:lnTo>
                  <a:lnTo>
                    <a:pt x="5288" y="11957"/>
                  </a:lnTo>
                  <a:lnTo>
                    <a:pt x="5495" y="11957"/>
                  </a:lnTo>
                  <a:lnTo>
                    <a:pt x="5668" y="11888"/>
                  </a:lnTo>
                  <a:lnTo>
                    <a:pt x="5806" y="11819"/>
                  </a:lnTo>
                  <a:lnTo>
                    <a:pt x="5979" y="11681"/>
                  </a:lnTo>
                  <a:lnTo>
                    <a:pt x="6186" y="11508"/>
                  </a:lnTo>
                  <a:lnTo>
                    <a:pt x="6428" y="11370"/>
                  </a:lnTo>
                  <a:lnTo>
                    <a:pt x="6739" y="11232"/>
                  </a:lnTo>
                  <a:lnTo>
                    <a:pt x="7119" y="11128"/>
                  </a:lnTo>
                  <a:lnTo>
                    <a:pt x="7154" y="10990"/>
                  </a:lnTo>
                  <a:lnTo>
                    <a:pt x="5460" y="796"/>
                  </a:lnTo>
                  <a:lnTo>
                    <a:pt x="5426" y="623"/>
                  </a:lnTo>
                  <a:lnTo>
                    <a:pt x="5357" y="485"/>
                  </a:lnTo>
                  <a:lnTo>
                    <a:pt x="5253" y="346"/>
                  </a:lnTo>
                  <a:lnTo>
                    <a:pt x="5184" y="243"/>
                  </a:lnTo>
                  <a:lnTo>
                    <a:pt x="5046" y="139"/>
                  </a:lnTo>
                  <a:lnTo>
                    <a:pt x="4908" y="70"/>
                  </a:lnTo>
                  <a:lnTo>
                    <a:pt x="4769" y="35"/>
                  </a:lnTo>
                  <a:lnTo>
                    <a:pt x="4631" y="1"/>
                  </a:lnTo>
                  <a:close/>
                </a:path>
              </a:pathLst>
            </a:custGeom>
            <a:solidFill>
              <a:srgbClr val="F1BAC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6" name="Google Shape;2495;p11">
              <a:extLst>
                <a:ext uri="{FF2B5EF4-FFF2-40B4-BE49-F238E27FC236}">
                  <a16:creationId xmlns:a16="http://schemas.microsoft.com/office/drawing/2014/main" id="{8484C7F3-CF30-967A-BDC5-24695835D3F3}"/>
                </a:ext>
              </a:extLst>
            </p:cNvPr>
            <p:cNvSpPr/>
            <p:nvPr/>
          </p:nvSpPr>
          <p:spPr>
            <a:xfrm>
              <a:off x="5296775" y="2296800"/>
              <a:ext cx="178850" cy="298950"/>
            </a:xfrm>
            <a:custGeom>
              <a:avLst/>
              <a:gdLst/>
              <a:ahLst/>
              <a:cxnLst/>
              <a:rect l="l" t="t" r="r" b="b"/>
              <a:pathLst>
                <a:path w="7154" h="11958" fill="none" extrusionOk="0">
                  <a:moveTo>
                    <a:pt x="1" y="10264"/>
                  </a:moveTo>
                  <a:lnTo>
                    <a:pt x="3698" y="588"/>
                  </a:lnTo>
                  <a:lnTo>
                    <a:pt x="3698" y="588"/>
                  </a:lnTo>
                  <a:lnTo>
                    <a:pt x="3767" y="450"/>
                  </a:lnTo>
                  <a:lnTo>
                    <a:pt x="3871" y="312"/>
                  </a:lnTo>
                  <a:lnTo>
                    <a:pt x="3975" y="208"/>
                  </a:lnTo>
                  <a:lnTo>
                    <a:pt x="4078" y="139"/>
                  </a:lnTo>
                  <a:lnTo>
                    <a:pt x="4216" y="70"/>
                  </a:lnTo>
                  <a:lnTo>
                    <a:pt x="4355" y="35"/>
                  </a:lnTo>
                  <a:lnTo>
                    <a:pt x="4493" y="1"/>
                  </a:lnTo>
                  <a:lnTo>
                    <a:pt x="4631" y="1"/>
                  </a:lnTo>
                  <a:lnTo>
                    <a:pt x="4769" y="35"/>
                  </a:lnTo>
                  <a:lnTo>
                    <a:pt x="4908" y="70"/>
                  </a:lnTo>
                  <a:lnTo>
                    <a:pt x="5046" y="139"/>
                  </a:lnTo>
                  <a:lnTo>
                    <a:pt x="5184" y="243"/>
                  </a:lnTo>
                  <a:lnTo>
                    <a:pt x="5253" y="346"/>
                  </a:lnTo>
                  <a:lnTo>
                    <a:pt x="5357" y="485"/>
                  </a:lnTo>
                  <a:lnTo>
                    <a:pt x="5426" y="623"/>
                  </a:lnTo>
                  <a:lnTo>
                    <a:pt x="5460" y="796"/>
                  </a:lnTo>
                  <a:lnTo>
                    <a:pt x="7154" y="10990"/>
                  </a:lnTo>
                  <a:lnTo>
                    <a:pt x="7119" y="11128"/>
                  </a:lnTo>
                  <a:lnTo>
                    <a:pt x="7119" y="11128"/>
                  </a:lnTo>
                  <a:lnTo>
                    <a:pt x="6739" y="11232"/>
                  </a:lnTo>
                  <a:lnTo>
                    <a:pt x="6428" y="11370"/>
                  </a:lnTo>
                  <a:lnTo>
                    <a:pt x="6186" y="11508"/>
                  </a:lnTo>
                  <a:lnTo>
                    <a:pt x="5979" y="11681"/>
                  </a:lnTo>
                  <a:lnTo>
                    <a:pt x="5806" y="11819"/>
                  </a:lnTo>
                  <a:lnTo>
                    <a:pt x="5668" y="11888"/>
                  </a:lnTo>
                  <a:lnTo>
                    <a:pt x="5495" y="11957"/>
                  </a:lnTo>
                  <a:lnTo>
                    <a:pt x="5288" y="11957"/>
                  </a:lnTo>
                  <a:lnTo>
                    <a:pt x="5288" y="11957"/>
                  </a:lnTo>
                  <a:lnTo>
                    <a:pt x="5184" y="11888"/>
                  </a:lnTo>
                  <a:lnTo>
                    <a:pt x="5046" y="11819"/>
                  </a:lnTo>
                  <a:lnTo>
                    <a:pt x="4942" y="11716"/>
                  </a:lnTo>
                  <a:lnTo>
                    <a:pt x="4838" y="11612"/>
                  </a:lnTo>
                  <a:lnTo>
                    <a:pt x="4666" y="11301"/>
                  </a:lnTo>
                  <a:lnTo>
                    <a:pt x="4493" y="10990"/>
                  </a:lnTo>
                  <a:lnTo>
                    <a:pt x="4320" y="10644"/>
                  </a:lnTo>
                  <a:lnTo>
                    <a:pt x="4113" y="10368"/>
                  </a:lnTo>
                  <a:lnTo>
                    <a:pt x="4009" y="10264"/>
                  </a:lnTo>
                  <a:lnTo>
                    <a:pt x="3905" y="10160"/>
                  </a:lnTo>
                  <a:lnTo>
                    <a:pt x="3767" y="10091"/>
                  </a:lnTo>
                  <a:lnTo>
                    <a:pt x="3629" y="10057"/>
                  </a:lnTo>
                  <a:lnTo>
                    <a:pt x="3629" y="10057"/>
                  </a:lnTo>
                  <a:lnTo>
                    <a:pt x="3491" y="10057"/>
                  </a:lnTo>
                  <a:lnTo>
                    <a:pt x="3387" y="10091"/>
                  </a:lnTo>
                  <a:lnTo>
                    <a:pt x="3283" y="10091"/>
                  </a:lnTo>
                  <a:lnTo>
                    <a:pt x="3180" y="10160"/>
                  </a:lnTo>
                  <a:lnTo>
                    <a:pt x="3076" y="10264"/>
                  </a:lnTo>
                  <a:lnTo>
                    <a:pt x="2972" y="10437"/>
                  </a:lnTo>
                  <a:lnTo>
                    <a:pt x="2972" y="10437"/>
                  </a:lnTo>
                  <a:lnTo>
                    <a:pt x="2869" y="10575"/>
                  </a:lnTo>
                  <a:lnTo>
                    <a:pt x="2730" y="10713"/>
                  </a:lnTo>
                  <a:lnTo>
                    <a:pt x="2558" y="10782"/>
                  </a:lnTo>
                  <a:lnTo>
                    <a:pt x="2454" y="10782"/>
                  </a:lnTo>
                  <a:lnTo>
                    <a:pt x="2316" y="10782"/>
                  </a:lnTo>
                  <a:lnTo>
                    <a:pt x="2316" y="10782"/>
                  </a:lnTo>
                  <a:lnTo>
                    <a:pt x="2039" y="10748"/>
                  </a:lnTo>
                  <a:lnTo>
                    <a:pt x="1832" y="10679"/>
                  </a:lnTo>
                  <a:lnTo>
                    <a:pt x="1694" y="10575"/>
                  </a:lnTo>
                  <a:lnTo>
                    <a:pt x="1556" y="10471"/>
                  </a:lnTo>
                  <a:lnTo>
                    <a:pt x="1348" y="10264"/>
                  </a:lnTo>
                  <a:lnTo>
                    <a:pt x="1210" y="10195"/>
                  </a:lnTo>
                  <a:lnTo>
                    <a:pt x="1072" y="10160"/>
                  </a:lnTo>
                  <a:lnTo>
                    <a:pt x="1072" y="10160"/>
                  </a:lnTo>
                  <a:lnTo>
                    <a:pt x="934" y="10160"/>
                  </a:lnTo>
                  <a:lnTo>
                    <a:pt x="864" y="10160"/>
                  </a:lnTo>
                  <a:lnTo>
                    <a:pt x="795" y="10230"/>
                  </a:lnTo>
                  <a:lnTo>
                    <a:pt x="795" y="10230"/>
                  </a:lnTo>
                  <a:lnTo>
                    <a:pt x="726" y="10264"/>
                  </a:lnTo>
                  <a:lnTo>
                    <a:pt x="588" y="10299"/>
                  </a:lnTo>
                  <a:lnTo>
                    <a:pt x="381" y="10299"/>
                  </a:lnTo>
                  <a:lnTo>
                    <a:pt x="1" y="1026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7" name="Google Shape;2496;p11">
              <a:extLst>
                <a:ext uri="{FF2B5EF4-FFF2-40B4-BE49-F238E27FC236}">
                  <a16:creationId xmlns:a16="http://schemas.microsoft.com/office/drawing/2014/main" id="{EB9EA8E6-99B8-1698-1088-6692A37E2EBB}"/>
                </a:ext>
              </a:extLst>
            </p:cNvPr>
            <p:cNvSpPr/>
            <p:nvPr/>
          </p:nvSpPr>
          <p:spPr>
            <a:xfrm>
              <a:off x="5368475" y="2269175"/>
              <a:ext cx="74325" cy="107150"/>
            </a:xfrm>
            <a:custGeom>
              <a:avLst/>
              <a:gdLst/>
              <a:ahLst/>
              <a:cxnLst/>
              <a:rect l="l" t="t" r="r" b="b"/>
              <a:pathLst>
                <a:path w="2973" h="4286" extrusionOk="0">
                  <a:moveTo>
                    <a:pt x="1901" y="0"/>
                  </a:moveTo>
                  <a:lnTo>
                    <a:pt x="1729" y="35"/>
                  </a:lnTo>
                  <a:lnTo>
                    <a:pt x="1556" y="69"/>
                  </a:lnTo>
                  <a:lnTo>
                    <a:pt x="1452" y="173"/>
                  </a:lnTo>
                  <a:lnTo>
                    <a:pt x="1348" y="346"/>
                  </a:lnTo>
                  <a:lnTo>
                    <a:pt x="35" y="3801"/>
                  </a:lnTo>
                  <a:lnTo>
                    <a:pt x="1" y="3870"/>
                  </a:lnTo>
                  <a:lnTo>
                    <a:pt x="35" y="3905"/>
                  </a:lnTo>
                  <a:lnTo>
                    <a:pt x="70" y="3940"/>
                  </a:lnTo>
                  <a:lnTo>
                    <a:pt x="139" y="3940"/>
                  </a:lnTo>
                  <a:lnTo>
                    <a:pt x="796" y="3801"/>
                  </a:lnTo>
                  <a:lnTo>
                    <a:pt x="1348" y="3767"/>
                  </a:lnTo>
                  <a:lnTo>
                    <a:pt x="1521" y="3801"/>
                  </a:lnTo>
                  <a:lnTo>
                    <a:pt x="1694" y="3870"/>
                  </a:lnTo>
                  <a:lnTo>
                    <a:pt x="2005" y="4078"/>
                  </a:lnTo>
                  <a:lnTo>
                    <a:pt x="2178" y="4181"/>
                  </a:lnTo>
                  <a:lnTo>
                    <a:pt x="2351" y="4251"/>
                  </a:lnTo>
                  <a:lnTo>
                    <a:pt x="2592" y="4285"/>
                  </a:lnTo>
                  <a:lnTo>
                    <a:pt x="2903" y="4216"/>
                  </a:lnTo>
                  <a:lnTo>
                    <a:pt x="2938" y="4181"/>
                  </a:lnTo>
                  <a:lnTo>
                    <a:pt x="2973" y="4112"/>
                  </a:lnTo>
                  <a:lnTo>
                    <a:pt x="2351" y="449"/>
                  </a:lnTo>
                  <a:lnTo>
                    <a:pt x="2281" y="277"/>
                  </a:lnTo>
                  <a:lnTo>
                    <a:pt x="2178" y="138"/>
                  </a:lnTo>
                  <a:lnTo>
                    <a:pt x="2040" y="69"/>
                  </a:lnTo>
                  <a:lnTo>
                    <a:pt x="190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8" name="Google Shape;2497;p11">
              <a:extLst>
                <a:ext uri="{FF2B5EF4-FFF2-40B4-BE49-F238E27FC236}">
                  <a16:creationId xmlns:a16="http://schemas.microsoft.com/office/drawing/2014/main" id="{30F700F0-3696-8DCB-C2C5-A0B249E66B4B}"/>
                </a:ext>
              </a:extLst>
            </p:cNvPr>
            <p:cNvSpPr/>
            <p:nvPr/>
          </p:nvSpPr>
          <p:spPr>
            <a:xfrm>
              <a:off x="5024650" y="2550800"/>
              <a:ext cx="298925" cy="2703200"/>
            </a:xfrm>
            <a:custGeom>
              <a:avLst/>
              <a:gdLst/>
              <a:ahLst/>
              <a:cxnLst/>
              <a:rect l="l" t="t" r="r" b="b"/>
              <a:pathLst>
                <a:path w="11957" h="108128" extrusionOk="0">
                  <a:moveTo>
                    <a:pt x="11957" y="0"/>
                  </a:moveTo>
                  <a:lnTo>
                    <a:pt x="11715" y="35"/>
                  </a:lnTo>
                  <a:lnTo>
                    <a:pt x="11680" y="70"/>
                  </a:lnTo>
                  <a:lnTo>
                    <a:pt x="11577" y="139"/>
                  </a:lnTo>
                  <a:lnTo>
                    <a:pt x="11335" y="139"/>
                  </a:lnTo>
                  <a:lnTo>
                    <a:pt x="10886" y="104"/>
                  </a:lnTo>
                  <a:lnTo>
                    <a:pt x="2661" y="81554"/>
                  </a:lnTo>
                  <a:lnTo>
                    <a:pt x="2454" y="83558"/>
                  </a:lnTo>
                  <a:lnTo>
                    <a:pt x="0" y="107955"/>
                  </a:lnTo>
                  <a:lnTo>
                    <a:pt x="1452" y="108093"/>
                  </a:lnTo>
                  <a:lnTo>
                    <a:pt x="1590" y="108127"/>
                  </a:lnTo>
                  <a:lnTo>
                    <a:pt x="2143" y="103428"/>
                  </a:lnTo>
                  <a:lnTo>
                    <a:pt x="2661" y="98486"/>
                  </a:lnTo>
                  <a:lnTo>
                    <a:pt x="3145" y="93406"/>
                  </a:lnTo>
                  <a:lnTo>
                    <a:pt x="3629" y="88258"/>
                  </a:lnTo>
                  <a:lnTo>
                    <a:pt x="4527" y="78236"/>
                  </a:lnTo>
                  <a:lnTo>
                    <a:pt x="4976" y="73571"/>
                  </a:lnTo>
                  <a:lnTo>
                    <a:pt x="5391" y="69286"/>
                  </a:lnTo>
                  <a:lnTo>
                    <a:pt x="6082" y="62824"/>
                  </a:lnTo>
                  <a:lnTo>
                    <a:pt x="6981" y="54323"/>
                  </a:lnTo>
                  <a:lnTo>
                    <a:pt x="8052" y="44440"/>
                  </a:lnTo>
                  <a:lnTo>
                    <a:pt x="9158" y="33935"/>
                  </a:lnTo>
                  <a:lnTo>
                    <a:pt x="10194" y="23499"/>
                  </a:lnTo>
                  <a:lnTo>
                    <a:pt x="10678" y="18557"/>
                  </a:lnTo>
                  <a:lnTo>
                    <a:pt x="11058" y="13892"/>
                  </a:lnTo>
                  <a:lnTo>
                    <a:pt x="11438" y="9642"/>
                  </a:lnTo>
                  <a:lnTo>
                    <a:pt x="11680" y="5841"/>
                  </a:lnTo>
                  <a:lnTo>
                    <a:pt x="11888" y="2592"/>
                  </a:lnTo>
                  <a:lnTo>
                    <a:pt x="11922" y="1210"/>
                  </a:lnTo>
                  <a:lnTo>
                    <a:pt x="11957" y="0"/>
                  </a:lnTo>
                  <a:close/>
                </a:path>
              </a:pathLst>
            </a:custGeom>
            <a:solidFill>
              <a:srgbClr val="D9820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9" name="Google Shape;2498;p11">
              <a:extLst>
                <a:ext uri="{FF2B5EF4-FFF2-40B4-BE49-F238E27FC236}">
                  <a16:creationId xmlns:a16="http://schemas.microsoft.com/office/drawing/2014/main" id="{97DBBE04-76D1-F29B-D442-236EAAB7F11A}"/>
                </a:ext>
              </a:extLst>
            </p:cNvPr>
            <p:cNvSpPr/>
            <p:nvPr/>
          </p:nvSpPr>
          <p:spPr>
            <a:xfrm>
              <a:off x="5024650" y="2550800"/>
              <a:ext cx="298925" cy="2703200"/>
            </a:xfrm>
            <a:custGeom>
              <a:avLst/>
              <a:gdLst/>
              <a:ahLst/>
              <a:cxnLst/>
              <a:rect l="l" t="t" r="r" b="b"/>
              <a:pathLst>
                <a:path w="11957" h="108128" fill="none" extrusionOk="0">
                  <a:moveTo>
                    <a:pt x="11957" y="0"/>
                  </a:moveTo>
                  <a:lnTo>
                    <a:pt x="11715" y="35"/>
                  </a:lnTo>
                  <a:lnTo>
                    <a:pt x="11715" y="35"/>
                  </a:lnTo>
                  <a:lnTo>
                    <a:pt x="11680" y="70"/>
                  </a:lnTo>
                  <a:lnTo>
                    <a:pt x="11680" y="70"/>
                  </a:lnTo>
                  <a:lnTo>
                    <a:pt x="11577" y="139"/>
                  </a:lnTo>
                  <a:lnTo>
                    <a:pt x="11335" y="139"/>
                  </a:lnTo>
                  <a:lnTo>
                    <a:pt x="11335" y="139"/>
                  </a:lnTo>
                  <a:lnTo>
                    <a:pt x="10886" y="104"/>
                  </a:lnTo>
                  <a:lnTo>
                    <a:pt x="2661" y="81554"/>
                  </a:lnTo>
                  <a:lnTo>
                    <a:pt x="2454" y="83558"/>
                  </a:lnTo>
                  <a:lnTo>
                    <a:pt x="0" y="107955"/>
                  </a:lnTo>
                  <a:lnTo>
                    <a:pt x="1452" y="108093"/>
                  </a:lnTo>
                  <a:lnTo>
                    <a:pt x="1590" y="108127"/>
                  </a:lnTo>
                  <a:lnTo>
                    <a:pt x="1590" y="108127"/>
                  </a:lnTo>
                  <a:lnTo>
                    <a:pt x="2143" y="103428"/>
                  </a:lnTo>
                  <a:lnTo>
                    <a:pt x="2661" y="98486"/>
                  </a:lnTo>
                  <a:lnTo>
                    <a:pt x="3145" y="93406"/>
                  </a:lnTo>
                  <a:lnTo>
                    <a:pt x="3629" y="88258"/>
                  </a:lnTo>
                  <a:lnTo>
                    <a:pt x="4527" y="78236"/>
                  </a:lnTo>
                  <a:lnTo>
                    <a:pt x="4976" y="73571"/>
                  </a:lnTo>
                  <a:lnTo>
                    <a:pt x="5391" y="69286"/>
                  </a:lnTo>
                  <a:lnTo>
                    <a:pt x="5391" y="69286"/>
                  </a:lnTo>
                  <a:lnTo>
                    <a:pt x="6082" y="62824"/>
                  </a:lnTo>
                  <a:lnTo>
                    <a:pt x="6981" y="54323"/>
                  </a:lnTo>
                  <a:lnTo>
                    <a:pt x="8052" y="44440"/>
                  </a:lnTo>
                  <a:lnTo>
                    <a:pt x="9158" y="33935"/>
                  </a:lnTo>
                  <a:lnTo>
                    <a:pt x="10194" y="23499"/>
                  </a:lnTo>
                  <a:lnTo>
                    <a:pt x="10678" y="18557"/>
                  </a:lnTo>
                  <a:lnTo>
                    <a:pt x="11058" y="13892"/>
                  </a:lnTo>
                  <a:lnTo>
                    <a:pt x="11438" y="9642"/>
                  </a:lnTo>
                  <a:lnTo>
                    <a:pt x="11680" y="5841"/>
                  </a:lnTo>
                  <a:lnTo>
                    <a:pt x="11888" y="2592"/>
                  </a:lnTo>
                  <a:lnTo>
                    <a:pt x="11922" y="1210"/>
                  </a:lnTo>
                  <a:lnTo>
                    <a:pt x="11957" y="0"/>
                  </a:lnTo>
                  <a:lnTo>
                    <a:pt x="1195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0" name="Google Shape;2499;p11">
              <a:extLst>
                <a:ext uri="{FF2B5EF4-FFF2-40B4-BE49-F238E27FC236}">
                  <a16:creationId xmlns:a16="http://schemas.microsoft.com/office/drawing/2014/main" id="{96066900-1A34-539C-F07D-94EA9608C723}"/>
                </a:ext>
              </a:extLst>
            </p:cNvPr>
            <p:cNvSpPr/>
            <p:nvPr/>
          </p:nvSpPr>
          <p:spPr>
            <a:xfrm>
              <a:off x="5296775" y="2551675"/>
              <a:ext cx="20750" cy="2600"/>
            </a:xfrm>
            <a:custGeom>
              <a:avLst/>
              <a:gdLst/>
              <a:ahLst/>
              <a:cxnLst/>
              <a:rect l="l" t="t" r="r" b="b"/>
              <a:pathLst>
                <a:path w="830" h="104" extrusionOk="0">
                  <a:moveTo>
                    <a:pt x="830" y="0"/>
                  </a:moveTo>
                  <a:lnTo>
                    <a:pt x="1" y="69"/>
                  </a:lnTo>
                  <a:lnTo>
                    <a:pt x="450" y="104"/>
                  </a:lnTo>
                  <a:lnTo>
                    <a:pt x="692" y="104"/>
                  </a:lnTo>
                  <a:lnTo>
                    <a:pt x="795" y="35"/>
                  </a:lnTo>
                  <a:lnTo>
                    <a:pt x="830" y="0"/>
                  </a:lnTo>
                  <a:close/>
                </a:path>
              </a:pathLst>
            </a:custGeom>
            <a:solidFill>
              <a:srgbClr val="DEACB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1" name="Google Shape;2500;p11">
              <a:extLst>
                <a:ext uri="{FF2B5EF4-FFF2-40B4-BE49-F238E27FC236}">
                  <a16:creationId xmlns:a16="http://schemas.microsoft.com/office/drawing/2014/main" id="{06E92FB9-C4E4-3E01-DD94-F889AEC8F62D}"/>
                </a:ext>
              </a:extLst>
            </p:cNvPr>
            <p:cNvSpPr/>
            <p:nvPr/>
          </p:nvSpPr>
          <p:spPr>
            <a:xfrm>
              <a:off x="5296775" y="2551675"/>
              <a:ext cx="20750" cy="2600"/>
            </a:xfrm>
            <a:custGeom>
              <a:avLst/>
              <a:gdLst/>
              <a:ahLst/>
              <a:cxnLst/>
              <a:rect l="l" t="t" r="r" b="b"/>
              <a:pathLst>
                <a:path w="830" h="104" fill="none" extrusionOk="0">
                  <a:moveTo>
                    <a:pt x="830" y="0"/>
                  </a:move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450" y="104"/>
                  </a:lnTo>
                  <a:lnTo>
                    <a:pt x="450" y="104"/>
                  </a:lnTo>
                  <a:lnTo>
                    <a:pt x="692" y="104"/>
                  </a:lnTo>
                  <a:lnTo>
                    <a:pt x="795" y="35"/>
                  </a:lnTo>
                  <a:lnTo>
                    <a:pt x="795" y="35"/>
                  </a:lnTo>
                  <a:lnTo>
                    <a:pt x="83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2" name="Google Shape;2501;p11">
              <a:extLst>
                <a:ext uri="{FF2B5EF4-FFF2-40B4-BE49-F238E27FC236}">
                  <a16:creationId xmlns:a16="http://schemas.microsoft.com/office/drawing/2014/main" id="{AE1E39ED-866E-E391-2029-C648FF948C0F}"/>
                </a:ext>
              </a:extLst>
            </p:cNvPr>
            <p:cNvSpPr/>
            <p:nvPr/>
          </p:nvSpPr>
          <p:spPr>
            <a:xfrm>
              <a:off x="5323550" y="25508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3" name="Google Shape;2502;p11">
              <a:extLst>
                <a:ext uri="{FF2B5EF4-FFF2-40B4-BE49-F238E27FC236}">
                  <a16:creationId xmlns:a16="http://schemas.microsoft.com/office/drawing/2014/main" id="{02A14FD8-D9CD-B0B1-0D88-095FD3B35260}"/>
                </a:ext>
              </a:extLst>
            </p:cNvPr>
            <p:cNvSpPr/>
            <p:nvPr/>
          </p:nvSpPr>
          <p:spPr>
            <a:xfrm>
              <a:off x="5263950" y="3018175"/>
              <a:ext cx="203050" cy="190075"/>
            </a:xfrm>
            <a:custGeom>
              <a:avLst/>
              <a:gdLst/>
              <a:ahLst/>
              <a:cxnLst/>
              <a:rect l="l" t="t" r="r" b="b"/>
              <a:pathLst>
                <a:path w="8122" h="7603" extrusionOk="0">
                  <a:moveTo>
                    <a:pt x="7119" y="0"/>
                  </a:moveTo>
                  <a:lnTo>
                    <a:pt x="7050" y="35"/>
                  </a:lnTo>
                  <a:lnTo>
                    <a:pt x="6635" y="312"/>
                  </a:lnTo>
                  <a:lnTo>
                    <a:pt x="6255" y="588"/>
                  </a:lnTo>
                  <a:lnTo>
                    <a:pt x="5529" y="1175"/>
                  </a:lnTo>
                  <a:lnTo>
                    <a:pt x="4942" y="1659"/>
                  </a:lnTo>
                  <a:lnTo>
                    <a:pt x="4700" y="1832"/>
                  </a:lnTo>
                  <a:lnTo>
                    <a:pt x="4493" y="1936"/>
                  </a:lnTo>
                  <a:lnTo>
                    <a:pt x="4424" y="1936"/>
                  </a:lnTo>
                  <a:lnTo>
                    <a:pt x="4389" y="1901"/>
                  </a:lnTo>
                  <a:lnTo>
                    <a:pt x="4354" y="1867"/>
                  </a:lnTo>
                  <a:lnTo>
                    <a:pt x="4389" y="1763"/>
                  </a:lnTo>
                  <a:lnTo>
                    <a:pt x="4527" y="1245"/>
                  </a:lnTo>
                  <a:lnTo>
                    <a:pt x="4562" y="934"/>
                  </a:lnTo>
                  <a:lnTo>
                    <a:pt x="4562" y="795"/>
                  </a:lnTo>
                  <a:lnTo>
                    <a:pt x="4562" y="657"/>
                  </a:lnTo>
                  <a:lnTo>
                    <a:pt x="4493" y="553"/>
                  </a:lnTo>
                  <a:lnTo>
                    <a:pt x="4424" y="484"/>
                  </a:lnTo>
                  <a:lnTo>
                    <a:pt x="4285" y="450"/>
                  </a:lnTo>
                  <a:lnTo>
                    <a:pt x="4078" y="415"/>
                  </a:lnTo>
                  <a:lnTo>
                    <a:pt x="3905" y="484"/>
                  </a:lnTo>
                  <a:lnTo>
                    <a:pt x="3698" y="588"/>
                  </a:lnTo>
                  <a:lnTo>
                    <a:pt x="3525" y="726"/>
                  </a:lnTo>
                  <a:lnTo>
                    <a:pt x="3352" y="934"/>
                  </a:lnTo>
                  <a:lnTo>
                    <a:pt x="3007" y="1452"/>
                  </a:lnTo>
                  <a:lnTo>
                    <a:pt x="2592" y="2108"/>
                  </a:lnTo>
                  <a:lnTo>
                    <a:pt x="2143" y="2800"/>
                  </a:lnTo>
                  <a:lnTo>
                    <a:pt x="1866" y="3180"/>
                  </a:lnTo>
                  <a:lnTo>
                    <a:pt x="1555" y="3525"/>
                  </a:lnTo>
                  <a:lnTo>
                    <a:pt x="1244" y="3871"/>
                  </a:lnTo>
                  <a:lnTo>
                    <a:pt x="864" y="4216"/>
                  </a:lnTo>
                  <a:lnTo>
                    <a:pt x="450" y="4527"/>
                  </a:lnTo>
                  <a:lnTo>
                    <a:pt x="0" y="4804"/>
                  </a:lnTo>
                  <a:lnTo>
                    <a:pt x="70" y="5288"/>
                  </a:lnTo>
                  <a:lnTo>
                    <a:pt x="139" y="5806"/>
                  </a:lnTo>
                  <a:lnTo>
                    <a:pt x="242" y="6359"/>
                  </a:lnTo>
                  <a:lnTo>
                    <a:pt x="415" y="6877"/>
                  </a:lnTo>
                  <a:lnTo>
                    <a:pt x="519" y="7119"/>
                  </a:lnTo>
                  <a:lnTo>
                    <a:pt x="622" y="7292"/>
                  </a:lnTo>
                  <a:lnTo>
                    <a:pt x="761" y="7465"/>
                  </a:lnTo>
                  <a:lnTo>
                    <a:pt x="899" y="7568"/>
                  </a:lnTo>
                  <a:lnTo>
                    <a:pt x="1072" y="7603"/>
                  </a:lnTo>
                  <a:lnTo>
                    <a:pt x="1244" y="7568"/>
                  </a:lnTo>
                  <a:lnTo>
                    <a:pt x="2419" y="7050"/>
                  </a:lnTo>
                  <a:lnTo>
                    <a:pt x="4009" y="6324"/>
                  </a:lnTo>
                  <a:lnTo>
                    <a:pt x="5599" y="5564"/>
                  </a:lnTo>
                  <a:lnTo>
                    <a:pt x="6221" y="5253"/>
                  </a:lnTo>
                  <a:lnTo>
                    <a:pt x="6670" y="5011"/>
                  </a:lnTo>
                  <a:lnTo>
                    <a:pt x="6877" y="4873"/>
                  </a:lnTo>
                  <a:lnTo>
                    <a:pt x="7084" y="4700"/>
                  </a:lnTo>
                  <a:lnTo>
                    <a:pt x="7292" y="4527"/>
                  </a:lnTo>
                  <a:lnTo>
                    <a:pt x="7430" y="4355"/>
                  </a:lnTo>
                  <a:lnTo>
                    <a:pt x="7568" y="4147"/>
                  </a:lnTo>
                  <a:lnTo>
                    <a:pt x="7706" y="3940"/>
                  </a:lnTo>
                  <a:lnTo>
                    <a:pt x="7914" y="3525"/>
                  </a:lnTo>
                  <a:lnTo>
                    <a:pt x="8017" y="3076"/>
                  </a:lnTo>
                  <a:lnTo>
                    <a:pt x="8087" y="2627"/>
                  </a:lnTo>
                  <a:lnTo>
                    <a:pt x="8121" y="2212"/>
                  </a:lnTo>
                  <a:lnTo>
                    <a:pt x="8087" y="1763"/>
                  </a:lnTo>
                  <a:lnTo>
                    <a:pt x="8017" y="1383"/>
                  </a:lnTo>
                  <a:lnTo>
                    <a:pt x="7914" y="1003"/>
                  </a:lnTo>
                  <a:lnTo>
                    <a:pt x="7776" y="657"/>
                  </a:lnTo>
                  <a:lnTo>
                    <a:pt x="7637" y="381"/>
                  </a:lnTo>
                  <a:lnTo>
                    <a:pt x="7499" y="173"/>
                  </a:lnTo>
                  <a:lnTo>
                    <a:pt x="7326" y="35"/>
                  </a:lnTo>
                  <a:lnTo>
                    <a:pt x="7188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4" name="Google Shape;2503;p11">
              <a:extLst>
                <a:ext uri="{FF2B5EF4-FFF2-40B4-BE49-F238E27FC236}">
                  <a16:creationId xmlns:a16="http://schemas.microsoft.com/office/drawing/2014/main" id="{4CBF9AAD-9AAE-C898-F956-DC1C670519FB}"/>
                </a:ext>
              </a:extLst>
            </p:cNvPr>
            <p:cNvSpPr/>
            <p:nvPr/>
          </p:nvSpPr>
          <p:spPr>
            <a:xfrm>
              <a:off x="4577150" y="3092475"/>
              <a:ext cx="749025" cy="341275"/>
            </a:xfrm>
            <a:custGeom>
              <a:avLst/>
              <a:gdLst/>
              <a:ahLst/>
              <a:cxnLst/>
              <a:rect l="l" t="t" r="r" b="b"/>
              <a:pathLst>
                <a:path w="29961" h="13651" extrusionOk="0">
                  <a:moveTo>
                    <a:pt x="27403" y="0"/>
                  </a:moveTo>
                  <a:lnTo>
                    <a:pt x="27300" y="35"/>
                  </a:lnTo>
                  <a:lnTo>
                    <a:pt x="27230" y="69"/>
                  </a:lnTo>
                  <a:lnTo>
                    <a:pt x="26194" y="899"/>
                  </a:lnTo>
                  <a:lnTo>
                    <a:pt x="24881" y="1901"/>
                  </a:lnTo>
                  <a:lnTo>
                    <a:pt x="23326" y="3041"/>
                  </a:lnTo>
                  <a:lnTo>
                    <a:pt x="21701" y="4147"/>
                  </a:lnTo>
                  <a:lnTo>
                    <a:pt x="20872" y="4700"/>
                  </a:lnTo>
                  <a:lnTo>
                    <a:pt x="20043" y="5184"/>
                  </a:lnTo>
                  <a:lnTo>
                    <a:pt x="19248" y="5633"/>
                  </a:lnTo>
                  <a:lnTo>
                    <a:pt x="18522" y="6048"/>
                  </a:lnTo>
                  <a:lnTo>
                    <a:pt x="17831" y="6359"/>
                  </a:lnTo>
                  <a:lnTo>
                    <a:pt x="17175" y="6635"/>
                  </a:lnTo>
                  <a:lnTo>
                    <a:pt x="16622" y="6773"/>
                  </a:lnTo>
                  <a:lnTo>
                    <a:pt x="16380" y="6808"/>
                  </a:lnTo>
                  <a:lnTo>
                    <a:pt x="16172" y="6843"/>
                  </a:lnTo>
                  <a:lnTo>
                    <a:pt x="15896" y="6808"/>
                  </a:lnTo>
                  <a:lnTo>
                    <a:pt x="15516" y="6704"/>
                  </a:lnTo>
                  <a:lnTo>
                    <a:pt x="15032" y="6601"/>
                  </a:lnTo>
                  <a:lnTo>
                    <a:pt x="14479" y="6393"/>
                  </a:lnTo>
                  <a:lnTo>
                    <a:pt x="13857" y="6186"/>
                  </a:lnTo>
                  <a:lnTo>
                    <a:pt x="13201" y="5909"/>
                  </a:lnTo>
                  <a:lnTo>
                    <a:pt x="12440" y="5564"/>
                  </a:lnTo>
                  <a:lnTo>
                    <a:pt x="11680" y="5184"/>
                  </a:lnTo>
                  <a:lnTo>
                    <a:pt x="10851" y="4769"/>
                  </a:lnTo>
                  <a:lnTo>
                    <a:pt x="10021" y="4320"/>
                  </a:lnTo>
                  <a:lnTo>
                    <a:pt x="9192" y="3802"/>
                  </a:lnTo>
                  <a:lnTo>
                    <a:pt x="8328" y="3214"/>
                  </a:lnTo>
                  <a:lnTo>
                    <a:pt x="7464" y="2592"/>
                  </a:lnTo>
                  <a:lnTo>
                    <a:pt x="6635" y="1936"/>
                  </a:lnTo>
                  <a:lnTo>
                    <a:pt x="5840" y="1244"/>
                  </a:lnTo>
                  <a:lnTo>
                    <a:pt x="5080" y="484"/>
                  </a:lnTo>
                  <a:lnTo>
                    <a:pt x="4251" y="588"/>
                  </a:lnTo>
                  <a:lnTo>
                    <a:pt x="3387" y="691"/>
                  </a:lnTo>
                  <a:lnTo>
                    <a:pt x="2419" y="864"/>
                  </a:lnTo>
                  <a:lnTo>
                    <a:pt x="1935" y="1002"/>
                  </a:lnTo>
                  <a:lnTo>
                    <a:pt x="1451" y="1141"/>
                  </a:lnTo>
                  <a:lnTo>
                    <a:pt x="1037" y="1313"/>
                  </a:lnTo>
                  <a:lnTo>
                    <a:pt x="657" y="1521"/>
                  </a:lnTo>
                  <a:lnTo>
                    <a:pt x="346" y="1728"/>
                  </a:lnTo>
                  <a:lnTo>
                    <a:pt x="242" y="1866"/>
                  </a:lnTo>
                  <a:lnTo>
                    <a:pt x="138" y="2005"/>
                  </a:lnTo>
                  <a:lnTo>
                    <a:pt x="69" y="2143"/>
                  </a:lnTo>
                  <a:lnTo>
                    <a:pt x="35" y="2281"/>
                  </a:lnTo>
                  <a:lnTo>
                    <a:pt x="0" y="2419"/>
                  </a:lnTo>
                  <a:lnTo>
                    <a:pt x="35" y="2592"/>
                  </a:lnTo>
                  <a:lnTo>
                    <a:pt x="69" y="2799"/>
                  </a:lnTo>
                  <a:lnTo>
                    <a:pt x="173" y="3007"/>
                  </a:lnTo>
                  <a:lnTo>
                    <a:pt x="518" y="3594"/>
                  </a:lnTo>
                  <a:lnTo>
                    <a:pt x="1002" y="4285"/>
                  </a:lnTo>
                  <a:lnTo>
                    <a:pt x="1624" y="5080"/>
                  </a:lnTo>
                  <a:lnTo>
                    <a:pt x="2384" y="5944"/>
                  </a:lnTo>
                  <a:lnTo>
                    <a:pt x="3248" y="6877"/>
                  </a:lnTo>
                  <a:lnTo>
                    <a:pt x="4216" y="7845"/>
                  </a:lnTo>
                  <a:lnTo>
                    <a:pt x="5287" y="8778"/>
                  </a:lnTo>
                  <a:lnTo>
                    <a:pt x="6428" y="9745"/>
                  </a:lnTo>
                  <a:lnTo>
                    <a:pt x="7602" y="10609"/>
                  </a:lnTo>
                  <a:lnTo>
                    <a:pt x="8224" y="11058"/>
                  </a:lnTo>
                  <a:lnTo>
                    <a:pt x="8847" y="11439"/>
                  </a:lnTo>
                  <a:lnTo>
                    <a:pt x="9503" y="11819"/>
                  </a:lnTo>
                  <a:lnTo>
                    <a:pt x="10125" y="12164"/>
                  </a:lnTo>
                  <a:lnTo>
                    <a:pt x="10782" y="12510"/>
                  </a:lnTo>
                  <a:lnTo>
                    <a:pt x="11438" y="12786"/>
                  </a:lnTo>
                  <a:lnTo>
                    <a:pt x="12060" y="13028"/>
                  </a:lnTo>
                  <a:lnTo>
                    <a:pt x="12717" y="13235"/>
                  </a:lnTo>
                  <a:lnTo>
                    <a:pt x="13373" y="13408"/>
                  </a:lnTo>
                  <a:lnTo>
                    <a:pt x="14030" y="13546"/>
                  </a:lnTo>
                  <a:lnTo>
                    <a:pt x="14652" y="13616"/>
                  </a:lnTo>
                  <a:lnTo>
                    <a:pt x="15274" y="13650"/>
                  </a:lnTo>
                  <a:lnTo>
                    <a:pt x="15585" y="13616"/>
                  </a:lnTo>
                  <a:lnTo>
                    <a:pt x="15931" y="13581"/>
                  </a:lnTo>
                  <a:lnTo>
                    <a:pt x="16311" y="13477"/>
                  </a:lnTo>
                  <a:lnTo>
                    <a:pt x="16691" y="13339"/>
                  </a:lnTo>
                  <a:lnTo>
                    <a:pt x="17624" y="12959"/>
                  </a:lnTo>
                  <a:lnTo>
                    <a:pt x="18626" y="12475"/>
                  </a:lnTo>
                  <a:lnTo>
                    <a:pt x="19732" y="11922"/>
                  </a:lnTo>
                  <a:lnTo>
                    <a:pt x="20872" y="11300"/>
                  </a:lnTo>
                  <a:lnTo>
                    <a:pt x="22047" y="10609"/>
                  </a:lnTo>
                  <a:lnTo>
                    <a:pt x="23222" y="9883"/>
                  </a:lnTo>
                  <a:lnTo>
                    <a:pt x="25468" y="8432"/>
                  </a:lnTo>
                  <a:lnTo>
                    <a:pt x="27438" y="7084"/>
                  </a:lnTo>
                  <a:lnTo>
                    <a:pt x="28924" y="6048"/>
                  </a:lnTo>
                  <a:lnTo>
                    <a:pt x="29719" y="5426"/>
                  </a:lnTo>
                  <a:lnTo>
                    <a:pt x="29788" y="5357"/>
                  </a:lnTo>
                  <a:lnTo>
                    <a:pt x="29857" y="5218"/>
                  </a:lnTo>
                  <a:lnTo>
                    <a:pt x="29926" y="5080"/>
                  </a:lnTo>
                  <a:lnTo>
                    <a:pt x="29960" y="4907"/>
                  </a:lnTo>
                  <a:lnTo>
                    <a:pt x="29960" y="4562"/>
                  </a:lnTo>
                  <a:lnTo>
                    <a:pt x="29891" y="4113"/>
                  </a:lnTo>
                  <a:lnTo>
                    <a:pt x="29788" y="3629"/>
                  </a:lnTo>
                  <a:lnTo>
                    <a:pt x="29649" y="3145"/>
                  </a:lnTo>
                  <a:lnTo>
                    <a:pt x="29442" y="2627"/>
                  </a:lnTo>
                  <a:lnTo>
                    <a:pt x="29235" y="2143"/>
                  </a:lnTo>
                  <a:lnTo>
                    <a:pt x="28958" y="1659"/>
                  </a:lnTo>
                  <a:lnTo>
                    <a:pt x="28716" y="1210"/>
                  </a:lnTo>
                  <a:lnTo>
                    <a:pt x="28440" y="795"/>
                  </a:lnTo>
                  <a:lnTo>
                    <a:pt x="28164" y="450"/>
                  </a:lnTo>
                  <a:lnTo>
                    <a:pt x="27887" y="208"/>
                  </a:lnTo>
                  <a:lnTo>
                    <a:pt x="27645" y="35"/>
                  </a:lnTo>
                  <a:lnTo>
                    <a:pt x="27542" y="0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5" name="Google Shape;2504;p11">
              <a:extLst>
                <a:ext uri="{FF2B5EF4-FFF2-40B4-BE49-F238E27FC236}">
                  <a16:creationId xmlns:a16="http://schemas.microsoft.com/office/drawing/2014/main" id="{F8597CC5-B0EB-91A0-34D0-5C1DE8372DB7}"/>
                </a:ext>
              </a:extLst>
            </p:cNvPr>
            <p:cNvSpPr/>
            <p:nvPr/>
          </p:nvSpPr>
          <p:spPr>
            <a:xfrm>
              <a:off x="3670900" y="2765050"/>
              <a:ext cx="137375" cy="338675"/>
            </a:xfrm>
            <a:custGeom>
              <a:avLst/>
              <a:gdLst/>
              <a:ahLst/>
              <a:cxnLst/>
              <a:rect l="l" t="t" r="r" b="b"/>
              <a:pathLst>
                <a:path w="5495" h="13547" extrusionOk="0">
                  <a:moveTo>
                    <a:pt x="2765" y="0"/>
                  </a:moveTo>
                  <a:lnTo>
                    <a:pt x="2696" y="35"/>
                  </a:lnTo>
                  <a:lnTo>
                    <a:pt x="2592" y="208"/>
                  </a:lnTo>
                  <a:lnTo>
                    <a:pt x="2523" y="415"/>
                  </a:lnTo>
                  <a:lnTo>
                    <a:pt x="2488" y="657"/>
                  </a:lnTo>
                  <a:lnTo>
                    <a:pt x="2454" y="968"/>
                  </a:lnTo>
                  <a:lnTo>
                    <a:pt x="2488" y="1694"/>
                  </a:lnTo>
                  <a:lnTo>
                    <a:pt x="2592" y="3145"/>
                  </a:lnTo>
                  <a:lnTo>
                    <a:pt x="2592" y="3767"/>
                  </a:lnTo>
                  <a:lnTo>
                    <a:pt x="2558" y="3974"/>
                  </a:lnTo>
                  <a:lnTo>
                    <a:pt x="2488" y="4113"/>
                  </a:lnTo>
                  <a:lnTo>
                    <a:pt x="2385" y="4251"/>
                  </a:lnTo>
                  <a:lnTo>
                    <a:pt x="2247" y="4355"/>
                  </a:lnTo>
                  <a:lnTo>
                    <a:pt x="2074" y="4424"/>
                  </a:lnTo>
                  <a:lnTo>
                    <a:pt x="1866" y="4458"/>
                  </a:lnTo>
                  <a:lnTo>
                    <a:pt x="1452" y="4527"/>
                  </a:lnTo>
                  <a:lnTo>
                    <a:pt x="1037" y="4562"/>
                  </a:lnTo>
                  <a:lnTo>
                    <a:pt x="830" y="4596"/>
                  </a:lnTo>
                  <a:lnTo>
                    <a:pt x="622" y="4666"/>
                  </a:lnTo>
                  <a:lnTo>
                    <a:pt x="450" y="4735"/>
                  </a:lnTo>
                  <a:lnTo>
                    <a:pt x="277" y="4873"/>
                  </a:lnTo>
                  <a:lnTo>
                    <a:pt x="173" y="5011"/>
                  </a:lnTo>
                  <a:lnTo>
                    <a:pt x="70" y="5218"/>
                  </a:lnTo>
                  <a:lnTo>
                    <a:pt x="0" y="5495"/>
                  </a:lnTo>
                  <a:lnTo>
                    <a:pt x="0" y="5806"/>
                  </a:lnTo>
                  <a:lnTo>
                    <a:pt x="35" y="5944"/>
                  </a:lnTo>
                  <a:lnTo>
                    <a:pt x="70" y="6082"/>
                  </a:lnTo>
                  <a:lnTo>
                    <a:pt x="173" y="6359"/>
                  </a:lnTo>
                  <a:lnTo>
                    <a:pt x="346" y="6635"/>
                  </a:lnTo>
                  <a:lnTo>
                    <a:pt x="553" y="6946"/>
                  </a:lnTo>
                  <a:lnTo>
                    <a:pt x="761" y="7326"/>
                  </a:lnTo>
                  <a:lnTo>
                    <a:pt x="1003" y="7776"/>
                  </a:lnTo>
                  <a:lnTo>
                    <a:pt x="1210" y="8329"/>
                  </a:lnTo>
                  <a:lnTo>
                    <a:pt x="1383" y="8985"/>
                  </a:lnTo>
                  <a:lnTo>
                    <a:pt x="1486" y="9503"/>
                  </a:lnTo>
                  <a:lnTo>
                    <a:pt x="1555" y="10125"/>
                  </a:lnTo>
                  <a:lnTo>
                    <a:pt x="1694" y="11508"/>
                  </a:lnTo>
                  <a:lnTo>
                    <a:pt x="1866" y="12752"/>
                  </a:lnTo>
                  <a:lnTo>
                    <a:pt x="1936" y="13201"/>
                  </a:lnTo>
                  <a:lnTo>
                    <a:pt x="2005" y="13339"/>
                  </a:lnTo>
                  <a:lnTo>
                    <a:pt x="2039" y="13443"/>
                  </a:lnTo>
                  <a:lnTo>
                    <a:pt x="2143" y="13512"/>
                  </a:lnTo>
                  <a:lnTo>
                    <a:pt x="2281" y="13547"/>
                  </a:lnTo>
                  <a:lnTo>
                    <a:pt x="2488" y="13547"/>
                  </a:lnTo>
                  <a:lnTo>
                    <a:pt x="2696" y="13512"/>
                  </a:lnTo>
                  <a:lnTo>
                    <a:pt x="3283" y="13374"/>
                  </a:lnTo>
                  <a:lnTo>
                    <a:pt x="3871" y="13166"/>
                  </a:lnTo>
                  <a:lnTo>
                    <a:pt x="4977" y="12752"/>
                  </a:lnTo>
                  <a:lnTo>
                    <a:pt x="5495" y="12579"/>
                  </a:lnTo>
                  <a:lnTo>
                    <a:pt x="5322" y="11784"/>
                  </a:lnTo>
                  <a:lnTo>
                    <a:pt x="5115" y="10851"/>
                  </a:lnTo>
                  <a:lnTo>
                    <a:pt x="4838" y="9918"/>
                  </a:lnTo>
                  <a:lnTo>
                    <a:pt x="4527" y="8985"/>
                  </a:lnTo>
                  <a:lnTo>
                    <a:pt x="4251" y="8156"/>
                  </a:lnTo>
                  <a:lnTo>
                    <a:pt x="4044" y="7326"/>
                  </a:lnTo>
                  <a:lnTo>
                    <a:pt x="3940" y="6877"/>
                  </a:lnTo>
                  <a:lnTo>
                    <a:pt x="3905" y="6463"/>
                  </a:lnTo>
                  <a:lnTo>
                    <a:pt x="3871" y="6048"/>
                  </a:lnTo>
                  <a:lnTo>
                    <a:pt x="3905" y="5633"/>
                  </a:lnTo>
                  <a:lnTo>
                    <a:pt x="3940" y="4977"/>
                  </a:lnTo>
                  <a:lnTo>
                    <a:pt x="3871" y="4147"/>
                  </a:lnTo>
                  <a:lnTo>
                    <a:pt x="3802" y="3249"/>
                  </a:lnTo>
                  <a:lnTo>
                    <a:pt x="3663" y="2316"/>
                  </a:lnTo>
                  <a:lnTo>
                    <a:pt x="3491" y="1452"/>
                  </a:lnTo>
                  <a:lnTo>
                    <a:pt x="3352" y="726"/>
                  </a:lnTo>
                  <a:lnTo>
                    <a:pt x="3180" y="242"/>
                  </a:lnTo>
                  <a:lnTo>
                    <a:pt x="3111" y="70"/>
                  </a:lnTo>
                  <a:lnTo>
                    <a:pt x="3041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6" name="Google Shape;2505;p11">
              <a:extLst>
                <a:ext uri="{FF2B5EF4-FFF2-40B4-BE49-F238E27FC236}">
                  <a16:creationId xmlns:a16="http://schemas.microsoft.com/office/drawing/2014/main" id="{BD961CE6-4207-0A8C-F2FF-5AF1B2050A5D}"/>
                </a:ext>
              </a:extLst>
            </p:cNvPr>
            <p:cNvSpPr/>
            <p:nvPr/>
          </p:nvSpPr>
          <p:spPr>
            <a:xfrm>
              <a:off x="3986225" y="5196100"/>
              <a:ext cx="131350" cy="218575"/>
            </a:xfrm>
            <a:custGeom>
              <a:avLst/>
              <a:gdLst/>
              <a:ahLst/>
              <a:cxnLst/>
              <a:rect l="l" t="t" r="r" b="b"/>
              <a:pathLst>
                <a:path w="5254" h="8743" extrusionOk="0">
                  <a:moveTo>
                    <a:pt x="312" y="0"/>
                  </a:moveTo>
                  <a:lnTo>
                    <a:pt x="139" y="2454"/>
                  </a:lnTo>
                  <a:lnTo>
                    <a:pt x="1" y="4527"/>
                  </a:lnTo>
                  <a:lnTo>
                    <a:pt x="1" y="5460"/>
                  </a:lnTo>
                  <a:lnTo>
                    <a:pt x="1" y="6220"/>
                  </a:lnTo>
                  <a:lnTo>
                    <a:pt x="1210" y="8743"/>
                  </a:lnTo>
                  <a:lnTo>
                    <a:pt x="4597" y="6773"/>
                  </a:lnTo>
                  <a:lnTo>
                    <a:pt x="5253" y="10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7" name="Google Shape;2506;p11">
              <a:extLst>
                <a:ext uri="{FF2B5EF4-FFF2-40B4-BE49-F238E27FC236}">
                  <a16:creationId xmlns:a16="http://schemas.microsoft.com/office/drawing/2014/main" id="{31D52557-1720-98A9-18B4-7E16D465940C}"/>
                </a:ext>
              </a:extLst>
            </p:cNvPr>
            <p:cNvSpPr/>
            <p:nvPr/>
          </p:nvSpPr>
          <p:spPr>
            <a:xfrm>
              <a:off x="3751250" y="5332600"/>
              <a:ext cx="366325" cy="139975"/>
            </a:xfrm>
            <a:custGeom>
              <a:avLst/>
              <a:gdLst/>
              <a:ahLst/>
              <a:cxnLst/>
              <a:rect l="l" t="t" r="r" b="b"/>
              <a:pathLst>
                <a:path w="14653" h="5599" extrusionOk="0">
                  <a:moveTo>
                    <a:pt x="8881" y="0"/>
                  </a:moveTo>
                  <a:lnTo>
                    <a:pt x="8777" y="35"/>
                  </a:lnTo>
                  <a:lnTo>
                    <a:pt x="8708" y="104"/>
                  </a:lnTo>
                  <a:lnTo>
                    <a:pt x="8674" y="242"/>
                  </a:lnTo>
                  <a:lnTo>
                    <a:pt x="8639" y="588"/>
                  </a:lnTo>
                  <a:lnTo>
                    <a:pt x="8605" y="829"/>
                  </a:lnTo>
                  <a:lnTo>
                    <a:pt x="8536" y="1106"/>
                  </a:lnTo>
                  <a:lnTo>
                    <a:pt x="8466" y="1244"/>
                  </a:lnTo>
                  <a:lnTo>
                    <a:pt x="8397" y="1382"/>
                  </a:lnTo>
                  <a:lnTo>
                    <a:pt x="8259" y="1521"/>
                  </a:lnTo>
                  <a:lnTo>
                    <a:pt x="8086" y="1659"/>
                  </a:lnTo>
                  <a:lnTo>
                    <a:pt x="7706" y="1866"/>
                  </a:lnTo>
                  <a:lnTo>
                    <a:pt x="7222" y="2073"/>
                  </a:lnTo>
                  <a:lnTo>
                    <a:pt x="6670" y="2246"/>
                  </a:lnTo>
                  <a:lnTo>
                    <a:pt x="6082" y="2384"/>
                  </a:lnTo>
                  <a:lnTo>
                    <a:pt x="5426" y="2488"/>
                  </a:lnTo>
                  <a:lnTo>
                    <a:pt x="4734" y="2557"/>
                  </a:lnTo>
                  <a:lnTo>
                    <a:pt x="3387" y="2695"/>
                  </a:lnTo>
                  <a:lnTo>
                    <a:pt x="2177" y="2799"/>
                  </a:lnTo>
                  <a:lnTo>
                    <a:pt x="1175" y="2834"/>
                  </a:lnTo>
                  <a:lnTo>
                    <a:pt x="588" y="2868"/>
                  </a:lnTo>
                  <a:lnTo>
                    <a:pt x="484" y="2937"/>
                  </a:lnTo>
                  <a:lnTo>
                    <a:pt x="380" y="3006"/>
                  </a:lnTo>
                  <a:lnTo>
                    <a:pt x="277" y="3145"/>
                  </a:lnTo>
                  <a:lnTo>
                    <a:pt x="173" y="3318"/>
                  </a:lnTo>
                  <a:lnTo>
                    <a:pt x="104" y="3490"/>
                  </a:lnTo>
                  <a:lnTo>
                    <a:pt x="35" y="3732"/>
                  </a:lnTo>
                  <a:lnTo>
                    <a:pt x="35" y="3940"/>
                  </a:lnTo>
                  <a:lnTo>
                    <a:pt x="0" y="4181"/>
                  </a:lnTo>
                  <a:lnTo>
                    <a:pt x="35" y="4423"/>
                  </a:lnTo>
                  <a:lnTo>
                    <a:pt x="138" y="4665"/>
                  </a:lnTo>
                  <a:lnTo>
                    <a:pt x="242" y="4873"/>
                  </a:lnTo>
                  <a:lnTo>
                    <a:pt x="415" y="5045"/>
                  </a:lnTo>
                  <a:lnTo>
                    <a:pt x="657" y="5218"/>
                  </a:lnTo>
                  <a:lnTo>
                    <a:pt x="933" y="5356"/>
                  </a:lnTo>
                  <a:lnTo>
                    <a:pt x="1313" y="5425"/>
                  </a:lnTo>
                  <a:lnTo>
                    <a:pt x="1728" y="5460"/>
                  </a:lnTo>
                  <a:lnTo>
                    <a:pt x="7430" y="5529"/>
                  </a:lnTo>
                  <a:lnTo>
                    <a:pt x="13304" y="5598"/>
                  </a:lnTo>
                  <a:lnTo>
                    <a:pt x="13477" y="5564"/>
                  </a:lnTo>
                  <a:lnTo>
                    <a:pt x="13650" y="5529"/>
                  </a:lnTo>
                  <a:lnTo>
                    <a:pt x="13823" y="5460"/>
                  </a:lnTo>
                  <a:lnTo>
                    <a:pt x="13961" y="5391"/>
                  </a:lnTo>
                  <a:lnTo>
                    <a:pt x="14099" y="5253"/>
                  </a:lnTo>
                  <a:lnTo>
                    <a:pt x="14203" y="5114"/>
                  </a:lnTo>
                  <a:lnTo>
                    <a:pt x="14307" y="4976"/>
                  </a:lnTo>
                  <a:lnTo>
                    <a:pt x="14341" y="4803"/>
                  </a:lnTo>
                  <a:lnTo>
                    <a:pt x="14514" y="4181"/>
                  </a:lnTo>
                  <a:lnTo>
                    <a:pt x="14583" y="3490"/>
                  </a:lnTo>
                  <a:lnTo>
                    <a:pt x="14652" y="2765"/>
                  </a:lnTo>
                  <a:lnTo>
                    <a:pt x="14618" y="2108"/>
                  </a:lnTo>
                  <a:lnTo>
                    <a:pt x="14583" y="1521"/>
                  </a:lnTo>
                  <a:lnTo>
                    <a:pt x="14514" y="1244"/>
                  </a:lnTo>
                  <a:lnTo>
                    <a:pt x="14445" y="1037"/>
                  </a:lnTo>
                  <a:lnTo>
                    <a:pt x="14376" y="864"/>
                  </a:lnTo>
                  <a:lnTo>
                    <a:pt x="14307" y="726"/>
                  </a:lnTo>
                  <a:lnTo>
                    <a:pt x="14203" y="622"/>
                  </a:lnTo>
                  <a:lnTo>
                    <a:pt x="14065" y="588"/>
                  </a:lnTo>
                  <a:lnTo>
                    <a:pt x="13650" y="484"/>
                  </a:lnTo>
                  <a:lnTo>
                    <a:pt x="13166" y="415"/>
                  </a:lnTo>
                  <a:lnTo>
                    <a:pt x="11991" y="380"/>
                  </a:lnTo>
                  <a:lnTo>
                    <a:pt x="11335" y="346"/>
                  </a:lnTo>
                  <a:lnTo>
                    <a:pt x="10609" y="277"/>
                  </a:lnTo>
                  <a:lnTo>
                    <a:pt x="9849" y="173"/>
                  </a:lnTo>
                  <a:lnTo>
                    <a:pt x="90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8" name="Google Shape;2507;p11">
              <a:extLst>
                <a:ext uri="{FF2B5EF4-FFF2-40B4-BE49-F238E27FC236}">
                  <a16:creationId xmlns:a16="http://schemas.microsoft.com/office/drawing/2014/main" id="{85E2F0B8-4240-9444-3D71-07C05365DCB5}"/>
                </a:ext>
              </a:extLst>
            </p:cNvPr>
            <p:cNvSpPr/>
            <p:nvPr/>
          </p:nvSpPr>
          <p:spPr>
            <a:xfrm>
              <a:off x="4654025" y="5114025"/>
              <a:ext cx="162450" cy="235875"/>
            </a:xfrm>
            <a:custGeom>
              <a:avLst/>
              <a:gdLst/>
              <a:ahLst/>
              <a:cxnLst/>
              <a:rect l="l" t="t" r="r" b="b"/>
              <a:pathLst>
                <a:path w="6498" h="9435" extrusionOk="0">
                  <a:moveTo>
                    <a:pt x="4700" y="0"/>
                  </a:moveTo>
                  <a:lnTo>
                    <a:pt x="1" y="1521"/>
                  </a:lnTo>
                  <a:lnTo>
                    <a:pt x="726" y="3871"/>
                  </a:lnTo>
                  <a:lnTo>
                    <a:pt x="1348" y="5840"/>
                  </a:lnTo>
                  <a:lnTo>
                    <a:pt x="1694" y="6739"/>
                  </a:lnTo>
                  <a:lnTo>
                    <a:pt x="1970" y="7465"/>
                  </a:lnTo>
                  <a:lnTo>
                    <a:pt x="4009" y="9434"/>
                  </a:lnTo>
                  <a:lnTo>
                    <a:pt x="6497" y="6497"/>
                  </a:lnTo>
                  <a:lnTo>
                    <a:pt x="4700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9" name="Google Shape;2508;p11">
              <a:extLst>
                <a:ext uri="{FF2B5EF4-FFF2-40B4-BE49-F238E27FC236}">
                  <a16:creationId xmlns:a16="http://schemas.microsoft.com/office/drawing/2014/main" id="{17E2988B-8A49-93A8-0D12-CC15CA7FCFAA}"/>
                </a:ext>
              </a:extLst>
            </p:cNvPr>
            <p:cNvSpPr/>
            <p:nvPr/>
          </p:nvSpPr>
          <p:spPr>
            <a:xfrm>
              <a:off x="4509750" y="5258300"/>
              <a:ext cx="346450" cy="218575"/>
            </a:xfrm>
            <a:custGeom>
              <a:avLst/>
              <a:gdLst/>
              <a:ahLst/>
              <a:cxnLst/>
              <a:rect l="l" t="t" r="r" b="b"/>
              <a:pathLst>
                <a:path w="13858" h="8743" extrusionOk="0">
                  <a:moveTo>
                    <a:pt x="12061" y="0"/>
                  </a:moveTo>
                  <a:lnTo>
                    <a:pt x="11646" y="35"/>
                  </a:lnTo>
                  <a:lnTo>
                    <a:pt x="11162" y="138"/>
                  </a:lnTo>
                  <a:lnTo>
                    <a:pt x="10022" y="484"/>
                  </a:lnTo>
                  <a:lnTo>
                    <a:pt x="9400" y="657"/>
                  </a:lnTo>
                  <a:lnTo>
                    <a:pt x="8709" y="830"/>
                  </a:lnTo>
                  <a:lnTo>
                    <a:pt x="7949" y="1002"/>
                  </a:lnTo>
                  <a:lnTo>
                    <a:pt x="7154" y="1106"/>
                  </a:lnTo>
                  <a:lnTo>
                    <a:pt x="6981" y="1141"/>
                  </a:lnTo>
                  <a:lnTo>
                    <a:pt x="6877" y="1210"/>
                  </a:lnTo>
                  <a:lnTo>
                    <a:pt x="6877" y="1279"/>
                  </a:lnTo>
                  <a:lnTo>
                    <a:pt x="6877" y="1417"/>
                  </a:lnTo>
                  <a:lnTo>
                    <a:pt x="6947" y="1797"/>
                  </a:lnTo>
                  <a:lnTo>
                    <a:pt x="7016" y="2005"/>
                  </a:lnTo>
                  <a:lnTo>
                    <a:pt x="7050" y="2281"/>
                  </a:lnTo>
                  <a:lnTo>
                    <a:pt x="7050" y="2454"/>
                  </a:lnTo>
                  <a:lnTo>
                    <a:pt x="7016" y="2627"/>
                  </a:lnTo>
                  <a:lnTo>
                    <a:pt x="6947" y="2765"/>
                  </a:lnTo>
                  <a:lnTo>
                    <a:pt x="6843" y="2938"/>
                  </a:lnTo>
                  <a:lnTo>
                    <a:pt x="6566" y="3283"/>
                  </a:lnTo>
                  <a:lnTo>
                    <a:pt x="6186" y="3629"/>
                  </a:lnTo>
                  <a:lnTo>
                    <a:pt x="5737" y="3940"/>
                  </a:lnTo>
                  <a:lnTo>
                    <a:pt x="5219" y="4285"/>
                  </a:lnTo>
                  <a:lnTo>
                    <a:pt x="4631" y="4596"/>
                  </a:lnTo>
                  <a:lnTo>
                    <a:pt x="4044" y="4907"/>
                  </a:lnTo>
                  <a:lnTo>
                    <a:pt x="2800" y="5460"/>
                  </a:lnTo>
                  <a:lnTo>
                    <a:pt x="1694" y="5944"/>
                  </a:lnTo>
                  <a:lnTo>
                    <a:pt x="761" y="6324"/>
                  </a:lnTo>
                  <a:lnTo>
                    <a:pt x="208" y="6566"/>
                  </a:lnTo>
                  <a:lnTo>
                    <a:pt x="139" y="6635"/>
                  </a:lnTo>
                  <a:lnTo>
                    <a:pt x="70" y="6739"/>
                  </a:lnTo>
                  <a:lnTo>
                    <a:pt x="35" y="6912"/>
                  </a:lnTo>
                  <a:lnTo>
                    <a:pt x="1" y="7084"/>
                  </a:lnTo>
                  <a:lnTo>
                    <a:pt x="1" y="7292"/>
                  </a:lnTo>
                  <a:lnTo>
                    <a:pt x="35" y="7499"/>
                  </a:lnTo>
                  <a:lnTo>
                    <a:pt x="104" y="7741"/>
                  </a:lnTo>
                  <a:lnTo>
                    <a:pt x="173" y="7948"/>
                  </a:lnTo>
                  <a:lnTo>
                    <a:pt x="277" y="8156"/>
                  </a:lnTo>
                  <a:lnTo>
                    <a:pt x="450" y="8363"/>
                  </a:lnTo>
                  <a:lnTo>
                    <a:pt x="623" y="8536"/>
                  </a:lnTo>
                  <a:lnTo>
                    <a:pt x="865" y="8639"/>
                  </a:lnTo>
                  <a:lnTo>
                    <a:pt x="1141" y="8708"/>
                  </a:lnTo>
                  <a:lnTo>
                    <a:pt x="1452" y="8743"/>
                  </a:lnTo>
                  <a:lnTo>
                    <a:pt x="1832" y="8708"/>
                  </a:lnTo>
                  <a:lnTo>
                    <a:pt x="2247" y="8605"/>
                  </a:lnTo>
                  <a:lnTo>
                    <a:pt x="7638" y="6808"/>
                  </a:lnTo>
                  <a:lnTo>
                    <a:pt x="13132" y="4942"/>
                  </a:lnTo>
                  <a:lnTo>
                    <a:pt x="13305" y="4873"/>
                  </a:lnTo>
                  <a:lnTo>
                    <a:pt x="13478" y="4769"/>
                  </a:lnTo>
                  <a:lnTo>
                    <a:pt x="13581" y="4665"/>
                  </a:lnTo>
                  <a:lnTo>
                    <a:pt x="13720" y="4527"/>
                  </a:lnTo>
                  <a:lnTo>
                    <a:pt x="13789" y="4389"/>
                  </a:lnTo>
                  <a:lnTo>
                    <a:pt x="13858" y="4216"/>
                  </a:lnTo>
                  <a:lnTo>
                    <a:pt x="13858" y="4043"/>
                  </a:lnTo>
                  <a:lnTo>
                    <a:pt x="13858" y="3871"/>
                  </a:lnTo>
                  <a:lnTo>
                    <a:pt x="13789" y="3214"/>
                  </a:lnTo>
                  <a:lnTo>
                    <a:pt x="13616" y="2523"/>
                  </a:lnTo>
                  <a:lnTo>
                    <a:pt x="13409" y="1866"/>
                  </a:lnTo>
                  <a:lnTo>
                    <a:pt x="13132" y="1244"/>
                  </a:lnTo>
                  <a:lnTo>
                    <a:pt x="12890" y="691"/>
                  </a:lnTo>
                  <a:lnTo>
                    <a:pt x="12752" y="484"/>
                  </a:lnTo>
                  <a:lnTo>
                    <a:pt x="12579" y="277"/>
                  </a:lnTo>
                  <a:lnTo>
                    <a:pt x="12441" y="138"/>
                  </a:lnTo>
                  <a:lnTo>
                    <a:pt x="12303" y="35"/>
                  </a:lnTo>
                  <a:lnTo>
                    <a:pt x="1219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0" name="Google Shape;2509;p11">
              <a:extLst>
                <a:ext uri="{FF2B5EF4-FFF2-40B4-BE49-F238E27FC236}">
                  <a16:creationId xmlns:a16="http://schemas.microsoft.com/office/drawing/2014/main" id="{5ED51EC4-2A56-E022-B22A-5CBE9034AF1A}"/>
                </a:ext>
              </a:extLst>
            </p:cNvPr>
            <p:cNvSpPr/>
            <p:nvPr/>
          </p:nvSpPr>
          <p:spPr>
            <a:xfrm>
              <a:off x="3969800" y="3703250"/>
              <a:ext cx="854450" cy="1612075"/>
            </a:xfrm>
            <a:custGeom>
              <a:avLst/>
              <a:gdLst/>
              <a:ahLst/>
              <a:cxnLst/>
              <a:rect l="l" t="t" r="r" b="b"/>
              <a:pathLst>
                <a:path w="34178" h="64483" extrusionOk="0">
                  <a:moveTo>
                    <a:pt x="16657" y="1"/>
                  </a:moveTo>
                  <a:lnTo>
                    <a:pt x="12579" y="2247"/>
                  </a:lnTo>
                  <a:lnTo>
                    <a:pt x="12027" y="3767"/>
                  </a:lnTo>
                  <a:lnTo>
                    <a:pt x="11439" y="5599"/>
                  </a:lnTo>
                  <a:lnTo>
                    <a:pt x="10817" y="7672"/>
                  </a:lnTo>
                  <a:lnTo>
                    <a:pt x="10161" y="9953"/>
                  </a:lnTo>
                  <a:lnTo>
                    <a:pt x="9538" y="12337"/>
                  </a:lnTo>
                  <a:lnTo>
                    <a:pt x="8882" y="14825"/>
                  </a:lnTo>
                  <a:lnTo>
                    <a:pt x="7638" y="19940"/>
                  </a:lnTo>
                  <a:lnTo>
                    <a:pt x="6463" y="24881"/>
                  </a:lnTo>
                  <a:lnTo>
                    <a:pt x="5495" y="29305"/>
                  </a:lnTo>
                  <a:lnTo>
                    <a:pt x="4770" y="32795"/>
                  </a:lnTo>
                  <a:lnTo>
                    <a:pt x="4355" y="35006"/>
                  </a:lnTo>
                  <a:lnTo>
                    <a:pt x="1971" y="50142"/>
                  </a:lnTo>
                  <a:lnTo>
                    <a:pt x="588" y="58781"/>
                  </a:lnTo>
                  <a:lnTo>
                    <a:pt x="174" y="61649"/>
                  </a:lnTo>
                  <a:lnTo>
                    <a:pt x="1" y="62893"/>
                  </a:lnTo>
                  <a:lnTo>
                    <a:pt x="1" y="62962"/>
                  </a:lnTo>
                  <a:lnTo>
                    <a:pt x="70" y="63032"/>
                  </a:lnTo>
                  <a:lnTo>
                    <a:pt x="277" y="63170"/>
                  </a:lnTo>
                  <a:lnTo>
                    <a:pt x="623" y="63343"/>
                  </a:lnTo>
                  <a:lnTo>
                    <a:pt x="1038" y="63515"/>
                  </a:lnTo>
                  <a:lnTo>
                    <a:pt x="1556" y="63723"/>
                  </a:lnTo>
                  <a:lnTo>
                    <a:pt x="2109" y="63861"/>
                  </a:lnTo>
                  <a:lnTo>
                    <a:pt x="2731" y="64034"/>
                  </a:lnTo>
                  <a:lnTo>
                    <a:pt x="3387" y="64172"/>
                  </a:lnTo>
                  <a:lnTo>
                    <a:pt x="4044" y="64310"/>
                  </a:lnTo>
                  <a:lnTo>
                    <a:pt x="4701" y="64379"/>
                  </a:lnTo>
                  <a:lnTo>
                    <a:pt x="5323" y="64448"/>
                  </a:lnTo>
                  <a:lnTo>
                    <a:pt x="5910" y="64483"/>
                  </a:lnTo>
                  <a:lnTo>
                    <a:pt x="6394" y="64448"/>
                  </a:lnTo>
                  <a:lnTo>
                    <a:pt x="6843" y="64379"/>
                  </a:lnTo>
                  <a:lnTo>
                    <a:pt x="7016" y="64345"/>
                  </a:lnTo>
                  <a:lnTo>
                    <a:pt x="7189" y="64276"/>
                  </a:lnTo>
                  <a:lnTo>
                    <a:pt x="7292" y="64172"/>
                  </a:lnTo>
                  <a:lnTo>
                    <a:pt x="7396" y="64103"/>
                  </a:lnTo>
                  <a:lnTo>
                    <a:pt x="7465" y="63930"/>
                  </a:lnTo>
                  <a:lnTo>
                    <a:pt x="7569" y="63654"/>
                  </a:lnTo>
                  <a:lnTo>
                    <a:pt x="7742" y="62859"/>
                  </a:lnTo>
                  <a:lnTo>
                    <a:pt x="7949" y="61753"/>
                  </a:lnTo>
                  <a:lnTo>
                    <a:pt x="8156" y="60336"/>
                  </a:lnTo>
                  <a:lnTo>
                    <a:pt x="8605" y="56846"/>
                  </a:lnTo>
                  <a:lnTo>
                    <a:pt x="9158" y="52768"/>
                  </a:lnTo>
                  <a:lnTo>
                    <a:pt x="9469" y="50660"/>
                  </a:lnTo>
                  <a:lnTo>
                    <a:pt x="9780" y="48518"/>
                  </a:lnTo>
                  <a:lnTo>
                    <a:pt x="10126" y="46410"/>
                  </a:lnTo>
                  <a:lnTo>
                    <a:pt x="10472" y="44406"/>
                  </a:lnTo>
                  <a:lnTo>
                    <a:pt x="10852" y="42540"/>
                  </a:lnTo>
                  <a:lnTo>
                    <a:pt x="11266" y="40846"/>
                  </a:lnTo>
                  <a:lnTo>
                    <a:pt x="11474" y="40086"/>
                  </a:lnTo>
                  <a:lnTo>
                    <a:pt x="11681" y="39395"/>
                  </a:lnTo>
                  <a:lnTo>
                    <a:pt x="11888" y="38773"/>
                  </a:lnTo>
                  <a:lnTo>
                    <a:pt x="12130" y="38220"/>
                  </a:lnTo>
                  <a:lnTo>
                    <a:pt x="14618" y="32415"/>
                  </a:lnTo>
                  <a:lnTo>
                    <a:pt x="17797" y="25020"/>
                  </a:lnTo>
                  <a:lnTo>
                    <a:pt x="21633" y="15931"/>
                  </a:lnTo>
                  <a:lnTo>
                    <a:pt x="21219" y="19283"/>
                  </a:lnTo>
                  <a:lnTo>
                    <a:pt x="20769" y="22946"/>
                  </a:lnTo>
                  <a:lnTo>
                    <a:pt x="20320" y="26713"/>
                  </a:lnTo>
                  <a:lnTo>
                    <a:pt x="19905" y="30410"/>
                  </a:lnTo>
                  <a:lnTo>
                    <a:pt x="19733" y="32138"/>
                  </a:lnTo>
                  <a:lnTo>
                    <a:pt x="19594" y="33797"/>
                  </a:lnTo>
                  <a:lnTo>
                    <a:pt x="19491" y="35352"/>
                  </a:lnTo>
                  <a:lnTo>
                    <a:pt x="19456" y="36769"/>
                  </a:lnTo>
                  <a:lnTo>
                    <a:pt x="19456" y="38047"/>
                  </a:lnTo>
                  <a:lnTo>
                    <a:pt x="19525" y="39119"/>
                  </a:lnTo>
                  <a:lnTo>
                    <a:pt x="19560" y="39568"/>
                  </a:lnTo>
                  <a:lnTo>
                    <a:pt x="19629" y="39982"/>
                  </a:lnTo>
                  <a:lnTo>
                    <a:pt x="19733" y="40328"/>
                  </a:lnTo>
                  <a:lnTo>
                    <a:pt x="19836" y="40604"/>
                  </a:lnTo>
                  <a:lnTo>
                    <a:pt x="20838" y="43300"/>
                  </a:lnTo>
                  <a:lnTo>
                    <a:pt x="22013" y="46548"/>
                  </a:lnTo>
                  <a:lnTo>
                    <a:pt x="24501" y="53563"/>
                  </a:lnTo>
                  <a:lnTo>
                    <a:pt x="27370" y="61891"/>
                  </a:lnTo>
                  <a:lnTo>
                    <a:pt x="27577" y="61960"/>
                  </a:lnTo>
                  <a:lnTo>
                    <a:pt x="27784" y="62029"/>
                  </a:lnTo>
                  <a:lnTo>
                    <a:pt x="28268" y="62133"/>
                  </a:lnTo>
                  <a:lnTo>
                    <a:pt x="28786" y="62133"/>
                  </a:lnTo>
                  <a:lnTo>
                    <a:pt x="29339" y="62099"/>
                  </a:lnTo>
                  <a:lnTo>
                    <a:pt x="29927" y="62029"/>
                  </a:lnTo>
                  <a:lnTo>
                    <a:pt x="30549" y="61891"/>
                  </a:lnTo>
                  <a:lnTo>
                    <a:pt x="31136" y="61753"/>
                  </a:lnTo>
                  <a:lnTo>
                    <a:pt x="31724" y="61546"/>
                  </a:lnTo>
                  <a:lnTo>
                    <a:pt x="32277" y="61373"/>
                  </a:lnTo>
                  <a:lnTo>
                    <a:pt x="32795" y="61166"/>
                  </a:lnTo>
                  <a:lnTo>
                    <a:pt x="33624" y="60785"/>
                  </a:lnTo>
                  <a:lnTo>
                    <a:pt x="33901" y="60613"/>
                  </a:lnTo>
                  <a:lnTo>
                    <a:pt x="34108" y="60509"/>
                  </a:lnTo>
                  <a:lnTo>
                    <a:pt x="34177" y="60405"/>
                  </a:lnTo>
                  <a:lnTo>
                    <a:pt x="34177" y="60371"/>
                  </a:lnTo>
                  <a:lnTo>
                    <a:pt x="34143" y="60336"/>
                  </a:lnTo>
                  <a:lnTo>
                    <a:pt x="33452" y="58332"/>
                  </a:lnTo>
                  <a:lnTo>
                    <a:pt x="32622" y="55775"/>
                  </a:lnTo>
                  <a:lnTo>
                    <a:pt x="31724" y="52837"/>
                  </a:lnTo>
                  <a:lnTo>
                    <a:pt x="30791" y="49693"/>
                  </a:lnTo>
                  <a:lnTo>
                    <a:pt x="29892" y="46583"/>
                  </a:lnTo>
                  <a:lnTo>
                    <a:pt x="29132" y="43645"/>
                  </a:lnTo>
                  <a:lnTo>
                    <a:pt x="28821" y="42332"/>
                  </a:lnTo>
                  <a:lnTo>
                    <a:pt x="28545" y="41123"/>
                  </a:lnTo>
                  <a:lnTo>
                    <a:pt x="28337" y="40086"/>
                  </a:lnTo>
                  <a:lnTo>
                    <a:pt x="28199" y="39188"/>
                  </a:lnTo>
                  <a:lnTo>
                    <a:pt x="28199" y="38704"/>
                  </a:lnTo>
                  <a:lnTo>
                    <a:pt x="28199" y="38082"/>
                  </a:lnTo>
                  <a:lnTo>
                    <a:pt x="28233" y="37287"/>
                  </a:lnTo>
                  <a:lnTo>
                    <a:pt x="28303" y="36354"/>
                  </a:lnTo>
                  <a:lnTo>
                    <a:pt x="28510" y="34108"/>
                  </a:lnTo>
                  <a:lnTo>
                    <a:pt x="28821" y="31447"/>
                  </a:lnTo>
                  <a:lnTo>
                    <a:pt x="29201" y="28475"/>
                  </a:lnTo>
                  <a:lnTo>
                    <a:pt x="29650" y="25261"/>
                  </a:lnTo>
                  <a:lnTo>
                    <a:pt x="30687" y="18558"/>
                  </a:lnTo>
                  <a:lnTo>
                    <a:pt x="31689" y="12026"/>
                  </a:lnTo>
                  <a:lnTo>
                    <a:pt x="32622" y="6428"/>
                  </a:lnTo>
                  <a:lnTo>
                    <a:pt x="33521" y="1037"/>
                  </a:lnTo>
                  <a:lnTo>
                    <a:pt x="16657" y="1"/>
                  </a:lnTo>
                  <a:close/>
                </a:path>
              </a:pathLst>
            </a:custGeom>
            <a:solidFill>
              <a:srgbClr val="2D2D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1" name="Google Shape;2510;p11">
              <a:extLst>
                <a:ext uri="{FF2B5EF4-FFF2-40B4-BE49-F238E27FC236}">
                  <a16:creationId xmlns:a16="http://schemas.microsoft.com/office/drawing/2014/main" id="{ED329F3F-A7C3-B468-99FA-F5109301376B}"/>
                </a:ext>
              </a:extLst>
            </p:cNvPr>
            <p:cNvSpPr/>
            <p:nvPr/>
          </p:nvSpPr>
          <p:spPr>
            <a:xfrm>
              <a:off x="3969800" y="3703250"/>
              <a:ext cx="854450" cy="1612075"/>
            </a:xfrm>
            <a:custGeom>
              <a:avLst/>
              <a:gdLst/>
              <a:ahLst/>
              <a:cxnLst/>
              <a:rect l="l" t="t" r="r" b="b"/>
              <a:pathLst>
                <a:path w="34178" h="64483" fill="none" extrusionOk="0">
                  <a:moveTo>
                    <a:pt x="12579" y="2247"/>
                  </a:moveTo>
                  <a:lnTo>
                    <a:pt x="12579" y="2247"/>
                  </a:lnTo>
                  <a:lnTo>
                    <a:pt x="12027" y="3767"/>
                  </a:lnTo>
                  <a:lnTo>
                    <a:pt x="11439" y="5599"/>
                  </a:lnTo>
                  <a:lnTo>
                    <a:pt x="10817" y="7672"/>
                  </a:lnTo>
                  <a:lnTo>
                    <a:pt x="10161" y="9953"/>
                  </a:lnTo>
                  <a:lnTo>
                    <a:pt x="9538" y="12337"/>
                  </a:lnTo>
                  <a:lnTo>
                    <a:pt x="8882" y="14825"/>
                  </a:lnTo>
                  <a:lnTo>
                    <a:pt x="7638" y="19940"/>
                  </a:lnTo>
                  <a:lnTo>
                    <a:pt x="6463" y="24881"/>
                  </a:lnTo>
                  <a:lnTo>
                    <a:pt x="5495" y="29305"/>
                  </a:lnTo>
                  <a:lnTo>
                    <a:pt x="4770" y="32795"/>
                  </a:lnTo>
                  <a:lnTo>
                    <a:pt x="4355" y="35006"/>
                  </a:lnTo>
                  <a:lnTo>
                    <a:pt x="4355" y="35006"/>
                  </a:lnTo>
                  <a:lnTo>
                    <a:pt x="1971" y="50142"/>
                  </a:lnTo>
                  <a:lnTo>
                    <a:pt x="588" y="58781"/>
                  </a:lnTo>
                  <a:lnTo>
                    <a:pt x="174" y="61649"/>
                  </a:lnTo>
                  <a:lnTo>
                    <a:pt x="1" y="62893"/>
                  </a:lnTo>
                  <a:lnTo>
                    <a:pt x="1" y="62893"/>
                  </a:lnTo>
                  <a:lnTo>
                    <a:pt x="1" y="62962"/>
                  </a:lnTo>
                  <a:lnTo>
                    <a:pt x="70" y="63032"/>
                  </a:lnTo>
                  <a:lnTo>
                    <a:pt x="277" y="63170"/>
                  </a:lnTo>
                  <a:lnTo>
                    <a:pt x="623" y="63343"/>
                  </a:lnTo>
                  <a:lnTo>
                    <a:pt x="1038" y="63515"/>
                  </a:lnTo>
                  <a:lnTo>
                    <a:pt x="1556" y="63723"/>
                  </a:lnTo>
                  <a:lnTo>
                    <a:pt x="2109" y="63861"/>
                  </a:lnTo>
                  <a:lnTo>
                    <a:pt x="2731" y="64034"/>
                  </a:lnTo>
                  <a:lnTo>
                    <a:pt x="3387" y="64172"/>
                  </a:lnTo>
                  <a:lnTo>
                    <a:pt x="4044" y="64310"/>
                  </a:lnTo>
                  <a:lnTo>
                    <a:pt x="4701" y="64379"/>
                  </a:lnTo>
                  <a:lnTo>
                    <a:pt x="5323" y="64448"/>
                  </a:lnTo>
                  <a:lnTo>
                    <a:pt x="5910" y="64483"/>
                  </a:lnTo>
                  <a:lnTo>
                    <a:pt x="6394" y="64448"/>
                  </a:lnTo>
                  <a:lnTo>
                    <a:pt x="6843" y="64379"/>
                  </a:lnTo>
                  <a:lnTo>
                    <a:pt x="7016" y="64345"/>
                  </a:lnTo>
                  <a:lnTo>
                    <a:pt x="7189" y="64276"/>
                  </a:lnTo>
                  <a:lnTo>
                    <a:pt x="7292" y="64172"/>
                  </a:lnTo>
                  <a:lnTo>
                    <a:pt x="7396" y="64103"/>
                  </a:lnTo>
                  <a:lnTo>
                    <a:pt x="7396" y="64103"/>
                  </a:lnTo>
                  <a:lnTo>
                    <a:pt x="7465" y="63930"/>
                  </a:lnTo>
                  <a:lnTo>
                    <a:pt x="7569" y="63654"/>
                  </a:lnTo>
                  <a:lnTo>
                    <a:pt x="7742" y="62859"/>
                  </a:lnTo>
                  <a:lnTo>
                    <a:pt x="7949" y="61753"/>
                  </a:lnTo>
                  <a:lnTo>
                    <a:pt x="8156" y="60336"/>
                  </a:lnTo>
                  <a:lnTo>
                    <a:pt x="8605" y="56846"/>
                  </a:lnTo>
                  <a:lnTo>
                    <a:pt x="9158" y="52768"/>
                  </a:lnTo>
                  <a:lnTo>
                    <a:pt x="9469" y="50660"/>
                  </a:lnTo>
                  <a:lnTo>
                    <a:pt x="9780" y="48518"/>
                  </a:lnTo>
                  <a:lnTo>
                    <a:pt x="10126" y="46410"/>
                  </a:lnTo>
                  <a:lnTo>
                    <a:pt x="10472" y="44406"/>
                  </a:lnTo>
                  <a:lnTo>
                    <a:pt x="10852" y="42540"/>
                  </a:lnTo>
                  <a:lnTo>
                    <a:pt x="11266" y="40846"/>
                  </a:lnTo>
                  <a:lnTo>
                    <a:pt x="11474" y="40086"/>
                  </a:lnTo>
                  <a:lnTo>
                    <a:pt x="11681" y="39395"/>
                  </a:lnTo>
                  <a:lnTo>
                    <a:pt x="11888" y="38773"/>
                  </a:lnTo>
                  <a:lnTo>
                    <a:pt x="12130" y="38220"/>
                  </a:lnTo>
                  <a:lnTo>
                    <a:pt x="12130" y="38220"/>
                  </a:lnTo>
                  <a:lnTo>
                    <a:pt x="14618" y="32415"/>
                  </a:lnTo>
                  <a:lnTo>
                    <a:pt x="17797" y="25020"/>
                  </a:lnTo>
                  <a:lnTo>
                    <a:pt x="21633" y="15931"/>
                  </a:lnTo>
                  <a:lnTo>
                    <a:pt x="21633" y="15931"/>
                  </a:lnTo>
                  <a:lnTo>
                    <a:pt x="21219" y="19283"/>
                  </a:lnTo>
                  <a:lnTo>
                    <a:pt x="20769" y="22946"/>
                  </a:lnTo>
                  <a:lnTo>
                    <a:pt x="20320" y="26713"/>
                  </a:lnTo>
                  <a:lnTo>
                    <a:pt x="19905" y="30410"/>
                  </a:lnTo>
                  <a:lnTo>
                    <a:pt x="19733" y="32138"/>
                  </a:lnTo>
                  <a:lnTo>
                    <a:pt x="19594" y="33797"/>
                  </a:lnTo>
                  <a:lnTo>
                    <a:pt x="19491" y="35352"/>
                  </a:lnTo>
                  <a:lnTo>
                    <a:pt x="19456" y="36769"/>
                  </a:lnTo>
                  <a:lnTo>
                    <a:pt x="19456" y="38047"/>
                  </a:lnTo>
                  <a:lnTo>
                    <a:pt x="19525" y="39119"/>
                  </a:lnTo>
                  <a:lnTo>
                    <a:pt x="19560" y="39568"/>
                  </a:lnTo>
                  <a:lnTo>
                    <a:pt x="19629" y="39982"/>
                  </a:lnTo>
                  <a:lnTo>
                    <a:pt x="19733" y="40328"/>
                  </a:lnTo>
                  <a:lnTo>
                    <a:pt x="19836" y="40604"/>
                  </a:lnTo>
                  <a:lnTo>
                    <a:pt x="19836" y="40604"/>
                  </a:lnTo>
                  <a:lnTo>
                    <a:pt x="20838" y="43300"/>
                  </a:lnTo>
                  <a:lnTo>
                    <a:pt x="22013" y="46548"/>
                  </a:lnTo>
                  <a:lnTo>
                    <a:pt x="24501" y="53563"/>
                  </a:lnTo>
                  <a:lnTo>
                    <a:pt x="27370" y="61891"/>
                  </a:lnTo>
                  <a:lnTo>
                    <a:pt x="27370" y="61891"/>
                  </a:lnTo>
                  <a:lnTo>
                    <a:pt x="27577" y="61960"/>
                  </a:lnTo>
                  <a:lnTo>
                    <a:pt x="27784" y="62029"/>
                  </a:lnTo>
                  <a:lnTo>
                    <a:pt x="28268" y="62133"/>
                  </a:lnTo>
                  <a:lnTo>
                    <a:pt x="28786" y="62133"/>
                  </a:lnTo>
                  <a:lnTo>
                    <a:pt x="29339" y="62099"/>
                  </a:lnTo>
                  <a:lnTo>
                    <a:pt x="29927" y="62029"/>
                  </a:lnTo>
                  <a:lnTo>
                    <a:pt x="30549" y="61891"/>
                  </a:lnTo>
                  <a:lnTo>
                    <a:pt x="31136" y="61753"/>
                  </a:lnTo>
                  <a:lnTo>
                    <a:pt x="31724" y="61546"/>
                  </a:lnTo>
                  <a:lnTo>
                    <a:pt x="32277" y="61373"/>
                  </a:lnTo>
                  <a:lnTo>
                    <a:pt x="32795" y="61166"/>
                  </a:lnTo>
                  <a:lnTo>
                    <a:pt x="33624" y="60785"/>
                  </a:lnTo>
                  <a:lnTo>
                    <a:pt x="33901" y="60613"/>
                  </a:lnTo>
                  <a:lnTo>
                    <a:pt x="34108" y="60509"/>
                  </a:lnTo>
                  <a:lnTo>
                    <a:pt x="34177" y="60405"/>
                  </a:lnTo>
                  <a:lnTo>
                    <a:pt x="34177" y="60371"/>
                  </a:lnTo>
                  <a:lnTo>
                    <a:pt x="34143" y="60336"/>
                  </a:lnTo>
                  <a:lnTo>
                    <a:pt x="34143" y="60336"/>
                  </a:lnTo>
                  <a:lnTo>
                    <a:pt x="33452" y="58332"/>
                  </a:lnTo>
                  <a:lnTo>
                    <a:pt x="32622" y="55775"/>
                  </a:lnTo>
                  <a:lnTo>
                    <a:pt x="31724" y="52837"/>
                  </a:lnTo>
                  <a:lnTo>
                    <a:pt x="30791" y="49693"/>
                  </a:lnTo>
                  <a:lnTo>
                    <a:pt x="29892" y="46583"/>
                  </a:lnTo>
                  <a:lnTo>
                    <a:pt x="29132" y="43645"/>
                  </a:lnTo>
                  <a:lnTo>
                    <a:pt x="28821" y="42332"/>
                  </a:lnTo>
                  <a:lnTo>
                    <a:pt x="28545" y="41123"/>
                  </a:lnTo>
                  <a:lnTo>
                    <a:pt x="28337" y="40086"/>
                  </a:lnTo>
                  <a:lnTo>
                    <a:pt x="28199" y="39188"/>
                  </a:lnTo>
                  <a:lnTo>
                    <a:pt x="28199" y="39188"/>
                  </a:lnTo>
                  <a:lnTo>
                    <a:pt x="28199" y="38704"/>
                  </a:lnTo>
                  <a:lnTo>
                    <a:pt x="28199" y="38082"/>
                  </a:lnTo>
                  <a:lnTo>
                    <a:pt x="28233" y="37287"/>
                  </a:lnTo>
                  <a:lnTo>
                    <a:pt x="28303" y="36354"/>
                  </a:lnTo>
                  <a:lnTo>
                    <a:pt x="28510" y="34108"/>
                  </a:lnTo>
                  <a:lnTo>
                    <a:pt x="28821" y="31447"/>
                  </a:lnTo>
                  <a:lnTo>
                    <a:pt x="29201" y="28475"/>
                  </a:lnTo>
                  <a:lnTo>
                    <a:pt x="29650" y="25261"/>
                  </a:lnTo>
                  <a:lnTo>
                    <a:pt x="30687" y="18558"/>
                  </a:lnTo>
                  <a:lnTo>
                    <a:pt x="31689" y="12026"/>
                  </a:lnTo>
                  <a:lnTo>
                    <a:pt x="32622" y="6428"/>
                  </a:lnTo>
                  <a:lnTo>
                    <a:pt x="33521" y="1037"/>
                  </a:lnTo>
                  <a:lnTo>
                    <a:pt x="16657" y="1"/>
                  </a:lnTo>
                  <a:lnTo>
                    <a:pt x="12579" y="224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2" name="Google Shape;2511;p11">
              <a:extLst>
                <a:ext uri="{FF2B5EF4-FFF2-40B4-BE49-F238E27FC236}">
                  <a16:creationId xmlns:a16="http://schemas.microsoft.com/office/drawing/2014/main" id="{8D68D051-F9C4-1CD0-1C40-E2C536D6EEF9}"/>
                </a:ext>
              </a:extLst>
            </p:cNvPr>
            <p:cNvSpPr/>
            <p:nvPr/>
          </p:nvSpPr>
          <p:spPr>
            <a:xfrm>
              <a:off x="4486425" y="4220750"/>
              <a:ext cx="9525" cy="75175"/>
            </a:xfrm>
            <a:custGeom>
              <a:avLst/>
              <a:gdLst/>
              <a:ahLst/>
              <a:cxnLst/>
              <a:rect l="l" t="t" r="r" b="b"/>
              <a:pathLst>
                <a:path w="381" h="3007" extrusionOk="0">
                  <a:moveTo>
                    <a:pt x="381" y="0"/>
                  </a:moveTo>
                  <a:lnTo>
                    <a:pt x="1" y="3006"/>
                  </a:lnTo>
                  <a:lnTo>
                    <a:pt x="208" y="1486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71718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3" name="Google Shape;2512;p11">
              <a:extLst>
                <a:ext uri="{FF2B5EF4-FFF2-40B4-BE49-F238E27FC236}">
                  <a16:creationId xmlns:a16="http://schemas.microsoft.com/office/drawing/2014/main" id="{E0CD232A-515D-BA71-E78C-26F97C23B5FF}"/>
                </a:ext>
              </a:extLst>
            </p:cNvPr>
            <p:cNvSpPr/>
            <p:nvPr/>
          </p:nvSpPr>
          <p:spPr>
            <a:xfrm>
              <a:off x="4486425" y="4220750"/>
              <a:ext cx="9525" cy="75175"/>
            </a:xfrm>
            <a:custGeom>
              <a:avLst/>
              <a:gdLst/>
              <a:ahLst/>
              <a:cxnLst/>
              <a:rect l="l" t="t" r="r" b="b"/>
              <a:pathLst>
                <a:path w="381" h="3007" fill="none" extrusionOk="0">
                  <a:moveTo>
                    <a:pt x="381" y="0"/>
                  </a:moveTo>
                  <a:lnTo>
                    <a:pt x="381" y="0"/>
                  </a:lnTo>
                  <a:lnTo>
                    <a:pt x="208" y="1486"/>
                  </a:lnTo>
                  <a:lnTo>
                    <a:pt x="1" y="3006"/>
                  </a:lnTo>
                  <a:lnTo>
                    <a:pt x="1" y="3006"/>
                  </a:lnTo>
                  <a:lnTo>
                    <a:pt x="38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4" name="Google Shape;2513;p11">
              <a:extLst>
                <a:ext uri="{FF2B5EF4-FFF2-40B4-BE49-F238E27FC236}">
                  <a16:creationId xmlns:a16="http://schemas.microsoft.com/office/drawing/2014/main" id="{C99301B3-CEA6-F4F3-4760-237120830AB0}"/>
                </a:ext>
              </a:extLst>
            </p:cNvPr>
            <p:cNvSpPr/>
            <p:nvPr/>
          </p:nvSpPr>
          <p:spPr>
            <a:xfrm>
              <a:off x="4486425" y="3977125"/>
              <a:ext cx="79500" cy="318800"/>
            </a:xfrm>
            <a:custGeom>
              <a:avLst/>
              <a:gdLst/>
              <a:ahLst/>
              <a:cxnLst/>
              <a:rect l="l" t="t" r="r" b="b"/>
              <a:pathLst>
                <a:path w="3180" h="12752" extrusionOk="0">
                  <a:moveTo>
                    <a:pt x="3180" y="0"/>
                  </a:moveTo>
                  <a:lnTo>
                    <a:pt x="3076" y="380"/>
                  </a:lnTo>
                  <a:lnTo>
                    <a:pt x="2661" y="1451"/>
                  </a:lnTo>
                  <a:lnTo>
                    <a:pt x="2385" y="2177"/>
                  </a:lnTo>
                  <a:lnTo>
                    <a:pt x="2005" y="3041"/>
                  </a:lnTo>
                  <a:lnTo>
                    <a:pt x="1521" y="3974"/>
                  </a:lnTo>
                  <a:lnTo>
                    <a:pt x="968" y="4976"/>
                  </a:lnTo>
                  <a:lnTo>
                    <a:pt x="865" y="6117"/>
                  </a:lnTo>
                  <a:lnTo>
                    <a:pt x="726" y="7292"/>
                  </a:lnTo>
                  <a:lnTo>
                    <a:pt x="381" y="9745"/>
                  </a:lnTo>
                  <a:lnTo>
                    <a:pt x="1" y="12751"/>
                  </a:lnTo>
                  <a:lnTo>
                    <a:pt x="3180" y="0"/>
                  </a:lnTo>
                  <a:close/>
                </a:path>
              </a:pathLst>
            </a:custGeom>
            <a:solidFill>
              <a:srgbClr val="24243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5" name="Google Shape;2514;p11">
              <a:extLst>
                <a:ext uri="{FF2B5EF4-FFF2-40B4-BE49-F238E27FC236}">
                  <a16:creationId xmlns:a16="http://schemas.microsoft.com/office/drawing/2014/main" id="{3ED6E918-AFDC-C69B-4D21-4C0802784B00}"/>
                </a:ext>
              </a:extLst>
            </p:cNvPr>
            <p:cNvSpPr/>
            <p:nvPr/>
          </p:nvSpPr>
          <p:spPr>
            <a:xfrm>
              <a:off x="4486425" y="3977125"/>
              <a:ext cx="79500" cy="318800"/>
            </a:xfrm>
            <a:custGeom>
              <a:avLst/>
              <a:gdLst/>
              <a:ahLst/>
              <a:cxnLst/>
              <a:rect l="l" t="t" r="r" b="b"/>
              <a:pathLst>
                <a:path w="3180" h="12752" fill="none" extrusionOk="0">
                  <a:moveTo>
                    <a:pt x="3180" y="0"/>
                  </a:moveTo>
                  <a:lnTo>
                    <a:pt x="3180" y="0"/>
                  </a:lnTo>
                  <a:lnTo>
                    <a:pt x="3076" y="380"/>
                  </a:lnTo>
                  <a:lnTo>
                    <a:pt x="2661" y="1451"/>
                  </a:lnTo>
                  <a:lnTo>
                    <a:pt x="2385" y="2177"/>
                  </a:lnTo>
                  <a:lnTo>
                    <a:pt x="2005" y="3041"/>
                  </a:lnTo>
                  <a:lnTo>
                    <a:pt x="1521" y="3974"/>
                  </a:lnTo>
                  <a:lnTo>
                    <a:pt x="968" y="4976"/>
                  </a:lnTo>
                  <a:lnTo>
                    <a:pt x="968" y="4976"/>
                  </a:lnTo>
                  <a:lnTo>
                    <a:pt x="865" y="6117"/>
                  </a:lnTo>
                  <a:lnTo>
                    <a:pt x="726" y="7292"/>
                  </a:lnTo>
                  <a:lnTo>
                    <a:pt x="381" y="9745"/>
                  </a:lnTo>
                  <a:lnTo>
                    <a:pt x="381" y="9745"/>
                  </a:lnTo>
                  <a:lnTo>
                    <a:pt x="1" y="12751"/>
                  </a:lnTo>
                  <a:lnTo>
                    <a:pt x="1" y="12751"/>
                  </a:lnTo>
                  <a:lnTo>
                    <a:pt x="1" y="12751"/>
                  </a:lnTo>
                  <a:lnTo>
                    <a:pt x="318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6" name="Google Shape;2515;p11">
              <a:extLst>
                <a:ext uri="{FF2B5EF4-FFF2-40B4-BE49-F238E27FC236}">
                  <a16:creationId xmlns:a16="http://schemas.microsoft.com/office/drawing/2014/main" id="{D73A1611-E9BB-8C64-DE50-8EB5E31CA913}"/>
                </a:ext>
              </a:extLst>
            </p:cNvPr>
            <p:cNvSpPr/>
            <p:nvPr/>
          </p:nvSpPr>
          <p:spPr>
            <a:xfrm>
              <a:off x="4413000" y="2757275"/>
              <a:ext cx="188350" cy="340400"/>
            </a:xfrm>
            <a:custGeom>
              <a:avLst/>
              <a:gdLst/>
              <a:ahLst/>
              <a:cxnLst/>
              <a:rect l="l" t="t" r="r" b="b"/>
              <a:pathLst>
                <a:path w="7534" h="13616" extrusionOk="0">
                  <a:moveTo>
                    <a:pt x="4562" y="0"/>
                  </a:moveTo>
                  <a:lnTo>
                    <a:pt x="4078" y="35"/>
                  </a:lnTo>
                  <a:lnTo>
                    <a:pt x="3629" y="104"/>
                  </a:lnTo>
                  <a:lnTo>
                    <a:pt x="3214" y="208"/>
                  </a:lnTo>
                  <a:lnTo>
                    <a:pt x="2765" y="311"/>
                  </a:lnTo>
                  <a:lnTo>
                    <a:pt x="2385" y="450"/>
                  </a:lnTo>
                  <a:lnTo>
                    <a:pt x="2074" y="622"/>
                  </a:lnTo>
                  <a:lnTo>
                    <a:pt x="1763" y="761"/>
                  </a:lnTo>
                  <a:lnTo>
                    <a:pt x="1555" y="933"/>
                  </a:lnTo>
                  <a:lnTo>
                    <a:pt x="1383" y="1106"/>
                  </a:lnTo>
                  <a:lnTo>
                    <a:pt x="1314" y="1279"/>
                  </a:lnTo>
                  <a:lnTo>
                    <a:pt x="1037" y="2247"/>
                  </a:lnTo>
                  <a:lnTo>
                    <a:pt x="830" y="3007"/>
                  </a:lnTo>
                  <a:lnTo>
                    <a:pt x="588" y="3629"/>
                  </a:lnTo>
                  <a:lnTo>
                    <a:pt x="415" y="4113"/>
                  </a:lnTo>
                  <a:lnTo>
                    <a:pt x="139" y="4735"/>
                  </a:lnTo>
                  <a:lnTo>
                    <a:pt x="35" y="4907"/>
                  </a:lnTo>
                  <a:lnTo>
                    <a:pt x="0" y="5046"/>
                  </a:lnTo>
                  <a:lnTo>
                    <a:pt x="173" y="5149"/>
                  </a:lnTo>
                  <a:lnTo>
                    <a:pt x="311" y="5184"/>
                  </a:lnTo>
                  <a:lnTo>
                    <a:pt x="450" y="5184"/>
                  </a:lnTo>
                  <a:lnTo>
                    <a:pt x="450" y="5253"/>
                  </a:lnTo>
                  <a:lnTo>
                    <a:pt x="450" y="5426"/>
                  </a:lnTo>
                  <a:lnTo>
                    <a:pt x="346" y="6186"/>
                  </a:lnTo>
                  <a:lnTo>
                    <a:pt x="242" y="6946"/>
                  </a:lnTo>
                  <a:lnTo>
                    <a:pt x="242" y="7672"/>
                  </a:lnTo>
                  <a:lnTo>
                    <a:pt x="242" y="7983"/>
                  </a:lnTo>
                  <a:lnTo>
                    <a:pt x="277" y="8259"/>
                  </a:lnTo>
                  <a:lnTo>
                    <a:pt x="346" y="8501"/>
                  </a:lnTo>
                  <a:lnTo>
                    <a:pt x="450" y="8709"/>
                  </a:lnTo>
                  <a:lnTo>
                    <a:pt x="553" y="8881"/>
                  </a:lnTo>
                  <a:lnTo>
                    <a:pt x="726" y="8985"/>
                  </a:lnTo>
                  <a:lnTo>
                    <a:pt x="933" y="9054"/>
                  </a:lnTo>
                  <a:lnTo>
                    <a:pt x="1175" y="9054"/>
                  </a:lnTo>
                  <a:lnTo>
                    <a:pt x="1486" y="9020"/>
                  </a:lnTo>
                  <a:lnTo>
                    <a:pt x="1832" y="8881"/>
                  </a:lnTo>
                  <a:lnTo>
                    <a:pt x="2212" y="8709"/>
                  </a:lnTo>
                  <a:lnTo>
                    <a:pt x="2696" y="8432"/>
                  </a:lnTo>
                  <a:lnTo>
                    <a:pt x="2419" y="10575"/>
                  </a:lnTo>
                  <a:lnTo>
                    <a:pt x="3007" y="13616"/>
                  </a:lnTo>
                  <a:lnTo>
                    <a:pt x="7154" y="13270"/>
                  </a:lnTo>
                  <a:lnTo>
                    <a:pt x="7084" y="12994"/>
                  </a:lnTo>
                  <a:lnTo>
                    <a:pt x="7015" y="12683"/>
                  </a:lnTo>
                  <a:lnTo>
                    <a:pt x="6946" y="12026"/>
                  </a:lnTo>
                  <a:lnTo>
                    <a:pt x="6946" y="11266"/>
                  </a:lnTo>
                  <a:lnTo>
                    <a:pt x="6981" y="10436"/>
                  </a:lnTo>
                  <a:lnTo>
                    <a:pt x="7015" y="9538"/>
                  </a:lnTo>
                  <a:lnTo>
                    <a:pt x="7119" y="8605"/>
                  </a:lnTo>
                  <a:lnTo>
                    <a:pt x="7326" y="6670"/>
                  </a:lnTo>
                  <a:lnTo>
                    <a:pt x="7465" y="4804"/>
                  </a:lnTo>
                  <a:lnTo>
                    <a:pt x="7534" y="3905"/>
                  </a:lnTo>
                  <a:lnTo>
                    <a:pt x="7534" y="3111"/>
                  </a:lnTo>
                  <a:lnTo>
                    <a:pt x="7499" y="2350"/>
                  </a:lnTo>
                  <a:lnTo>
                    <a:pt x="7395" y="1728"/>
                  </a:lnTo>
                  <a:lnTo>
                    <a:pt x="7326" y="1452"/>
                  </a:lnTo>
                  <a:lnTo>
                    <a:pt x="7223" y="1210"/>
                  </a:lnTo>
                  <a:lnTo>
                    <a:pt x="7119" y="1003"/>
                  </a:lnTo>
                  <a:lnTo>
                    <a:pt x="6981" y="830"/>
                  </a:lnTo>
                  <a:lnTo>
                    <a:pt x="6808" y="657"/>
                  </a:lnTo>
                  <a:lnTo>
                    <a:pt x="6670" y="519"/>
                  </a:lnTo>
                  <a:lnTo>
                    <a:pt x="6290" y="311"/>
                  </a:lnTo>
                  <a:lnTo>
                    <a:pt x="5910" y="173"/>
                  </a:lnTo>
                  <a:lnTo>
                    <a:pt x="5460" y="70"/>
                  </a:lnTo>
                  <a:lnTo>
                    <a:pt x="5011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7" name="Google Shape;2516;p11">
              <a:extLst>
                <a:ext uri="{FF2B5EF4-FFF2-40B4-BE49-F238E27FC236}">
                  <a16:creationId xmlns:a16="http://schemas.microsoft.com/office/drawing/2014/main" id="{7BBCE3E3-FAE7-8126-D6B4-E9B947ACAD0E}"/>
                </a:ext>
              </a:extLst>
            </p:cNvPr>
            <p:cNvSpPr/>
            <p:nvPr/>
          </p:nvSpPr>
          <p:spPr>
            <a:xfrm>
              <a:off x="4413000" y="2757275"/>
              <a:ext cx="188350" cy="340400"/>
            </a:xfrm>
            <a:custGeom>
              <a:avLst/>
              <a:gdLst/>
              <a:ahLst/>
              <a:cxnLst/>
              <a:rect l="l" t="t" r="r" b="b"/>
              <a:pathLst>
                <a:path w="7534" h="13616" fill="none" extrusionOk="0">
                  <a:moveTo>
                    <a:pt x="1314" y="1279"/>
                  </a:moveTo>
                  <a:lnTo>
                    <a:pt x="1314" y="1279"/>
                  </a:lnTo>
                  <a:lnTo>
                    <a:pt x="1037" y="2247"/>
                  </a:lnTo>
                  <a:lnTo>
                    <a:pt x="830" y="3007"/>
                  </a:lnTo>
                  <a:lnTo>
                    <a:pt x="588" y="3629"/>
                  </a:lnTo>
                  <a:lnTo>
                    <a:pt x="415" y="4113"/>
                  </a:lnTo>
                  <a:lnTo>
                    <a:pt x="139" y="4735"/>
                  </a:lnTo>
                  <a:lnTo>
                    <a:pt x="35" y="4907"/>
                  </a:lnTo>
                  <a:lnTo>
                    <a:pt x="0" y="5046"/>
                  </a:lnTo>
                  <a:lnTo>
                    <a:pt x="0" y="5046"/>
                  </a:lnTo>
                  <a:lnTo>
                    <a:pt x="173" y="5149"/>
                  </a:lnTo>
                  <a:lnTo>
                    <a:pt x="311" y="5184"/>
                  </a:lnTo>
                  <a:lnTo>
                    <a:pt x="380" y="5184"/>
                  </a:lnTo>
                  <a:lnTo>
                    <a:pt x="450" y="5184"/>
                  </a:lnTo>
                  <a:lnTo>
                    <a:pt x="450" y="5253"/>
                  </a:lnTo>
                  <a:lnTo>
                    <a:pt x="450" y="5426"/>
                  </a:lnTo>
                  <a:lnTo>
                    <a:pt x="346" y="6186"/>
                  </a:lnTo>
                  <a:lnTo>
                    <a:pt x="346" y="6186"/>
                  </a:lnTo>
                  <a:lnTo>
                    <a:pt x="242" y="6946"/>
                  </a:lnTo>
                  <a:lnTo>
                    <a:pt x="242" y="7672"/>
                  </a:lnTo>
                  <a:lnTo>
                    <a:pt x="242" y="7983"/>
                  </a:lnTo>
                  <a:lnTo>
                    <a:pt x="277" y="8259"/>
                  </a:lnTo>
                  <a:lnTo>
                    <a:pt x="346" y="8501"/>
                  </a:lnTo>
                  <a:lnTo>
                    <a:pt x="450" y="8709"/>
                  </a:lnTo>
                  <a:lnTo>
                    <a:pt x="553" y="8881"/>
                  </a:lnTo>
                  <a:lnTo>
                    <a:pt x="726" y="8985"/>
                  </a:lnTo>
                  <a:lnTo>
                    <a:pt x="933" y="9054"/>
                  </a:lnTo>
                  <a:lnTo>
                    <a:pt x="1175" y="9054"/>
                  </a:lnTo>
                  <a:lnTo>
                    <a:pt x="1486" y="9020"/>
                  </a:lnTo>
                  <a:lnTo>
                    <a:pt x="1832" y="8881"/>
                  </a:lnTo>
                  <a:lnTo>
                    <a:pt x="2212" y="8709"/>
                  </a:lnTo>
                  <a:lnTo>
                    <a:pt x="2696" y="8432"/>
                  </a:lnTo>
                  <a:lnTo>
                    <a:pt x="2696" y="8432"/>
                  </a:lnTo>
                  <a:lnTo>
                    <a:pt x="2419" y="10575"/>
                  </a:lnTo>
                  <a:lnTo>
                    <a:pt x="3007" y="13616"/>
                  </a:lnTo>
                  <a:lnTo>
                    <a:pt x="7154" y="13270"/>
                  </a:lnTo>
                  <a:lnTo>
                    <a:pt x="7154" y="13270"/>
                  </a:lnTo>
                  <a:lnTo>
                    <a:pt x="7084" y="12994"/>
                  </a:lnTo>
                  <a:lnTo>
                    <a:pt x="7015" y="12683"/>
                  </a:lnTo>
                  <a:lnTo>
                    <a:pt x="6946" y="12026"/>
                  </a:lnTo>
                  <a:lnTo>
                    <a:pt x="6946" y="11266"/>
                  </a:lnTo>
                  <a:lnTo>
                    <a:pt x="6981" y="10436"/>
                  </a:lnTo>
                  <a:lnTo>
                    <a:pt x="7015" y="9538"/>
                  </a:lnTo>
                  <a:lnTo>
                    <a:pt x="7119" y="8605"/>
                  </a:lnTo>
                  <a:lnTo>
                    <a:pt x="7326" y="6670"/>
                  </a:lnTo>
                  <a:lnTo>
                    <a:pt x="7465" y="4804"/>
                  </a:lnTo>
                  <a:lnTo>
                    <a:pt x="7534" y="3905"/>
                  </a:lnTo>
                  <a:lnTo>
                    <a:pt x="7534" y="3111"/>
                  </a:lnTo>
                  <a:lnTo>
                    <a:pt x="7499" y="2350"/>
                  </a:lnTo>
                  <a:lnTo>
                    <a:pt x="7395" y="1728"/>
                  </a:lnTo>
                  <a:lnTo>
                    <a:pt x="7326" y="1452"/>
                  </a:lnTo>
                  <a:lnTo>
                    <a:pt x="7223" y="1210"/>
                  </a:lnTo>
                  <a:lnTo>
                    <a:pt x="7119" y="1003"/>
                  </a:lnTo>
                  <a:lnTo>
                    <a:pt x="6981" y="830"/>
                  </a:lnTo>
                  <a:lnTo>
                    <a:pt x="6981" y="830"/>
                  </a:lnTo>
                  <a:lnTo>
                    <a:pt x="6808" y="657"/>
                  </a:lnTo>
                  <a:lnTo>
                    <a:pt x="6670" y="519"/>
                  </a:lnTo>
                  <a:lnTo>
                    <a:pt x="6290" y="311"/>
                  </a:lnTo>
                  <a:lnTo>
                    <a:pt x="5910" y="173"/>
                  </a:lnTo>
                  <a:lnTo>
                    <a:pt x="5460" y="70"/>
                  </a:lnTo>
                  <a:lnTo>
                    <a:pt x="5011" y="0"/>
                  </a:lnTo>
                  <a:lnTo>
                    <a:pt x="4562" y="0"/>
                  </a:lnTo>
                  <a:lnTo>
                    <a:pt x="4078" y="35"/>
                  </a:lnTo>
                  <a:lnTo>
                    <a:pt x="3629" y="104"/>
                  </a:lnTo>
                  <a:lnTo>
                    <a:pt x="3214" y="208"/>
                  </a:lnTo>
                  <a:lnTo>
                    <a:pt x="2765" y="311"/>
                  </a:lnTo>
                  <a:lnTo>
                    <a:pt x="2385" y="450"/>
                  </a:lnTo>
                  <a:lnTo>
                    <a:pt x="2074" y="622"/>
                  </a:lnTo>
                  <a:lnTo>
                    <a:pt x="1763" y="761"/>
                  </a:lnTo>
                  <a:lnTo>
                    <a:pt x="1555" y="933"/>
                  </a:lnTo>
                  <a:lnTo>
                    <a:pt x="1383" y="1106"/>
                  </a:lnTo>
                  <a:lnTo>
                    <a:pt x="1314" y="127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8" name="Google Shape;2517;p11">
              <a:extLst>
                <a:ext uri="{FF2B5EF4-FFF2-40B4-BE49-F238E27FC236}">
                  <a16:creationId xmlns:a16="http://schemas.microsoft.com/office/drawing/2014/main" id="{1B303441-3116-1D72-5627-3056E70FAB7C}"/>
                </a:ext>
              </a:extLst>
            </p:cNvPr>
            <p:cNvSpPr/>
            <p:nvPr/>
          </p:nvSpPr>
          <p:spPr>
            <a:xfrm>
              <a:off x="4423375" y="2708025"/>
              <a:ext cx="216000" cy="269575"/>
            </a:xfrm>
            <a:custGeom>
              <a:avLst/>
              <a:gdLst/>
              <a:ahLst/>
              <a:cxnLst/>
              <a:rect l="l" t="t" r="r" b="b"/>
              <a:pathLst>
                <a:path w="8640" h="10783" extrusionOk="0">
                  <a:moveTo>
                    <a:pt x="1624" y="1"/>
                  </a:moveTo>
                  <a:lnTo>
                    <a:pt x="1451" y="35"/>
                  </a:lnTo>
                  <a:lnTo>
                    <a:pt x="1140" y="139"/>
                  </a:lnTo>
                  <a:lnTo>
                    <a:pt x="864" y="277"/>
                  </a:lnTo>
                  <a:lnTo>
                    <a:pt x="587" y="485"/>
                  </a:lnTo>
                  <a:lnTo>
                    <a:pt x="380" y="692"/>
                  </a:lnTo>
                  <a:lnTo>
                    <a:pt x="242" y="865"/>
                  </a:lnTo>
                  <a:lnTo>
                    <a:pt x="173" y="1072"/>
                  </a:lnTo>
                  <a:lnTo>
                    <a:pt x="104" y="1245"/>
                  </a:lnTo>
                  <a:lnTo>
                    <a:pt x="138" y="1418"/>
                  </a:lnTo>
                  <a:lnTo>
                    <a:pt x="138" y="1590"/>
                  </a:lnTo>
                  <a:lnTo>
                    <a:pt x="242" y="1867"/>
                  </a:lnTo>
                  <a:lnTo>
                    <a:pt x="276" y="1970"/>
                  </a:lnTo>
                  <a:lnTo>
                    <a:pt x="173" y="2143"/>
                  </a:lnTo>
                  <a:lnTo>
                    <a:pt x="69" y="2316"/>
                  </a:lnTo>
                  <a:lnTo>
                    <a:pt x="35" y="2454"/>
                  </a:lnTo>
                  <a:lnTo>
                    <a:pt x="0" y="2592"/>
                  </a:lnTo>
                  <a:lnTo>
                    <a:pt x="0" y="2731"/>
                  </a:lnTo>
                  <a:lnTo>
                    <a:pt x="0" y="2869"/>
                  </a:lnTo>
                  <a:lnTo>
                    <a:pt x="138" y="3111"/>
                  </a:lnTo>
                  <a:lnTo>
                    <a:pt x="311" y="3318"/>
                  </a:lnTo>
                  <a:lnTo>
                    <a:pt x="518" y="3560"/>
                  </a:lnTo>
                  <a:lnTo>
                    <a:pt x="1002" y="4009"/>
                  </a:lnTo>
                  <a:lnTo>
                    <a:pt x="1279" y="4251"/>
                  </a:lnTo>
                  <a:lnTo>
                    <a:pt x="1521" y="4389"/>
                  </a:lnTo>
                  <a:lnTo>
                    <a:pt x="1935" y="4597"/>
                  </a:lnTo>
                  <a:lnTo>
                    <a:pt x="2108" y="4700"/>
                  </a:lnTo>
                  <a:lnTo>
                    <a:pt x="2246" y="4839"/>
                  </a:lnTo>
                  <a:lnTo>
                    <a:pt x="2281" y="4908"/>
                  </a:lnTo>
                  <a:lnTo>
                    <a:pt x="2281" y="5011"/>
                  </a:lnTo>
                  <a:lnTo>
                    <a:pt x="2281" y="5288"/>
                  </a:lnTo>
                  <a:lnTo>
                    <a:pt x="2212" y="5806"/>
                  </a:lnTo>
                  <a:lnTo>
                    <a:pt x="2212" y="5979"/>
                  </a:lnTo>
                  <a:lnTo>
                    <a:pt x="2246" y="6117"/>
                  </a:lnTo>
                  <a:lnTo>
                    <a:pt x="2350" y="6221"/>
                  </a:lnTo>
                  <a:lnTo>
                    <a:pt x="2523" y="6290"/>
                  </a:lnTo>
                  <a:lnTo>
                    <a:pt x="2730" y="6359"/>
                  </a:lnTo>
                  <a:lnTo>
                    <a:pt x="3076" y="6394"/>
                  </a:lnTo>
                  <a:lnTo>
                    <a:pt x="3283" y="6255"/>
                  </a:lnTo>
                  <a:lnTo>
                    <a:pt x="3456" y="6152"/>
                  </a:lnTo>
                  <a:lnTo>
                    <a:pt x="3628" y="6117"/>
                  </a:lnTo>
                  <a:lnTo>
                    <a:pt x="3801" y="6117"/>
                  </a:lnTo>
                  <a:lnTo>
                    <a:pt x="3939" y="6152"/>
                  </a:lnTo>
                  <a:lnTo>
                    <a:pt x="4078" y="6255"/>
                  </a:lnTo>
                  <a:lnTo>
                    <a:pt x="4181" y="6359"/>
                  </a:lnTo>
                  <a:lnTo>
                    <a:pt x="4250" y="6497"/>
                  </a:lnTo>
                  <a:lnTo>
                    <a:pt x="4320" y="6670"/>
                  </a:lnTo>
                  <a:lnTo>
                    <a:pt x="4354" y="6843"/>
                  </a:lnTo>
                  <a:lnTo>
                    <a:pt x="4354" y="7016"/>
                  </a:lnTo>
                  <a:lnTo>
                    <a:pt x="4320" y="7223"/>
                  </a:lnTo>
                  <a:lnTo>
                    <a:pt x="4216" y="7396"/>
                  </a:lnTo>
                  <a:lnTo>
                    <a:pt x="4112" y="7569"/>
                  </a:lnTo>
                  <a:lnTo>
                    <a:pt x="3974" y="7741"/>
                  </a:lnTo>
                  <a:lnTo>
                    <a:pt x="3801" y="7880"/>
                  </a:lnTo>
                  <a:lnTo>
                    <a:pt x="3801" y="8225"/>
                  </a:lnTo>
                  <a:lnTo>
                    <a:pt x="3836" y="8674"/>
                  </a:lnTo>
                  <a:lnTo>
                    <a:pt x="3974" y="9124"/>
                  </a:lnTo>
                  <a:lnTo>
                    <a:pt x="4181" y="9573"/>
                  </a:lnTo>
                  <a:lnTo>
                    <a:pt x="4423" y="10022"/>
                  </a:lnTo>
                  <a:lnTo>
                    <a:pt x="4561" y="10195"/>
                  </a:lnTo>
                  <a:lnTo>
                    <a:pt x="4734" y="10368"/>
                  </a:lnTo>
                  <a:lnTo>
                    <a:pt x="4907" y="10540"/>
                  </a:lnTo>
                  <a:lnTo>
                    <a:pt x="5114" y="10644"/>
                  </a:lnTo>
                  <a:lnTo>
                    <a:pt x="5322" y="10748"/>
                  </a:lnTo>
                  <a:lnTo>
                    <a:pt x="5564" y="10782"/>
                  </a:lnTo>
                  <a:lnTo>
                    <a:pt x="5978" y="10782"/>
                  </a:lnTo>
                  <a:lnTo>
                    <a:pt x="6186" y="10713"/>
                  </a:lnTo>
                  <a:lnTo>
                    <a:pt x="6393" y="10610"/>
                  </a:lnTo>
                  <a:lnTo>
                    <a:pt x="6566" y="10471"/>
                  </a:lnTo>
                  <a:lnTo>
                    <a:pt x="6704" y="10299"/>
                  </a:lnTo>
                  <a:lnTo>
                    <a:pt x="6877" y="10126"/>
                  </a:lnTo>
                  <a:lnTo>
                    <a:pt x="6980" y="9918"/>
                  </a:lnTo>
                  <a:lnTo>
                    <a:pt x="7119" y="9677"/>
                  </a:lnTo>
                  <a:lnTo>
                    <a:pt x="7222" y="9435"/>
                  </a:lnTo>
                  <a:lnTo>
                    <a:pt x="7361" y="8882"/>
                  </a:lnTo>
                  <a:lnTo>
                    <a:pt x="7464" y="8294"/>
                  </a:lnTo>
                  <a:lnTo>
                    <a:pt x="7499" y="7672"/>
                  </a:lnTo>
                  <a:lnTo>
                    <a:pt x="7499" y="7396"/>
                  </a:lnTo>
                  <a:lnTo>
                    <a:pt x="7568" y="7119"/>
                  </a:lnTo>
                  <a:lnTo>
                    <a:pt x="7637" y="6912"/>
                  </a:lnTo>
                  <a:lnTo>
                    <a:pt x="7741" y="6705"/>
                  </a:lnTo>
                  <a:lnTo>
                    <a:pt x="8017" y="6359"/>
                  </a:lnTo>
                  <a:lnTo>
                    <a:pt x="8259" y="5979"/>
                  </a:lnTo>
                  <a:lnTo>
                    <a:pt x="8397" y="5772"/>
                  </a:lnTo>
                  <a:lnTo>
                    <a:pt x="8501" y="5564"/>
                  </a:lnTo>
                  <a:lnTo>
                    <a:pt x="8605" y="5288"/>
                  </a:lnTo>
                  <a:lnTo>
                    <a:pt x="8639" y="5011"/>
                  </a:lnTo>
                  <a:lnTo>
                    <a:pt x="8639" y="4666"/>
                  </a:lnTo>
                  <a:lnTo>
                    <a:pt x="8605" y="4286"/>
                  </a:lnTo>
                  <a:lnTo>
                    <a:pt x="8535" y="3837"/>
                  </a:lnTo>
                  <a:lnTo>
                    <a:pt x="8397" y="3318"/>
                  </a:lnTo>
                  <a:lnTo>
                    <a:pt x="8294" y="3042"/>
                  </a:lnTo>
                  <a:lnTo>
                    <a:pt x="8190" y="2834"/>
                  </a:lnTo>
                  <a:lnTo>
                    <a:pt x="8086" y="2662"/>
                  </a:lnTo>
                  <a:lnTo>
                    <a:pt x="7983" y="2558"/>
                  </a:lnTo>
                  <a:lnTo>
                    <a:pt x="7879" y="2454"/>
                  </a:lnTo>
                  <a:lnTo>
                    <a:pt x="7741" y="2420"/>
                  </a:lnTo>
                  <a:lnTo>
                    <a:pt x="7533" y="2351"/>
                  </a:lnTo>
                  <a:lnTo>
                    <a:pt x="7326" y="2247"/>
                  </a:lnTo>
                  <a:lnTo>
                    <a:pt x="7222" y="2212"/>
                  </a:lnTo>
                  <a:lnTo>
                    <a:pt x="7153" y="2109"/>
                  </a:lnTo>
                  <a:lnTo>
                    <a:pt x="7050" y="1970"/>
                  </a:lnTo>
                  <a:lnTo>
                    <a:pt x="6946" y="1832"/>
                  </a:lnTo>
                  <a:lnTo>
                    <a:pt x="6877" y="1590"/>
                  </a:lnTo>
                  <a:lnTo>
                    <a:pt x="6808" y="1314"/>
                  </a:lnTo>
                  <a:lnTo>
                    <a:pt x="6739" y="1037"/>
                  </a:lnTo>
                  <a:lnTo>
                    <a:pt x="6635" y="796"/>
                  </a:lnTo>
                  <a:lnTo>
                    <a:pt x="6531" y="623"/>
                  </a:lnTo>
                  <a:lnTo>
                    <a:pt x="6393" y="450"/>
                  </a:lnTo>
                  <a:lnTo>
                    <a:pt x="6255" y="312"/>
                  </a:lnTo>
                  <a:lnTo>
                    <a:pt x="6117" y="208"/>
                  </a:lnTo>
                  <a:lnTo>
                    <a:pt x="5944" y="104"/>
                  </a:lnTo>
                  <a:lnTo>
                    <a:pt x="5771" y="70"/>
                  </a:lnTo>
                  <a:lnTo>
                    <a:pt x="5564" y="35"/>
                  </a:lnTo>
                  <a:lnTo>
                    <a:pt x="5356" y="35"/>
                  </a:lnTo>
                  <a:lnTo>
                    <a:pt x="5149" y="70"/>
                  </a:lnTo>
                  <a:lnTo>
                    <a:pt x="4942" y="139"/>
                  </a:lnTo>
                  <a:lnTo>
                    <a:pt x="4734" y="208"/>
                  </a:lnTo>
                  <a:lnTo>
                    <a:pt x="4527" y="312"/>
                  </a:lnTo>
                  <a:lnTo>
                    <a:pt x="4320" y="450"/>
                  </a:lnTo>
                  <a:lnTo>
                    <a:pt x="4112" y="623"/>
                  </a:lnTo>
                  <a:lnTo>
                    <a:pt x="3732" y="899"/>
                  </a:lnTo>
                  <a:lnTo>
                    <a:pt x="3456" y="1037"/>
                  </a:lnTo>
                  <a:lnTo>
                    <a:pt x="3352" y="1072"/>
                  </a:lnTo>
                  <a:lnTo>
                    <a:pt x="3248" y="1072"/>
                  </a:lnTo>
                  <a:lnTo>
                    <a:pt x="3179" y="1037"/>
                  </a:lnTo>
                  <a:lnTo>
                    <a:pt x="3110" y="1003"/>
                  </a:lnTo>
                  <a:lnTo>
                    <a:pt x="2972" y="899"/>
                  </a:lnTo>
                  <a:lnTo>
                    <a:pt x="2834" y="692"/>
                  </a:lnTo>
                  <a:lnTo>
                    <a:pt x="2661" y="485"/>
                  </a:lnTo>
                  <a:lnTo>
                    <a:pt x="2384" y="243"/>
                  </a:lnTo>
                  <a:lnTo>
                    <a:pt x="2246" y="139"/>
                  </a:lnTo>
                  <a:lnTo>
                    <a:pt x="2108" y="70"/>
                  </a:lnTo>
                  <a:lnTo>
                    <a:pt x="1935" y="1"/>
                  </a:lnTo>
                  <a:close/>
                </a:path>
              </a:pathLst>
            </a:custGeom>
            <a:solidFill>
              <a:srgbClr val="6D352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9" name="Google Shape;2518;p11">
              <a:extLst>
                <a:ext uri="{FF2B5EF4-FFF2-40B4-BE49-F238E27FC236}">
                  <a16:creationId xmlns:a16="http://schemas.microsoft.com/office/drawing/2014/main" id="{311B8ED6-8442-8624-BBFD-842F12C6790D}"/>
                </a:ext>
              </a:extLst>
            </p:cNvPr>
            <p:cNvSpPr/>
            <p:nvPr/>
          </p:nvSpPr>
          <p:spPr>
            <a:xfrm>
              <a:off x="4475200" y="2953375"/>
              <a:ext cx="54450" cy="63950"/>
            </a:xfrm>
            <a:custGeom>
              <a:avLst/>
              <a:gdLst/>
              <a:ahLst/>
              <a:cxnLst/>
              <a:rect l="l" t="t" r="r" b="b"/>
              <a:pathLst>
                <a:path w="2178" h="2558" extrusionOk="0">
                  <a:moveTo>
                    <a:pt x="1175" y="1"/>
                  </a:moveTo>
                  <a:lnTo>
                    <a:pt x="1003" y="35"/>
                  </a:lnTo>
                  <a:lnTo>
                    <a:pt x="761" y="139"/>
                  </a:lnTo>
                  <a:lnTo>
                    <a:pt x="519" y="312"/>
                  </a:lnTo>
                  <a:lnTo>
                    <a:pt x="208" y="588"/>
                  </a:lnTo>
                  <a:lnTo>
                    <a:pt x="35" y="2281"/>
                  </a:lnTo>
                  <a:lnTo>
                    <a:pt x="0" y="2558"/>
                  </a:lnTo>
                  <a:lnTo>
                    <a:pt x="0" y="2558"/>
                  </a:lnTo>
                  <a:lnTo>
                    <a:pt x="761" y="2523"/>
                  </a:lnTo>
                  <a:lnTo>
                    <a:pt x="1348" y="2523"/>
                  </a:lnTo>
                  <a:lnTo>
                    <a:pt x="1625" y="2316"/>
                  </a:lnTo>
                  <a:lnTo>
                    <a:pt x="1866" y="2109"/>
                  </a:lnTo>
                  <a:lnTo>
                    <a:pt x="2039" y="1867"/>
                  </a:lnTo>
                  <a:lnTo>
                    <a:pt x="2108" y="1763"/>
                  </a:lnTo>
                  <a:lnTo>
                    <a:pt x="2177" y="1625"/>
                  </a:lnTo>
                  <a:lnTo>
                    <a:pt x="2177" y="1487"/>
                  </a:lnTo>
                  <a:lnTo>
                    <a:pt x="2177" y="1348"/>
                  </a:lnTo>
                  <a:lnTo>
                    <a:pt x="2177" y="1176"/>
                  </a:lnTo>
                  <a:lnTo>
                    <a:pt x="2108" y="1003"/>
                  </a:lnTo>
                  <a:lnTo>
                    <a:pt x="2005" y="830"/>
                  </a:lnTo>
                  <a:lnTo>
                    <a:pt x="1901" y="623"/>
                  </a:lnTo>
                  <a:lnTo>
                    <a:pt x="1521" y="174"/>
                  </a:lnTo>
                  <a:lnTo>
                    <a:pt x="1383" y="70"/>
                  </a:lnTo>
                  <a:lnTo>
                    <a:pt x="1279" y="35"/>
                  </a:lnTo>
                  <a:lnTo>
                    <a:pt x="1175" y="1"/>
                  </a:lnTo>
                  <a:close/>
                </a:path>
              </a:pathLst>
            </a:custGeom>
            <a:solidFill>
              <a:srgbClr val="CE97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0" name="Google Shape;2519;p11">
              <a:extLst>
                <a:ext uri="{FF2B5EF4-FFF2-40B4-BE49-F238E27FC236}">
                  <a16:creationId xmlns:a16="http://schemas.microsoft.com/office/drawing/2014/main" id="{A5CC10F2-32D8-0AC1-883B-6C8CCF4DC1C6}"/>
                </a:ext>
              </a:extLst>
            </p:cNvPr>
            <p:cNvSpPr/>
            <p:nvPr/>
          </p:nvSpPr>
          <p:spPr>
            <a:xfrm>
              <a:off x="4475200" y="2953375"/>
              <a:ext cx="54450" cy="63950"/>
            </a:xfrm>
            <a:custGeom>
              <a:avLst/>
              <a:gdLst/>
              <a:ahLst/>
              <a:cxnLst/>
              <a:rect l="l" t="t" r="r" b="b"/>
              <a:pathLst>
                <a:path w="2178" h="2558" fill="none" extrusionOk="0">
                  <a:moveTo>
                    <a:pt x="1175" y="1"/>
                  </a:moveTo>
                  <a:lnTo>
                    <a:pt x="1175" y="1"/>
                  </a:lnTo>
                  <a:lnTo>
                    <a:pt x="1003" y="35"/>
                  </a:lnTo>
                  <a:lnTo>
                    <a:pt x="761" y="139"/>
                  </a:lnTo>
                  <a:lnTo>
                    <a:pt x="519" y="312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35" y="2281"/>
                  </a:lnTo>
                  <a:lnTo>
                    <a:pt x="35" y="2281"/>
                  </a:lnTo>
                  <a:lnTo>
                    <a:pt x="0" y="2558"/>
                  </a:lnTo>
                  <a:lnTo>
                    <a:pt x="0" y="2558"/>
                  </a:lnTo>
                  <a:lnTo>
                    <a:pt x="761" y="2523"/>
                  </a:lnTo>
                  <a:lnTo>
                    <a:pt x="761" y="2523"/>
                  </a:lnTo>
                  <a:lnTo>
                    <a:pt x="1348" y="2523"/>
                  </a:lnTo>
                  <a:lnTo>
                    <a:pt x="1348" y="2523"/>
                  </a:lnTo>
                  <a:lnTo>
                    <a:pt x="1625" y="2316"/>
                  </a:lnTo>
                  <a:lnTo>
                    <a:pt x="1866" y="2109"/>
                  </a:lnTo>
                  <a:lnTo>
                    <a:pt x="2039" y="1867"/>
                  </a:lnTo>
                  <a:lnTo>
                    <a:pt x="2108" y="1763"/>
                  </a:lnTo>
                  <a:lnTo>
                    <a:pt x="2177" y="1625"/>
                  </a:lnTo>
                  <a:lnTo>
                    <a:pt x="2177" y="1487"/>
                  </a:lnTo>
                  <a:lnTo>
                    <a:pt x="2177" y="1348"/>
                  </a:lnTo>
                  <a:lnTo>
                    <a:pt x="2177" y="1176"/>
                  </a:lnTo>
                  <a:lnTo>
                    <a:pt x="2108" y="1003"/>
                  </a:lnTo>
                  <a:lnTo>
                    <a:pt x="2005" y="830"/>
                  </a:lnTo>
                  <a:lnTo>
                    <a:pt x="1901" y="623"/>
                  </a:lnTo>
                  <a:lnTo>
                    <a:pt x="1521" y="174"/>
                  </a:lnTo>
                  <a:lnTo>
                    <a:pt x="1521" y="174"/>
                  </a:lnTo>
                  <a:lnTo>
                    <a:pt x="1383" y="70"/>
                  </a:lnTo>
                  <a:lnTo>
                    <a:pt x="1279" y="35"/>
                  </a:lnTo>
                  <a:lnTo>
                    <a:pt x="117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1" name="Google Shape;2520;p11">
              <a:extLst>
                <a:ext uri="{FF2B5EF4-FFF2-40B4-BE49-F238E27FC236}">
                  <a16:creationId xmlns:a16="http://schemas.microsoft.com/office/drawing/2014/main" id="{C0346DEF-2477-2833-6F8E-960D2D4904D0}"/>
                </a:ext>
              </a:extLst>
            </p:cNvPr>
            <p:cNvSpPr/>
            <p:nvPr/>
          </p:nvSpPr>
          <p:spPr>
            <a:xfrm>
              <a:off x="3682125" y="2970650"/>
              <a:ext cx="1142125" cy="869125"/>
            </a:xfrm>
            <a:custGeom>
              <a:avLst/>
              <a:gdLst/>
              <a:ahLst/>
              <a:cxnLst/>
              <a:rect l="l" t="t" r="r" b="b"/>
              <a:pathLst>
                <a:path w="45685" h="34765" extrusionOk="0">
                  <a:moveTo>
                    <a:pt x="4839" y="1"/>
                  </a:moveTo>
                  <a:lnTo>
                    <a:pt x="4597" y="70"/>
                  </a:lnTo>
                  <a:lnTo>
                    <a:pt x="3940" y="277"/>
                  </a:lnTo>
                  <a:lnTo>
                    <a:pt x="3145" y="588"/>
                  </a:lnTo>
                  <a:lnTo>
                    <a:pt x="2316" y="968"/>
                  </a:lnTo>
                  <a:lnTo>
                    <a:pt x="1487" y="1418"/>
                  </a:lnTo>
                  <a:lnTo>
                    <a:pt x="795" y="1832"/>
                  </a:lnTo>
                  <a:lnTo>
                    <a:pt x="277" y="2178"/>
                  </a:lnTo>
                  <a:lnTo>
                    <a:pt x="104" y="2351"/>
                  </a:lnTo>
                  <a:lnTo>
                    <a:pt x="1" y="2454"/>
                  </a:lnTo>
                  <a:lnTo>
                    <a:pt x="312" y="3802"/>
                  </a:lnTo>
                  <a:lnTo>
                    <a:pt x="623" y="4908"/>
                  </a:lnTo>
                  <a:lnTo>
                    <a:pt x="968" y="6290"/>
                  </a:lnTo>
                  <a:lnTo>
                    <a:pt x="1417" y="7845"/>
                  </a:lnTo>
                  <a:lnTo>
                    <a:pt x="1970" y="9504"/>
                  </a:lnTo>
                  <a:lnTo>
                    <a:pt x="2592" y="11266"/>
                  </a:lnTo>
                  <a:lnTo>
                    <a:pt x="3284" y="13029"/>
                  </a:lnTo>
                  <a:lnTo>
                    <a:pt x="3664" y="13893"/>
                  </a:lnTo>
                  <a:lnTo>
                    <a:pt x="4044" y="14722"/>
                  </a:lnTo>
                  <a:lnTo>
                    <a:pt x="4458" y="15551"/>
                  </a:lnTo>
                  <a:lnTo>
                    <a:pt x="4908" y="16346"/>
                  </a:lnTo>
                  <a:lnTo>
                    <a:pt x="5357" y="17106"/>
                  </a:lnTo>
                  <a:lnTo>
                    <a:pt x="5841" y="17797"/>
                  </a:lnTo>
                  <a:lnTo>
                    <a:pt x="6324" y="18454"/>
                  </a:lnTo>
                  <a:lnTo>
                    <a:pt x="6843" y="19041"/>
                  </a:lnTo>
                  <a:lnTo>
                    <a:pt x="7361" y="19560"/>
                  </a:lnTo>
                  <a:lnTo>
                    <a:pt x="7914" y="20009"/>
                  </a:lnTo>
                  <a:lnTo>
                    <a:pt x="8467" y="20389"/>
                  </a:lnTo>
                  <a:lnTo>
                    <a:pt x="8778" y="20527"/>
                  </a:lnTo>
                  <a:lnTo>
                    <a:pt x="9054" y="20666"/>
                  </a:lnTo>
                  <a:lnTo>
                    <a:pt x="9365" y="20769"/>
                  </a:lnTo>
                  <a:lnTo>
                    <a:pt x="9676" y="20838"/>
                  </a:lnTo>
                  <a:lnTo>
                    <a:pt x="9987" y="20873"/>
                  </a:lnTo>
                  <a:lnTo>
                    <a:pt x="10298" y="20908"/>
                  </a:lnTo>
                  <a:lnTo>
                    <a:pt x="10609" y="20908"/>
                  </a:lnTo>
                  <a:lnTo>
                    <a:pt x="10920" y="20873"/>
                  </a:lnTo>
                  <a:lnTo>
                    <a:pt x="11231" y="20804"/>
                  </a:lnTo>
                  <a:lnTo>
                    <a:pt x="11577" y="20735"/>
                  </a:lnTo>
                  <a:lnTo>
                    <a:pt x="12026" y="20562"/>
                  </a:lnTo>
                  <a:lnTo>
                    <a:pt x="12510" y="20355"/>
                  </a:lnTo>
                  <a:lnTo>
                    <a:pt x="13512" y="19905"/>
                  </a:lnTo>
                  <a:lnTo>
                    <a:pt x="14583" y="19352"/>
                  </a:lnTo>
                  <a:lnTo>
                    <a:pt x="15655" y="18730"/>
                  </a:lnTo>
                  <a:lnTo>
                    <a:pt x="16726" y="18074"/>
                  </a:lnTo>
                  <a:lnTo>
                    <a:pt x="17797" y="17383"/>
                  </a:lnTo>
                  <a:lnTo>
                    <a:pt x="19905" y="16001"/>
                  </a:lnTo>
                  <a:lnTo>
                    <a:pt x="21806" y="14791"/>
                  </a:lnTo>
                  <a:lnTo>
                    <a:pt x="22635" y="14307"/>
                  </a:lnTo>
                  <a:lnTo>
                    <a:pt x="23361" y="13927"/>
                  </a:lnTo>
                  <a:lnTo>
                    <a:pt x="23672" y="13789"/>
                  </a:lnTo>
                  <a:lnTo>
                    <a:pt x="23948" y="13685"/>
                  </a:lnTo>
                  <a:lnTo>
                    <a:pt x="24225" y="13616"/>
                  </a:lnTo>
                  <a:lnTo>
                    <a:pt x="24432" y="13582"/>
                  </a:lnTo>
                  <a:lnTo>
                    <a:pt x="24639" y="13582"/>
                  </a:lnTo>
                  <a:lnTo>
                    <a:pt x="24778" y="13651"/>
                  </a:lnTo>
                  <a:lnTo>
                    <a:pt x="24881" y="13754"/>
                  </a:lnTo>
                  <a:lnTo>
                    <a:pt x="24950" y="13893"/>
                  </a:lnTo>
                  <a:lnTo>
                    <a:pt x="24950" y="14791"/>
                  </a:lnTo>
                  <a:lnTo>
                    <a:pt x="25019" y="15655"/>
                  </a:lnTo>
                  <a:lnTo>
                    <a:pt x="25123" y="17314"/>
                  </a:lnTo>
                  <a:lnTo>
                    <a:pt x="25296" y="18972"/>
                  </a:lnTo>
                  <a:lnTo>
                    <a:pt x="25330" y="19836"/>
                  </a:lnTo>
                  <a:lnTo>
                    <a:pt x="25365" y="20769"/>
                  </a:lnTo>
                  <a:lnTo>
                    <a:pt x="25365" y="21771"/>
                  </a:lnTo>
                  <a:lnTo>
                    <a:pt x="25365" y="22808"/>
                  </a:lnTo>
                  <a:lnTo>
                    <a:pt x="25296" y="23983"/>
                  </a:lnTo>
                  <a:lnTo>
                    <a:pt x="25158" y="25227"/>
                  </a:lnTo>
                  <a:lnTo>
                    <a:pt x="25019" y="26609"/>
                  </a:lnTo>
                  <a:lnTo>
                    <a:pt x="24778" y="28095"/>
                  </a:lnTo>
                  <a:lnTo>
                    <a:pt x="24467" y="29754"/>
                  </a:lnTo>
                  <a:lnTo>
                    <a:pt x="24086" y="31551"/>
                  </a:lnTo>
                  <a:lnTo>
                    <a:pt x="24674" y="32000"/>
                  </a:lnTo>
                  <a:lnTo>
                    <a:pt x="25261" y="32415"/>
                  </a:lnTo>
                  <a:lnTo>
                    <a:pt x="25953" y="32795"/>
                  </a:lnTo>
                  <a:lnTo>
                    <a:pt x="26644" y="33106"/>
                  </a:lnTo>
                  <a:lnTo>
                    <a:pt x="27404" y="33417"/>
                  </a:lnTo>
                  <a:lnTo>
                    <a:pt x="28164" y="33693"/>
                  </a:lnTo>
                  <a:lnTo>
                    <a:pt x="28993" y="33935"/>
                  </a:lnTo>
                  <a:lnTo>
                    <a:pt x="29823" y="34143"/>
                  </a:lnTo>
                  <a:lnTo>
                    <a:pt x="30687" y="34315"/>
                  </a:lnTo>
                  <a:lnTo>
                    <a:pt x="31551" y="34454"/>
                  </a:lnTo>
                  <a:lnTo>
                    <a:pt x="32449" y="34592"/>
                  </a:lnTo>
                  <a:lnTo>
                    <a:pt x="33313" y="34661"/>
                  </a:lnTo>
                  <a:lnTo>
                    <a:pt x="34211" y="34730"/>
                  </a:lnTo>
                  <a:lnTo>
                    <a:pt x="35110" y="34765"/>
                  </a:lnTo>
                  <a:lnTo>
                    <a:pt x="36872" y="34765"/>
                  </a:lnTo>
                  <a:lnTo>
                    <a:pt x="37736" y="34696"/>
                  </a:lnTo>
                  <a:lnTo>
                    <a:pt x="38566" y="34661"/>
                  </a:lnTo>
                  <a:lnTo>
                    <a:pt x="39360" y="34557"/>
                  </a:lnTo>
                  <a:lnTo>
                    <a:pt x="40155" y="34454"/>
                  </a:lnTo>
                  <a:lnTo>
                    <a:pt x="40915" y="34315"/>
                  </a:lnTo>
                  <a:lnTo>
                    <a:pt x="41607" y="34177"/>
                  </a:lnTo>
                  <a:lnTo>
                    <a:pt x="42298" y="34004"/>
                  </a:lnTo>
                  <a:lnTo>
                    <a:pt x="42920" y="33832"/>
                  </a:lnTo>
                  <a:lnTo>
                    <a:pt x="43473" y="33659"/>
                  </a:lnTo>
                  <a:lnTo>
                    <a:pt x="43991" y="33417"/>
                  </a:lnTo>
                  <a:lnTo>
                    <a:pt x="44440" y="33210"/>
                  </a:lnTo>
                  <a:lnTo>
                    <a:pt x="44820" y="32968"/>
                  </a:lnTo>
                  <a:lnTo>
                    <a:pt x="45166" y="32726"/>
                  </a:lnTo>
                  <a:lnTo>
                    <a:pt x="45408" y="32449"/>
                  </a:lnTo>
                  <a:lnTo>
                    <a:pt x="45546" y="32173"/>
                  </a:lnTo>
                  <a:lnTo>
                    <a:pt x="45615" y="32035"/>
                  </a:lnTo>
                  <a:lnTo>
                    <a:pt x="45650" y="31896"/>
                  </a:lnTo>
                  <a:lnTo>
                    <a:pt x="45684" y="31171"/>
                  </a:lnTo>
                  <a:lnTo>
                    <a:pt x="45684" y="30100"/>
                  </a:lnTo>
                  <a:lnTo>
                    <a:pt x="45650" y="28821"/>
                  </a:lnTo>
                  <a:lnTo>
                    <a:pt x="45546" y="27300"/>
                  </a:lnTo>
                  <a:lnTo>
                    <a:pt x="45270" y="23810"/>
                  </a:lnTo>
                  <a:lnTo>
                    <a:pt x="44889" y="20009"/>
                  </a:lnTo>
                  <a:lnTo>
                    <a:pt x="44440" y="16242"/>
                  </a:lnTo>
                  <a:lnTo>
                    <a:pt x="43991" y="12856"/>
                  </a:lnTo>
                  <a:lnTo>
                    <a:pt x="43784" y="11439"/>
                  </a:lnTo>
                  <a:lnTo>
                    <a:pt x="43576" y="10264"/>
                  </a:lnTo>
                  <a:lnTo>
                    <a:pt x="43403" y="9366"/>
                  </a:lnTo>
                  <a:lnTo>
                    <a:pt x="43231" y="8778"/>
                  </a:lnTo>
                  <a:lnTo>
                    <a:pt x="42989" y="8225"/>
                  </a:lnTo>
                  <a:lnTo>
                    <a:pt x="42712" y="7707"/>
                  </a:lnTo>
                  <a:lnTo>
                    <a:pt x="42367" y="7154"/>
                  </a:lnTo>
                  <a:lnTo>
                    <a:pt x="41987" y="6636"/>
                  </a:lnTo>
                  <a:lnTo>
                    <a:pt x="41537" y="6117"/>
                  </a:lnTo>
                  <a:lnTo>
                    <a:pt x="41088" y="5599"/>
                  </a:lnTo>
                  <a:lnTo>
                    <a:pt x="40639" y="5115"/>
                  </a:lnTo>
                  <a:lnTo>
                    <a:pt x="40155" y="4666"/>
                  </a:lnTo>
                  <a:lnTo>
                    <a:pt x="39222" y="3837"/>
                  </a:lnTo>
                  <a:lnTo>
                    <a:pt x="38324" y="3146"/>
                  </a:lnTo>
                  <a:lnTo>
                    <a:pt x="37598" y="2662"/>
                  </a:lnTo>
                  <a:lnTo>
                    <a:pt x="37287" y="2489"/>
                  </a:lnTo>
                  <a:lnTo>
                    <a:pt x="37080" y="2385"/>
                  </a:lnTo>
                  <a:lnTo>
                    <a:pt x="36838" y="2282"/>
                  </a:lnTo>
                  <a:lnTo>
                    <a:pt x="36492" y="2213"/>
                  </a:lnTo>
                  <a:lnTo>
                    <a:pt x="35559" y="2040"/>
                  </a:lnTo>
                  <a:lnTo>
                    <a:pt x="34384" y="1901"/>
                  </a:lnTo>
                  <a:lnTo>
                    <a:pt x="33071" y="1832"/>
                  </a:lnTo>
                  <a:lnTo>
                    <a:pt x="32345" y="1832"/>
                  </a:lnTo>
                  <a:lnTo>
                    <a:pt x="31654" y="1867"/>
                  </a:lnTo>
                  <a:lnTo>
                    <a:pt x="30963" y="1901"/>
                  </a:lnTo>
                  <a:lnTo>
                    <a:pt x="30272" y="1971"/>
                  </a:lnTo>
                  <a:lnTo>
                    <a:pt x="29615" y="2109"/>
                  </a:lnTo>
                  <a:lnTo>
                    <a:pt x="28993" y="2247"/>
                  </a:lnTo>
                  <a:lnTo>
                    <a:pt x="28406" y="2454"/>
                  </a:lnTo>
                  <a:lnTo>
                    <a:pt x="27888" y="2696"/>
                  </a:lnTo>
                  <a:lnTo>
                    <a:pt x="26955" y="3180"/>
                  </a:lnTo>
                  <a:lnTo>
                    <a:pt x="26091" y="3595"/>
                  </a:lnTo>
                  <a:lnTo>
                    <a:pt x="25261" y="4009"/>
                  </a:lnTo>
                  <a:lnTo>
                    <a:pt x="24432" y="4424"/>
                  </a:lnTo>
                  <a:lnTo>
                    <a:pt x="23603" y="4908"/>
                  </a:lnTo>
                  <a:lnTo>
                    <a:pt x="22739" y="5461"/>
                  </a:lnTo>
                  <a:lnTo>
                    <a:pt x="22290" y="5772"/>
                  </a:lnTo>
                  <a:lnTo>
                    <a:pt x="21840" y="6152"/>
                  </a:lnTo>
                  <a:lnTo>
                    <a:pt x="21391" y="6567"/>
                  </a:lnTo>
                  <a:lnTo>
                    <a:pt x="20907" y="7016"/>
                  </a:lnTo>
                  <a:lnTo>
                    <a:pt x="18972" y="8951"/>
                  </a:lnTo>
                  <a:lnTo>
                    <a:pt x="17866" y="10022"/>
                  </a:lnTo>
                  <a:lnTo>
                    <a:pt x="16691" y="11059"/>
                  </a:lnTo>
                  <a:lnTo>
                    <a:pt x="16069" y="11577"/>
                  </a:lnTo>
                  <a:lnTo>
                    <a:pt x="15447" y="12061"/>
                  </a:lnTo>
                  <a:lnTo>
                    <a:pt x="14825" y="12510"/>
                  </a:lnTo>
                  <a:lnTo>
                    <a:pt x="14203" y="12925"/>
                  </a:lnTo>
                  <a:lnTo>
                    <a:pt x="13581" y="13305"/>
                  </a:lnTo>
                  <a:lnTo>
                    <a:pt x="12959" y="13616"/>
                  </a:lnTo>
                  <a:lnTo>
                    <a:pt x="12337" y="13893"/>
                  </a:lnTo>
                  <a:lnTo>
                    <a:pt x="11750" y="14065"/>
                  </a:lnTo>
                  <a:lnTo>
                    <a:pt x="11473" y="14065"/>
                  </a:lnTo>
                  <a:lnTo>
                    <a:pt x="11197" y="13996"/>
                  </a:lnTo>
                  <a:lnTo>
                    <a:pt x="10920" y="13858"/>
                  </a:lnTo>
                  <a:lnTo>
                    <a:pt x="10644" y="13651"/>
                  </a:lnTo>
                  <a:lnTo>
                    <a:pt x="10368" y="13374"/>
                  </a:lnTo>
                  <a:lnTo>
                    <a:pt x="10091" y="13029"/>
                  </a:lnTo>
                  <a:lnTo>
                    <a:pt x="9780" y="12614"/>
                  </a:lnTo>
                  <a:lnTo>
                    <a:pt x="9504" y="12165"/>
                  </a:lnTo>
                  <a:lnTo>
                    <a:pt x="9227" y="11646"/>
                  </a:lnTo>
                  <a:lnTo>
                    <a:pt x="8951" y="11093"/>
                  </a:lnTo>
                  <a:lnTo>
                    <a:pt x="8398" y="9919"/>
                  </a:lnTo>
                  <a:lnTo>
                    <a:pt x="7845" y="8605"/>
                  </a:lnTo>
                  <a:lnTo>
                    <a:pt x="7327" y="7292"/>
                  </a:lnTo>
                  <a:lnTo>
                    <a:pt x="6877" y="5945"/>
                  </a:lnTo>
                  <a:lnTo>
                    <a:pt x="6428" y="4631"/>
                  </a:lnTo>
                  <a:lnTo>
                    <a:pt x="5702" y="2282"/>
                  </a:lnTo>
                  <a:lnTo>
                    <a:pt x="5219" y="623"/>
                  </a:lnTo>
                  <a:lnTo>
                    <a:pt x="5046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2" name="Google Shape;2521;p11">
              <a:extLst>
                <a:ext uri="{FF2B5EF4-FFF2-40B4-BE49-F238E27FC236}">
                  <a16:creationId xmlns:a16="http://schemas.microsoft.com/office/drawing/2014/main" id="{7E0E274E-8207-5267-B1F5-ECEB5FD9EE41}"/>
                </a:ext>
              </a:extLst>
            </p:cNvPr>
            <p:cNvSpPr/>
            <p:nvPr/>
          </p:nvSpPr>
          <p:spPr>
            <a:xfrm>
              <a:off x="3682125" y="2970650"/>
              <a:ext cx="1142125" cy="869125"/>
            </a:xfrm>
            <a:custGeom>
              <a:avLst/>
              <a:gdLst/>
              <a:ahLst/>
              <a:cxnLst/>
              <a:rect l="l" t="t" r="r" b="b"/>
              <a:pathLst>
                <a:path w="45685" h="34765" fill="none" extrusionOk="0">
                  <a:moveTo>
                    <a:pt x="37080" y="2385"/>
                  </a:moveTo>
                  <a:lnTo>
                    <a:pt x="37080" y="2385"/>
                  </a:lnTo>
                  <a:lnTo>
                    <a:pt x="36838" y="2282"/>
                  </a:lnTo>
                  <a:lnTo>
                    <a:pt x="36492" y="2213"/>
                  </a:lnTo>
                  <a:lnTo>
                    <a:pt x="35559" y="2040"/>
                  </a:lnTo>
                  <a:lnTo>
                    <a:pt x="34384" y="1901"/>
                  </a:lnTo>
                  <a:lnTo>
                    <a:pt x="33071" y="1832"/>
                  </a:lnTo>
                  <a:lnTo>
                    <a:pt x="32345" y="1832"/>
                  </a:lnTo>
                  <a:lnTo>
                    <a:pt x="31654" y="1867"/>
                  </a:lnTo>
                  <a:lnTo>
                    <a:pt x="30963" y="1901"/>
                  </a:lnTo>
                  <a:lnTo>
                    <a:pt x="30272" y="1971"/>
                  </a:lnTo>
                  <a:lnTo>
                    <a:pt x="29615" y="2109"/>
                  </a:lnTo>
                  <a:lnTo>
                    <a:pt x="28993" y="2247"/>
                  </a:lnTo>
                  <a:lnTo>
                    <a:pt x="28406" y="2454"/>
                  </a:lnTo>
                  <a:lnTo>
                    <a:pt x="27888" y="2696"/>
                  </a:lnTo>
                  <a:lnTo>
                    <a:pt x="27888" y="2696"/>
                  </a:lnTo>
                  <a:lnTo>
                    <a:pt x="26955" y="3180"/>
                  </a:lnTo>
                  <a:lnTo>
                    <a:pt x="26091" y="3595"/>
                  </a:lnTo>
                  <a:lnTo>
                    <a:pt x="25261" y="4009"/>
                  </a:lnTo>
                  <a:lnTo>
                    <a:pt x="24432" y="4424"/>
                  </a:lnTo>
                  <a:lnTo>
                    <a:pt x="23603" y="4908"/>
                  </a:lnTo>
                  <a:lnTo>
                    <a:pt x="22739" y="5461"/>
                  </a:lnTo>
                  <a:lnTo>
                    <a:pt x="22290" y="5772"/>
                  </a:lnTo>
                  <a:lnTo>
                    <a:pt x="21840" y="6152"/>
                  </a:lnTo>
                  <a:lnTo>
                    <a:pt x="21391" y="6567"/>
                  </a:lnTo>
                  <a:lnTo>
                    <a:pt x="20907" y="7016"/>
                  </a:lnTo>
                  <a:lnTo>
                    <a:pt x="20907" y="7016"/>
                  </a:lnTo>
                  <a:lnTo>
                    <a:pt x="18972" y="8951"/>
                  </a:lnTo>
                  <a:lnTo>
                    <a:pt x="17866" y="10022"/>
                  </a:lnTo>
                  <a:lnTo>
                    <a:pt x="16691" y="11059"/>
                  </a:lnTo>
                  <a:lnTo>
                    <a:pt x="16069" y="11577"/>
                  </a:lnTo>
                  <a:lnTo>
                    <a:pt x="15447" y="12061"/>
                  </a:lnTo>
                  <a:lnTo>
                    <a:pt x="14825" y="12510"/>
                  </a:lnTo>
                  <a:lnTo>
                    <a:pt x="14203" y="12925"/>
                  </a:lnTo>
                  <a:lnTo>
                    <a:pt x="13581" y="13305"/>
                  </a:lnTo>
                  <a:lnTo>
                    <a:pt x="12959" y="13616"/>
                  </a:lnTo>
                  <a:lnTo>
                    <a:pt x="12337" y="13893"/>
                  </a:lnTo>
                  <a:lnTo>
                    <a:pt x="11750" y="14065"/>
                  </a:lnTo>
                  <a:lnTo>
                    <a:pt x="11750" y="14065"/>
                  </a:lnTo>
                  <a:lnTo>
                    <a:pt x="11612" y="14065"/>
                  </a:lnTo>
                  <a:lnTo>
                    <a:pt x="11473" y="14065"/>
                  </a:lnTo>
                  <a:lnTo>
                    <a:pt x="11197" y="13996"/>
                  </a:lnTo>
                  <a:lnTo>
                    <a:pt x="10920" y="13858"/>
                  </a:lnTo>
                  <a:lnTo>
                    <a:pt x="10644" y="13651"/>
                  </a:lnTo>
                  <a:lnTo>
                    <a:pt x="10368" y="13374"/>
                  </a:lnTo>
                  <a:lnTo>
                    <a:pt x="10091" y="13029"/>
                  </a:lnTo>
                  <a:lnTo>
                    <a:pt x="9780" y="12614"/>
                  </a:lnTo>
                  <a:lnTo>
                    <a:pt x="9504" y="12165"/>
                  </a:lnTo>
                  <a:lnTo>
                    <a:pt x="9227" y="11646"/>
                  </a:lnTo>
                  <a:lnTo>
                    <a:pt x="8951" y="11093"/>
                  </a:lnTo>
                  <a:lnTo>
                    <a:pt x="8398" y="9919"/>
                  </a:lnTo>
                  <a:lnTo>
                    <a:pt x="7845" y="8605"/>
                  </a:lnTo>
                  <a:lnTo>
                    <a:pt x="7327" y="7292"/>
                  </a:lnTo>
                  <a:lnTo>
                    <a:pt x="6877" y="5945"/>
                  </a:lnTo>
                  <a:lnTo>
                    <a:pt x="6428" y="4631"/>
                  </a:lnTo>
                  <a:lnTo>
                    <a:pt x="5702" y="2282"/>
                  </a:lnTo>
                  <a:lnTo>
                    <a:pt x="5219" y="623"/>
                  </a:lnTo>
                  <a:lnTo>
                    <a:pt x="5046" y="1"/>
                  </a:lnTo>
                  <a:lnTo>
                    <a:pt x="5046" y="1"/>
                  </a:lnTo>
                  <a:lnTo>
                    <a:pt x="4839" y="1"/>
                  </a:lnTo>
                  <a:lnTo>
                    <a:pt x="4597" y="70"/>
                  </a:lnTo>
                  <a:lnTo>
                    <a:pt x="3940" y="277"/>
                  </a:lnTo>
                  <a:lnTo>
                    <a:pt x="3145" y="588"/>
                  </a:lnTo>
                  <a:lnTo>
                    <a:pt x="2316" y="968"/>
                  </a:lnTo>
                  <a:lnTo>
                    <a:pt x="1487" y="1418"/>
                  </a:lnTo>
                  <a:lnTo>
                    <a:pt x="795" y="1832"/>
                  </a:lnTo>
                  <a:lnTo>
                    <a:pt x="277" y="2178"/>
                  </a:lnTo>
                  <a:lnTo>
                    <a:pt x="104" y="2351"/>
                  </a:lnTo>
                  <a:lnTo>
                    <a:pt x="1" y="2454"/>
                  </a:lnTo>
                  <a:lnTo>
                    <a:pt x="1" y="2454"/>
                  </a:lnTo>
                  <a:lnTo>
                    <a:pt x="312" y="3802"/>
                  </a:lnTo>
                  <a:lnTo>
                    <a:pt x="623" y="4908"/>
                  </a:lnTo>
                  <a:lnTo>
                    <a:pt x="968" y="6290"/>
                  </a:lnTo>
                  <a:lnTo>
                    <a:pt x="1417" y="7845"/>
                  </a:lnTo>
                  <a:lnTo>
                    <a:pt x="1970" y="9504"/>
                  </a:lnTo>
                  <a:lnTo>
                    <a:pt x="2592" y="11266"/>
                  </a:lnTo>
                  <a:lnTo>
                    <a:pt x="3284" y="13029"/>
                  </a:lnTo>
                  <a:lnTo>
                    <a:pt x="3664" y="13893"/>
                  </a:lnTo>
                  <a:lnTo>
                    <a:pt x="4044" y="14722"/>
                  </a:lnTo>
                  <a:lnTo>
                    <a:pt x="4458" y="15551"/>
                  </a:lnTo>
                  <a:lnTo>
                    <a:pt x="4908" y="16346"/>
                  </a:lnTo>
                  <a:lnTo>
                    <a:pt x="5357" y="17106"/>
                  </a:lnTo>
                  <a:lnTo>
                    <a:pt x="5841" y="17797"/>
                  </a:lnTo>
                  <a:lnTo>
                    <a:pt x="6324" y="18454"/>
                  </a:lnTo>
                  <a:lnTo>
                    <a:pt x="6843" y="19041"/>
                  </a:lnTo>
                  <a:lnTo>
                    <a:pt x="7361" y="19560"/>
                  </a:lnTo>
                  <a:lnTo>
                    <a:pt x="7914" y="20009"/>
                  </a:lnTo>
                  <a:lnTo>
                    <a:pt x="8467" y="20389"/>
                  </a:lnTo>
                  <a:lnTo>
                    <a:pt x="8778" y="20527"/>
                  </a:lnTo>
                  <a:lnTo>
                    <a:pt x="9054" y="20666"/>
                  </a:lnTo>
                  <a:lnTo>
                    <a:pt x="9365" y="20769"/>
                  </a:lnTo>
                  <a:lnTo>
                    <a:pt x="9676" y="20838"/>
                  </a:lnTo>
                  <a:lnTo>
                    <a:pt x="9987" y="20873"/>
                  </a:lnTo>
                  <a:lnTo>
                    <a:pt x="10298" y="20908"/>
                  </a:lnTo>
                  <a:lnTo>
                    <a:pt x="10609" y="20908"/>
                  </a:lnTo>
                  <a:lnTo>
                    <a:pt x="10920" y="20873"/>
                  </a:lnTo>
                  <a:lnTo>
                    <a:pt x="11231" y="20804"/>
                  </a:lnTo>
                  <a:lnTo>
                    <a:pt x="11577" y="20735"/>
                  </a:lnTo>
                  <a:lnTo>
                    <a:pt x="11577" y="20735"/>
                  </a:lnTo>
                  <a:lnTo>
                    <a:pt x="12026" y="20562"/>
                  </a:lnTo>
                  <a:lnTo>
                    <a:pt x="12510" y="20355"/>
                  </a:lnTo>
                  <a:lnTo>
                    <a:pt x="13512" y="19905"/>
                  </a:lnTo>
                  <a:lnTo>
                    <a:pt x="14583" y="19352"/>
                  </a:lnTo>
                  <a:lnTo>
                    <a:pt x="15655" y="18730"/>
                  </a:lnTo>
                  <a:lnTo>
                    <a:pt x="16726" y="18074"/>
                  </a:lnTo>
                  <a:lnTo>
                    <a:pt x="17797" y="17383"/>
                  </a:lnTo>
                  <a:lnTo>
                    <a:pt x="19905" y="16001"/>
                  </a:lnTo>
                  <a:lnTo>
                    <a:pt x="21806" y="14791"/>
                  </a:lnTo>
                  <a:lnTo>
                    <a:pt x="22635" y="14307"/>
                  </a:lnTo>
                  <a:lnTo>
                    <a:pt x="23361" y="13927"/>
                  </a:lnTo>
                  <a:lnTo>
                    <a:pt x="23672" y="13789"/>
                  </a:lnTo>
                  <a:lnTo>
                    <a:pt x="23948" y="13685"/>
                  </a:lnTo>
                  <a:lnTo>
                    <a:pt x="24225" y="13616"/>
                  </a:lnTo>
                  <a:lnTo>
                    <a:pt x="24432" y="13582"/>
                  </a:lnTo>
                  <a:lnTo>
                    <a:pt x="24639" y="13582"/>
                  </a:lnTo>
                  <a:lnTo>
                    <a:pt x="24778" y="13651"/>
                  </a:lnTo>
                  <a:lnTo>
                    <a:pt x="24881" y="13754"/>
                  </a:lnTo>
                  <a:lnTo>
                    <a:pt x="24950" y="13893"/>
                  </a:lnTo>
                  <a:lnTo>
                    <a:pt x="24950" y="13893"/>
                  </a:lnTo>
                  <a:lnTo>
                    <a:pt x="24950" y="14791"/>
                  </a:lnTo>
                  <a:lnTo>
                    <a:pt x="25019" y="15655"/>
                  </a:lnTo>
                  <a:lnTo>
                    <a:pt x="25123" y="17314"/>
                  </a:lnTo>
                  <a:lnTo>
                    <a:pt x="25296" y="18972"/>
                  </a:lnTo>
                  <a:lnTo>
                    <a:pt x="25330" y="19836"/>
                  </a:lnTo>
                  <a:lnTo>
                    <a:pt x="25365" y="20769"/>
                  </a:lnTo>
                  <a:lnTo>
                    <a:pt x="25365" y="21771"/>
                  </a:lnTo>
                  <a:lnTo>
                    <a:pt x="25365" y="22808"/>
                  </a:lnTo>
                  <a:lnTo>
                    <a:pt x="25296" y="23983"/>
                  </a:lnTo>
                  <a:lnTo>
                    <a:pt x="25158" y="25227"/>
                  </a:lnTo>
                  <a:lnTo>
                    <a:pt x="25019" y="26609"/>
                  </a:lnTo>
                  <a:lnTo>
                    <a:pt x="24778" y="28095"/>
                  </a:lnTo>
                  <a:lnTo>
                    <a:pt x="24467" y="29754"/>
                  </a:lnTo>
                  <a:lnTo>
                    <a:pt x="24086" y="31551"/>
                  </a:lnTo>
                  <a:lnTo>
                    <a:pt x="24086" y="31551"/>
                  </a:lnTo>
                  <a:lnTo>
                    <a:pt x="24674" y="32000"/>
                  </a:lnTo>
                  <a:lnTo>
                    <a:pt x="25261" y="32415"/>
                  </a:lnTo>
                  <a:lnTo>
                    <a:pt x="25953" y="32795"/>
                  </a:lnTo>
                  <a:lnTo>
                    <a:pt x="26644" y="33106"/>
                  </a:lnTo>
                  <a:lnTo>
                    <a:pt x="27404" y="33417"/>
                  </a:lnTo>
                  <a:lnTo>
                    <a:pt x="28164" y="33693"/>
                  </a:lnTo>
                  <a:lnTo>
                    <a:pt x="28993" y="33935"/>
                  </a:lnTo>
                  <a:lnTo>
                    <a:pt x="29823" y="34143"/>
                  </a:lnTo>
                  <a:lnTo>
                    <a:pt x="30687" y="34315"/>
                  </a:lnTo>
                  <a:lnTo>
                    <a:pt x="31551" y="34454"/>
                  </a:lnTo>
                  <a:lnTo>
                    <a:pt x="32449" y="34592"/>
                  </a:lnTo>
                  <a:lnTo>
                    <a:pt x="33313" y="34661"/>
                  </a:lnTo>
                  <a:lnTo>
                    <a:pt x="34211" y="34730"/>
                  </a:lnTo>
                  <a:lnTo>
                    <a:pt x="35110" y="34765"/>
                  </a:lnTo>
                  <a:lnTo>
                    <a:pt x="36008" y="34765"/>
                  </a:lnTo>
                  <a:lnTo>
                    <a:pt x="36872" y="34765"/>
                  </a:lnTo>
                  <a:lnTo>
                    <a:pt x="37736" y="34696"/>
                  </a:lnTo>
                  <a:lnTo>
                    <a:pt x="38566" y="34661"/>
                  </a:lnTo>
                  <a:lnTo>
                    <a:pt x="39360" y="34557"/>
                  </a:lnTo>
                  <a:lnTo>
                    <a:pt x="40155" y="34454"/>
                  </a:lnTo>
                  <a:lnTo>
                    <a:pt x="40915" y="34315"/>
                  </a:lnTo>
                  <a:lnTo>
                    <a:pt x="41607" y="34177"/>
                  </a:lnTo>
                  <a:lnTo>
                    <a:pt x="42298" y="34004"/>
                  </a:lnTo>
                  <a:lnTo>
                    <a:pt x="42920" y="33832"/>
                  </a:lnTo>
                  <a:lnTo>
                    <a:pt x="43473" y="33659"/>
                  </a:lnTo>
                  <a:lnTo>
                    <a:pt x="43991" y="33417"/>
                  </a:lnTo>
                  <a:lnTo>
                    <a:pt x="44440" y="33210"/>
                  </a:lnTo>
                  <a:lnTo>
                    <a:pt x="44820" y="32968"/>
                  </a:lnTo>
                  <a:lnTo>
                    <a:pt x="45166" y="32726"/>
                  </a:lnTo>
                  <a:lnTo>
                    <a:pt x="45408" y="32449"/>
                  </a:lnTo>
                  <a:lnTo>
                    <a:pt x="45546" y="32173"/>
                  </a:lnTo>
                  <a:lnTo>
                    <a:pt x="45615" y="32035"/>
                  </a:lnTo>
                  <a:lnTo>
                    <a:pt x="45650" y="31896"/>
                  </a:lnTo>
                  <a:lnTo>
                    <a:pt x="45650" y="31896"/>
                  </a:lnTo>
                  <a:lnTo>
                    <a:pt x="45684" y="31171"/>
                  </a:lnTo>
                  <a:lnTo>
                    <a:pt x="45684" y="30100"/>
                  </a:lnTo>
                  <a:lnTo>
                    <a:pt x="45650" y="28821"/>
                  </a:lnTo>
                  <a:lnTo>
                    <a:pt x="45546" y="27300"/>
                  </a:lnTo>
                  <a:lnTo>
                    <a:pt x="45270" y="23810"/>
                  </a:lnTo>
                  <a:lnTo>
                    <a:pt x="44889" y="20009"/>
                  </a:lnTo>
                  <a:lnTo>
                    <a:pt x="44440" y="16242"/>
                  </a:lnTo>
                  <a:lnTo>
                    <a:pt x="43991" y="12856"/>
                  </a:lnTo>
                  <a:lnTo>
                    <a:pt x="43784" y="11439"/>
                  </a:lnTo>
                  <a:lnTo>
                    <a:pt x="43576" y="10264"/>
                  </a:lnTo>
                  <a:lnTo>
                    <a:pt x="43403" y="9366"/>
                  </a:lnTo>
                  <a:lnTo>
                    <a:pt x="43231" y="8778"/>
                  </a:lnTo>
                  <a:lnTo>
                    <a:pt x="43231" y="8778"/>
                  </a:lnTo>
                  <a:lnTo>
                    <a:pt x="42989" y="8225"/>
                  </a:lnTo>
                  <a:lnTo>
                    <a:pt x="42712" y="7707"/>
                  </a:lnTo>
                  <a:lnTo>
                    <a:pt x="42367" y="7154"/>
                  </a:lnTo>
                  <a:lnTo>
                    <a:pt x="41987" y="6636"/>
                  </a:lnTo>
                  <a:lnTo>
                    <a:pt x="41537" y="6117"/>
                  </a:lnTo>
                  <a:lnTo>
                    <a:pt x="41088" y="5599"/>
                  </a:lnTo>
                  <a:lnTo>
                    <a:pt x="40639" y="5115"/>
                  </a:lnTo>
                  <a:lnTo>
                    <a:pt x="40155" y="4666"/>
                  </a:lnTo>
                  <a:lnTo>
                    <a:pt x="39222" y="3837"/>
                  </a:lnTo>
                  <a:lnTo>
                    <a:pt x="38324" y="3146"/>
                  </a:lnTo>
                  <a:lnTo>
                    <a:pt x="37598" y="2662"/>
                  </a:lnTo>
                  <a:lnTo>
                    <a:pt x="37287" y="2489"/>
                  </a:lnTo>
                  <a:lnTo>
                    <a:pt x="37080" y="238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3" name="Google Shape;2522;p11">
              <a:extLst>
                <a:ext uri="{FF2B5EF4-FFF2-40B4-BE49-F238E27FC236}">
                  <a16:creationId xmlns:a16="http://schemas.microsoft.com/office/drawing/2014/main" id="{4967F171-278E-D6C9-65BE-C09E96929181}"/>
                </a:ext>
              </a:extLst>
            </p:cNvPr>
            <p:cNvSpPr/>
            <p:nvPr/>
          </p:nvSpPr>
          <p:spPr>
            <a:xfrm>
              <a:off x="4294650" y="3308450"/>
              <a:ext cx="84675" cy="400875"/>
            </a:xfrm>
            <a:custGeom>
              <a:avLst/>
              <a:gdLst/>
              <a:ahLst/>
              <a:cxnLst/>
              <a:rect l="l" t="t" r="r" b="b"/>
              <a:pathLst>
                <a:path w="3387" h="16035" extrusionOk="0">
                  <a:moveTo>
                    <a:pt x="207" y="0"/>
                  </a:moveTo>
                  <a:lnTo>
                    <a:pt x="311" y="70"/>
                  </a:lnTo>
                  <a:lnTo>
                    <a:pt x="380" y="173"/>
                  </a:lnTo>
                  <a:lnTo>
                    <a:pt x="449" y="381"/>
                  </a:lnTo>
                  <a:lnTo>
                    <a:pt x="449" y="1175"/>
                  </a:lnTo>
                  <a:lnTo>
                    <a:pt x="518" y="1970"/>
                  </a:lnTo>
                  <a:lnTo>
                    <a:pt x="622" y="3525"/>
                  </a:lnTo>
                  <a:lnTo>
                    <a:pt x="760" y="5149"/>
                  </a:lnTo>
                  <a:lnTo>
                    <a:pt x="899" y="6912"/>
                  </a:lnTo>
                  <a:lnTo>
                    <a:pt x="899" y="7810"/>
                  </a:lnTo>
                  <a:lnTo>
                    <a:pt x="933" y="8778"/>
                  </a:lnTo>
                  <a:lnTo>
                    <a:pt x="899" y="9814"/>
                  </a:lnTo>
                  <a:lnTo>
                    <a:pt x="829" y="10920"/>
                  </a:lnTo>
                  <a:lnTo>
                    <a:pt x="691" y="12061"/>
                  </a:lnTo>
                  <a:lnTo>
                    <a:pt x="518" y="13305"/>
                  </a:lnTo>
                  <a:lnTo>
                    <a:pt x="311" y="14618"/>
                  </a:lnTo>
                  <a:lnTo>
                    <a:pt x="0" y="16035"/>
                  </a:lnTo>
                  <a:lnTo>
                    <a:pt x="104" y="15966"/>
                  </a:lnTo>
                  <a:lnTo>
                    <a:pt x="207" y="15827"/>
                  </a:lnTo>
                  <a:lnTo>
                    <a:pt x="449" y="15378"/>
                  </a:lnTo>
                  <a:lnTo>
                    <a:pt x="726" y="14825"/>
                  </a:lnTo>
                  <a:lnTo>
                    <a:pt x="968" y="14341"/>
                  </a:lnTo>
                  <a:lnTo>
                    <a:pt x="1210" y="13892"/>
                  </a:lnTo>
                  <a:lnTo>
                    <a:pt x="1452" y="13270"/>
                  </a:lnTo>
                  <a:lnTo>
                    <a:pt x="1693" y="12544"/>
                  </a:lnTo>
                  <a:lnTo>
                    <a:pt x="1935" y="11681"/>
                  </a:lnTo>
                  <a:lnTo>
                    <a:pt x="2177" y="10747"/>
                  </a:lnTo>
                  <a:lnTo>
                    <a:pt x="2385" y="9780"/>
                  </a:lnTo>
                  <a:lnTo>
                    <a:pt x="2799" y="7707"/>
                  </a:lnTo>
                  <a:lnTo>
                    <a:pt x="3110" y="5737"/>
                  </a:lnTo>
                  <a:lnTo>
                    <a:pt x="3318" y="3974"/>
                  </a:lnTo>
                  <a:lnTo>
                    <a:pt x="3387" y="3249"/>
                  </a:lnTo>
                  <a:lnTo>
                    <a:pt x="3387" y="2661"/>
                  </a:lnTo>
                  <a:lnTo>
                    <a:pt x="3387" y="2247"/>
                  </a:lnTo>
                  <a:lnTo>
                    <a:pt x="3352" y="2108"/>
                  </a:lnTo>
                  <a:lnTo>
                    <a:pt x="3318" y="2005"/>
                  </a:lnTo>
                  <a:lnTo>
                    <a:pt x="3179" y="1728"/>
                  </a:lnTo>
                  <a:lnTo>
                    <a:pt x="3007" y="1452"/>
                  </a:lnTo>
                  <a:lnTo>
                    <a:pt x="2765" y="1244"/>
                  </a:lnTo>
                  <a:lnTo>
                    <a:pt x="2454" y="1003"/>
                  </a:lnTo>
                  <a:lnTo>
                    <a:pt x="2074" y="795"/>
                  </a:lnTo>
                  <a:lnTo>
                    <a:pt x="1590" y="553"/>
                  </a:lnTo>
                  <a:lnTo>
                    <a:pt x="968" y="277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AA2B2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4" name="Google Shape;2523;p11">
              <a:extLst>
                <a:ext uri="{FF2B5EF4-FFF2-40B4-BE49-F238E27FC236}">
                  <a16:creationId xmlns:a16="http://schemas.microsoft.com/office/drawing/2014/main" id="{56F52617-92F3-A589-B38B-E09A62299BE0}"/>
                </a:ext>
              </a:extLst>
            </p:cNvPr>
            <p:cNvSpPr/>
            <p:nvPr/>
          </p:nvSpPr>
          <p:spPr>
            <a:xfrm>
              <a:off x="4294650" y="3308450"/>
              <a:ext cx="84675" cy="400875"/>
            </a:xfrm>
            <a:custGeom>
              <a:avLst/>
              <a:gdLst/>
              <a:ahLst/>
              <a:cxnLst/>
              <a:rect l="l" t="t" r="r" b="b"/>
              <a:pathLst>
                <a:path w="3387" h="16035" fill="none" extrusionOk="0">
                  <a:moveTo>
                    <a:pt x="207" y="0"/>
                  </a:moveTo>
                  <a:lnTo>
                    <a:pt x="207" y="0"/>
                  </a:lnTo>
                  <a:lnTo>
                    <a:pt x="311" y="70"/>
                  </a:lnTo>
                  <a:lnTo>
                    <a:pt x="380" y="173"/>
                  </a:lnTo>
                  <a:lnTo>
                    <a:pt x="449" y="381"/>
                  </a:lnTo>
                  <a:lnTo>
                    <a:pt x="449" y="381"/>
                  </a:lnTo>
                  <a:lnTo>
                    <a:pt x="449" y="1175"/>
                  </a:lnTo>
                  <a:lnTo>
                    <a:pt x="518" y="1970"/>
                  </a:lnTo>
                  <a:lnTo>
                    <a:pt x="622" y="3525"/>
                  </a:lnTo>
                  <a:lnTo>
                    <a:pt x="760" y="5149"/>
                  </a:lnTo>
                  <a:lnTo>
                    <a:pt x="899" y="6912"/>
                  </a:lnTo>
                  <a:lnTo>
                    <a:pt x="899" y="7810"/>
                  </a:lnTo>
                  <a:lnTo>
                    <a:pt x="933" y="8778"/>
                  </a:lnTo>
                  <a:lnTo>
                    <a:pt x="899" y="9814"/>
                  </a:lnTo>
                  <a:lnTo>
                    <a:pt x="829" y="10920"/>
                  </a:lnTo>
                  <a:lnTo>
                    <a:pt x="691" y="12061"/>
                  </a:lnTo>
                  <a:lnTo>
                    <a:pt x="518" y="13305"/>
                  </a:lnTo>
                  <a:lnTo>
                    <a:pt x="311" y="14618"/>
                  </a:lnTo>
                  <a:lnTo>
                    <a:pt x="0" y="16035"/>
                  </a:lnTo>
                  <a:lnTo>
                    <a:pt x="0" y="16035"/>
                  </a:lnTo>
                  <a:lnTo>
                    <a:pt x="104" y="15966"/>
                  </a:lnTo>
                  <a:lnTo>
                    <a:pt x="207" y="15827"/>
                  </a:lnTo>
                  <a:lnTo>
                    <a:pt x="449" y="15378"/>
                  </a:lnTo>
                  <a:lnTo>
                    <a:pt x="726" y="14825"/>
                  </a:lnTo>
                  <a:lnTo>
                    <a:pt x="968" y="14341"/>
                  </a:lnTo>
                  <a:lnTo>
                    <a:pt x="968" y="14341"/>
                  </a:lnTo>
                  <a:lnTo>
                    <a:pt x="1210" y="13892"/>
                  </a:lnTo>
                  <a:lnTo>
                    <a:pt x="1452" y="13270"/>
                  </a:lnTo>
                  <a:lnTo>
                    <a:pt x="1693" y="12544"/>
                  </a:lnTo>
                  <a:lnTo>
                    <a:pt x="1935" y="11681"/>
                  </a:lnTo>
                  <a:lnTo>
                    <a:pt x="2177" y="10747"/>
                  </a:lnTo>
                  <a:lnTo>
                    <a:pt x="2385" y="9780"/>
                  </a:lnTo>
                  <a:lnTo>
                    <a:pt x="2799" y="7707"/>
                  </a:lnTo>
                  <a:lnTo>
                    <a:pt x="3110" y="5737"/>
                  </a:lnTo>
                  <a:lnTo>
                    <a:pt x="3318" y="3974"/>
                  </a:lnTo>
                  <a:lnTo>
                    <a:pt x="3387" y="3249"/>
                  </a:lnTo>
                  <a:lnTo>
                    <a:pt x="3387" y="2661"/>
                  </a:lnTo>
                  <a:lnTo>
                    <a:pt x="3387" y="2247"/>
                  </a:lnTo>
                  <a:lnTo>
                    <a:pt x="3352" y="2108"/>
                  </a:lnTo>
                  <a:lnTo>
                    <a:pt x="3318" y="2005"/>
                  </a:lnTo>
                  <a:lnTo>
                    <a:pt x="3318" y="2005"/>
                  </a:lnTo>
                  <a:lnTo>
                    <a:pt x="3179" y="1728"/>
                  </a:lnTo>
                  <a:lnTo>
                    <a:pt x="3007" y="1452"/>
                  </a:lnTo>
                  <a:lnTo>
                    <a:pt x="2765" y="1244"/>
                  </a:lnTo>
                  <a:lnTo>
                    <a:pt x="2454" y="1003"/>
                  </a:lnTo>
                  <a:lnTo>
                    <a:pt x="2074" y="795"/>
                  </a:lnTo>
                  <a:lnTo>
                    <a:pt x="1590" y="553"/>
                  </a:lnTo>
                  <a:lnTo>
                    <a:pt x="968" y="277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pic>
        <p:nvPicPr>
          <p:cNvPr id="295" name="Google Shape;2524;p11">
            <a:extLst>
              <a:ext uri="{FF2B5EF4-FFF2-40B4-BE49-F238E27FC236}">
                <a16:creationId xmlns:a16="http://schemas.microsoft.com/office/drawing/2014/main" id="{420800B7-5393-2781-7D2E-5835664F2BFD}"/>
              </a:ext>
            </a:extLst>
          </p:cNvPr>
          <p:cNvPicPr preferRelativeResize="0"/>
          <p:nvPr/>
        </p:nvPicPr>
        <p:blipFill rotWithShape="1">
          <a:blip r:embed="rId6">
            <a:alphaModFix amt="80000"/>
          </a:blip>
          <a:srcRect/>
          <a:stretch/>
        </p:blipFill>
        <p:spPr>
          <a:xfrm>
            <a:off x="4454412" y="2317707"/>
            <a:ext cx="381498" cy="62852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96" name="Google Shape;2525;p11">
            <a:extLst>
              <a:ext uri="{FF2B5EF4-FFF2-40B4-BE49-F238E27FC236}">
                <a16:creationId xmlns:a16="http://schemas.microsoft.com/office/drawing/2014/main" id="{F293C7B7-FB21-A1F3-2F67-1B069C5078B2}"/>
              </a:ext>
            </a:extLst>
          </p:cNvPr>
          <p:cNvGrpSpPr/>
          <p:nvPr/>
        </p:nvGrpSpPr>
        <p:grpSpPr>
          <a:xfrm>
            <a:off x="1607074" y="2370371"/>
            <a:ext cx="825103" cy="596009"/>
            <a:chOff x="238125" y="275125"/>
            <a:chExt cx="7143750" cy="5164725"/>
          </a:xfrm>
        </p:grpSpPr>
        <p:sp>
          <p:nvSpPr>
            <p:cNvPr id="297" name="Google Shape;2526;p11">
              <a:extLst>
                <a:ext uri="{FF2B5EF4-FFF2-40B4-BE49-F238E27FC236}">
                  <a16:creationId xmlns:a16="http://schemas.microsoft.com/office/drawing/2014/main" id="{9E85B7CD-6CC4-D5CE-0D6E-36ABF7ED049C}"/>
                </a:ext>
              </a:extLst>
            </p:cNvPr>
            <p:cNvSpPr/>
            <p:nvPr/>
          </p:nvSpPr>
          <p:spPr>
            <a:xfrm>
              <a:off x="3024925" y="793050"/>
              <a:ext cx="823250" cy="1504725"/>
            </a:xfrm>
            <a:custGeom>
              <a:avLst/>
              <a:gdLst/>
              <a:ahLst/>
              <a:cxnLst/>
              <a:rect l="l" t="t" r="r" b="b"/>
              <a:pathLst>
                <a:path w="32930" h="60189" extrusionOk="0">
                  <a:moveTo>
                    <a:pt x="32930" y="0"/>
                  </a:moveTo>
                  <a:lnTo>
                    <a:pt x="32639" y="109"/>
                  </a:lnTo>
                  <a:lnTo>
                    <a:pt x="32493" y="1563"/>
                  </a:lnTo>
                  <a:lnTo>
                    <a:pt x="32275" y="3053"/>
                  </a:lnTo>
                  <a:lnTo>
                    <a:pt x="32021" y="4689"/>
                  </a:lnTo>
                  <a:lnTo>
                    <a:pt x="31730" y="6397"/>
                  </a:lnTo>
                  <a:lnTo>
                    <a:pt x="31367" y="8178"/>
                  </a:lnTo>
                  <a:lnTo>
                    <a:pt x="31003" y="10068"/>
                  </a:lnTo>
                  <a:lnTo>
                    <a:pt x="30131" y="13957"/>
                  </a:lnTo>
                  <a:lnTo>
                    <a:pt x="29150" y="18064"/>
                  </a:lnTo>
                  <a:lnTo>
                    <a:pt x="28059" y="22244"/>
                  </a:lnTo>
                  <a:lnTo>
                    <a:pt x="26896" y="26496"/>
                  </a:lnTo>
                  <a:lnTo>
                    <a:pt x="25697" y="30749"/>
                  </a:lnTo>
                  <a:lnTo>
                    <a:pt x="24425" y="34892"/>
                  </a:lnTo>
                  <a:lnTo>
                    <a:pt x="23189" y="38890"/>
                  </a:lnTo>
                  <a:lnTo>
                    <a:pt x="21953" y="42670"/>
                  </a:lnTo>
                  <a:lnTo>
                    <a:pt x="20717" y="46123"/>
                  </a:lnTo>
                  <a:lnTo>
                    <a:pt x="19591" y="49248"/>
                  </a:lnTo>
                  <a:lnTo>
                    <a:pt x="18500" y="51938"/>
                  </a:lnTo>
                  <a:lnTo>
                    <a:pt x="18028" y="53101"/>
                  </a:lnTo>
                  <a:lnTo>
                    <a:pt x="17555" y="54119"/>
                  </a:lnTo>
                  <a:lnTo>
                    <a:pt x="17119" y="55027"/>
                  </a:lnTo>
                  <a:lnTo>
                    <a:pt x="16719" y="55754"/>
                  </a:lnTo>
                  <a:lnTo>
                    <a:pt x="16538" y="56009"/>
                  </a:lnTo>
                  <a:lnTo>
                    <a:pt x="16320" y="56300"/>
                  </a:lnTo>
                  <a:lnTo>
                    <a:pt x="16101" y="56518"/>
                  </a:lnTo>
                  <a:lnTo>
                    <a:pt x="15847" y="56772"/>
                  </a:lnTo>
                  <a:lnTo>
                    <a:pt x="15556" y="56990"/>
                  </a:lnTo>
                  <a:lnTo>
                    <a:pt x="15229" y="57245"/>
                  </a:lnTo>
                  <a:lnTo>
                    <a:pt x="14539" y="57644"/>
                  </a:lnTo>
                  <a:lnTo>
                    <a:pt x="13739" y="58044"/>
                  </a:lnTo>
                  <a:lnTo>
                    <a:pt x="12867" y="58371"/>
                  </a:lnTo>
                  <a:lnTo>
                    <a:pt x="11885" y="58698"/>
                  </a:lnTo>
                  <a:lnTo>
                    <a:pt x="10831" y="58953"/>
                  </a:lnTo>
                  <a:lnTo>
                    <a:pt x="9705" y="59207"/>
                  </a:lnTo>
                  <a:lnTo>
                    <a:pt x="8505" y="59425"/>
                  </a:lnTo>
                  <a:lnTo>
                    <a:pt x="7233" y="59607"/>
                  </a:lnTo>
                  <a:lnTo>
                    <a:pt x="5888" y="59789"/>
                  </a:lnTo>
                  <a:lnTo>
                    <a:pt x="4471" y="59898"/>
                  </a:lnTo>
                  <a:lnTo>
                    <a:pt x="3053" y="60007"/>
                  </a:lnTo>
                  <a:lnTo>
                    <a:pt x="1563" y="60116"/>
                  </a:lnTo>
                  <a:lnTo>
                    <a:pt x="0" y="60152"/>
                  </a:lnTo>
                  <a:lnTo>
                    <a:pt x="37" y="60152"/>
                  </a:lnTo>
                  <a:lnTo>
                    <a:pt x="1854" y="60189"/>
                  </a:lnTo>
                  <a:lnTo>
                    <a:pt x="3998" y="60152"/>
                  </a:lnTo>
                  <a:lnTo>
                    <a:pt x="6034" y="60080"/>
                  </a:lnTo>
                  <a:lnTo>
                    <a:pt x="7887" y="60007"/>
                  </a:lnTo>
                  <a:lnTo>
                    <a:pt x="9632" y="59861"/>
                  </a:lnTo>
                  <a:lnTo>
                    <a:pt x="11267" y="59680"/>
                  </a:lnTo>
                  <a:lnTo>
                    <a:pt x="12721" y="59462"/>
                  </a:lnTo>
                  <a:lnTo>
                    <a:pt x="14102" y="59207"/>
                  </a:lnTo>
                  <a:lnTo>
                    <a:pt x="15338" y="58916"/>
                  </a:lnTo>
                  <a:lnTo>
                    <a:pt x="16465" y="58589"/>
                  </a:lnTo>
                  <a:lnTo>
                    <a:pt x="17483" y="58262"/>
                  </a:lnTo>
                  <a:lnTo>
                    <a:pt x="18391" y="57862"/>
                  </a:lnTo>
                  <a:lnTo>
                    <a:pt x="19227" y="57463"/>
                  </a:lnTo>
                  <a:lnTo>
                    <a:pt x="19918" y="57026"/>
                  </a:lnTo>
                  <a:lnTo>
                    <a:pt x="20572" y="56554"/>
                  </a:lnTo>
                  <a:lnTo>
                    <a:pt x="21081" y="56081"/>
                  </a:lnTo>
                  <a:lnTo>
                    <a:pt x="21553" y="55573"/>
                  </a:lnTo>
                  <a:lnTo>
                    <a:pt x="22171" y="54700"/>
                  </a:lnTo>
                  <a:lnTo>
                    <a:pt x="22862" y="53646"/>
                  </a:lnTo>
                  <a:lnTo>
                    <a:pt x="23225" y="53065"/>
                  </a:lnTo>
                  <a:lnTo>
                    <a:pt x="23589" y="52374"/>
                  </a:lnTo>
                  <a:lnTo>
                    <a:pt x="23988" y="51647"/>
                  </a:lnTo>
                  <a:lnTo>
                    <a:pt x="24352" y="50848"/>
                  </a:lnTo>
                  <a:lnTo>
                    <a:pt x="24752" y="49975"/>
                  </a:lnTo>
                  <a:lnTo>
                    <a:pt x="25152" y="48994"/>
                  </a:lnTo>
                  <a:lnTo>
                    <a:pt x="25551" y="47976"/>
                  </a:lnTo>
                  <a:lnTo>
                    <a:pt x="25951" y="46850"/>
                  </a:lnTo>
                  <a:lnTo>
                    <a:pt x="26351" y="45650"/>
                  </a:lnTo>
                  <a:lnTo>
                    <a:pt x="26751" y="44342"/>
                  </a:lnTo>
                  <a:lnTo>
                    <a:pt x="27151" y="42924"/>
                  </a:lnTo>
                  <a:lnTo>
                    <a:pt x="27587" y="41434"/>
                  </a:lnTo>
                  <a:lnTo>
                    <a:pt x="27987" y="39799"/>
                  </a:lnTo>
                  <a:lnTo>
                    <a:pt x="28350" y="38090"/>
                  </a:lnTo>
                  <a:lnTo>
                    <a:pt x="28750" y="36237"/>
                  </a:lnTo>
                  <a:lnTo>
                    <a:pt x="29150" y="34274"/>
                  </a:lnTo>
                  <a:lnTo>
                    <a:pt x="29513" y="32202"/>
                  </a:lnTo>
                  <a:lnTo>
                    <a:pt x="29913" y="29985"/>
                  </a:lnTo>
                  <a:lnTo>
                    <a:pt x="30276" y="27659"/>
                  </a:lnTo>
                  <a:lnTo>
                    <a:pt x="30603" y="25188"/>
                  </a:lnTo>
                  <a:lnTo>
                    <a:pt x="30967" y="22571"/>
                  </a:lnTo>
                  <a:lnTo>
                    <a:pt x="31294" y="19808"/>
                  </a:lnTo>
                  <a:lnTo>
                    <a:pt x="31621" y="16901"/>
                  </a:lnTo>
                  <a:lnTo>
                    <a:pt x="31912" y="13848"/>
                  </a:lnTo>
                  <a:lnTo>
                    <a:pt x="32203" y="10649"/>
                  </a:lnTo>
                  <a:lnTo>
                    <a:pt x="32457" y="7269"/>
                  </a:lnTo>
                  <a:lnTo>
                    <a:pt x="32711" y="3707"/>
                  </a:lnTo>
                  <a:lnTo>
                    <a:pt x="32930" y="0"/>
                  </a:lnTo>
                  <a:close/>
                </a:path>
              </a:pathLst>
            </a:custGeom>
            <a:solidFill>
              <a:srgbClr val="D7D7D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8" name="Google Shape;2527;p11">
              <a:extLst>
                <a:ext uri="{FF2B5EF4-FFF2-40B4-BE49-F238E27FC236}">
                  <a16:creationId xmlns:a16="http://schemas.microsoft.com/office/drawing/2014/main" id="{CAEA852B-BCB7-1D27-E0E5-A10CC86152A7}"/>
                </a:ext>
              </a:extLst>
            </p:cNvPr>
            <p:cNvSpPr/>
            <p:nvPr/>
          </p:nvSpPr>
          <p:spPr>
            <a:xfrm>
              <a:off x="3024925" y="793050"/>
              <a:ext cx="823250" cy="1504725"/>
            </a:xfrm>
            <a:custGeom>
              <a:avLst/>
              <a:gdLst/>
              <a:ahLst/>
              <a:cxnLst/>
              <a:rect l="l" t="t" r="r" b="b"/>
              <a:pathLst>
                <a:path w="32930" h="60189" fill="none" extrusionOk="0">
                  <a:moveTo>
                    <a:pt x="32930" y="0"/>
                  </a:moveTo>
                  <a:lnTo>
                    <a:pt x="32639" y="109"/>
                  </a:lnTo>
                  <a:lnTo>
                    <a:pt x="32639" y="109"/>
                  </a:lnTo>
                  <a:lnTo>
                    <a:pt x="32493" y="1563"/>
                  </a:lnTo>
                  <a:lnTo>
                    <a:pt x="32275" y="3053"/>
                  </a:lnTo>
                  <a:lnTo>
                    <a:pt x="32021" y="4689"/>
                  </a:lnTo>
                  <a:lnTo>
                    <a:pt x="31730" y="6397"/>
                  </a:lnTo>
                  <a:lnTo>
                    <a:pt x="31367" y="8178"/>
                  </a:lnTo>
                  <a:lnTo>
                    <a:pt x="31003" y="10068"/>
                  </a:lnTo>
                  <a:lnTo>
                    <a:pt x="30131" y="13957"/>
                  </a:lnTo>
                  <a:lnTo>
                    <a:pt x="29150" y="18064"/>
                  </a:lnTo>
                  <a:lnTo>
                    <a:pt x="28059" y="22244"/>
                  </a:lnTo>
                  <a:lnTo>
                    <a:pt x="26896" y="26496"/>
                  </a:lnTo>
                  <a:lnTo>
                    <a:pt x="25697" y="30749"/>
                  </a:lnTo>
                  <a:lnTo>
                    <a:pt x="24425" y="34892"/>
                  </a:lnTo>
                  <a:lnTo>
                    <a:pt x="23189" y="38890"/>
                  </a:lnTo>
                  <a:lnTo>
                    <a:pt x="21953" y="42670"/>
                  </a:lnTo>
                  <a:lnTo>
                    <a:pt x="20717" y="46123"/>
                  </a:lnTo>
                  <a:lnTo>
                    <a:pt x="19591" y="49248"/>
                  </a:lnTo>
                  <a:lnTo>
                    <a:pt x="18500" y="51938"/>
                  </a:lnTo>
                  <a:lnTo>
                    <a:pt x="18028" y="53101"/>
                  </a:lnTo>
                  <a:lnTo>
                    <a:pt x="17555" y="54119"/>
                  </a:lnTo>
                  <a:lnTo>
                    <a:pt x="17119" y="55027"/>
                  </a:lnTo>
                  <a:lnTo>
                    <a:pt x="16719" y="55754"/>
                  </a:lnTo>
                  <a:lnTo>
                    <a:pt x="16719" y="55754"/>
                  </a:lnTo>
                  <a:lnTo>
                    <a:pt x="16538" y="56009"/>
                  </a:lnTo>
                  <a:lnTo>
                    <a:pt x="16320" y="56300"/>
                  </a:lnTo>
                  <a:lnTo>
                    <a:pt x="16101" y="56518"/>
                  </a:lnTo>
                  <a:lnTo>
                    <a:pt x="15847" y="56772"/>
                  </a:lnTo>
                  <a:lnTo>
                    <a:pt x="15556" y="56990"/>
                  </a:lnTo>
                  <a:lnTo>
                    <a:pt x="15229" y="57245"/>
                  </a:lnTo>
                  <a:lnTo>
                    <a:pt x="14539" y="57644"/>
                  </a:lnTo>
                  <a:lnTo>
                    <a:pt x="13739" y="58044"/>
                  </a:lnTo>
                  <a:lnTo>
                    <a:pt x="12867" y="58371"/>
                  </a:lnTo>
                  <a:lnTo>
                    <a:pt x="11885" y="58698"/>
                  </a:lnTo>
                  <a:lnTo>
                    <a:pt x="10831" y="58953"/>
                  </a:lnTo>
                  <a:lnTo>
                    <a:pt x="9705" y="59207"/>
                  </a:lnTo>
                  <a:lnTo>
                    <a:pt x="8505" y="59425"/>
                  </a:lnTo>
                  <a:lnTo>
                    <a:pt x="7233" y="59607"/>
                  </a:lnTo>
                  <a:lnTo>
                    <a:pt x="5888" y="59789"/>
                  </a:lnTo>
                  <a:lnTo>
                    <a:pt x="4471" y="59898"/>
                  </a:lnTo>
                  <a:lnTo>
                    <a:pt x="3053" y="60007"/>
                  </a:lnTo>
                  <a:lnTo>
                    <a:pt x="1563" y="60116"/>
                  </a:lnTo>
                  <a:lnTo>
                    <a:pt x="0" y="60152"/>
                  </a:lnTo>
                  <a:lnTo>
                    <a:pt x="0" y="60152"/>
                  </a:lnTo>
                  <a:lnTo>
                    <a:pt x="37" y="60152"/>
                  </a:lnTo>
                  <a:lnTo>
                    <a:pt x="37" y="60152"/>
                  </a:lnTo>
                  <a:lnTo>
                    <a:pt x="1854" y="60189"/>
                  </a:lnTo>
                  <a:lnTo>
                    <a:pt x="1854" y="60189"/>
                  </a:lnTo>
                  <a:lnTo>
                    <a:pt x="3998" y="60152"/>
                  </a:lnTo>
                  <a:lnTo>
                    <a:pt x="6034" y="60080"/>
                  </a:lnTo>
                  <a:lnTo>
                    <a:pt x="7887" y="60007"/>
                  </a:lnTo>
                  <a:lnTo>
                    <a:pt x="9632" y="59861"/>
                  </a:lnTo>
                  <a:lnTo>
                    <a:pt x="11267" y="59680"/>
                  </a:lnTo>
                  <a:lnTo>
                    <a:pt x="12721" y="59462"/>
                  </a:lnTo>
                  <a:lnTo>
                    <a:pt x="14102" y="59207"/>
                  </a:lnTo>
                  <a:lnTo>
                    <a:pt x="15338" y="58916"/>
                  </a:lnTo>
                  <a:lnTo>
                    <a:pt x="16465" y="58589"/>
                  </a:lnTo>
                  <a:lnTo>
                    <a:pt x="17483" y="58262"/>
                  </a:lnTo>
                  <a:lnTo>
                    <a:pt x="18391" y="57862"/>
                  </a:lnTo>
                  <a:lnTo>
                    <a:pt x="19227" y="57463"/>
                  </a:lnTo>
                  <a:lnTo>
                    <a:pt x="19918" y="57026"/>
                  </a:lnTo>
                  <a:lnTo>
                    <a:pt x="20572" y="56554"/>
                  </a:lnTo>
                  <a:lnTo>
                    <a:pt x="21081" y="56081"/>
                  </a:lnTo>
                  <a:lnTo>
                    <a:pt x="21553" y="55573"/>
                  </a:lnTo>
                  <a:lnTo>
                    <a:pt x="21553" y="55573"/>
                  </a:lnTo>
                  <a:lnTo>
                    <a:pt x="22171" y="54700"/>
                  </a:lnTo>
                  <a:lnTo>
                    <a:pt x="22862" y="53646"/>
                  </a:lnTo>
                  <a:lnTo>
                    <a:pt x="23225" y="53065"/>
                  </a:lnTo>
                  <a:lnTo>
                    <a:pt x="23589" y="52374"/>
                  </a:lnTo>
                  <a:lnTo>
                    <a:pt x="23988" y="51647"/>
                  </a:lnTo>
                  <a:lnTo>
                    <a:pt x="24352" y="50848"/>
                  </a:lnTo>
                  <a:lnTo>
                    <a:pt x="24752" y="49975"/>
                  </a:lnTo>
                  <a:lnTo>
                    <a:pt x="25152" y="48994"/>
                  </a:lnTo>
                  <a:lnTo>
                    <a:pt x="25551" y="47976"/>
                  </a:lnTo>
                  <a:lnTo>
                    <a:pt x="25951" y="46850"/>
                  </a:lnTo>
                  <a:lnTo>
                    <a:pt x="26351" y="45650"/>
                  </a:lnTo>
                  <a:lnTo>
                    <a:pt x="26751" y="44342"/>
                  </a:lnTo>
                  <a:lnTo>
                    <a:pt x="27151" y="42924"/>
                  </a:lnTo>
                  <a:lnTo>
                    <a:pt x="27587" y="41434"/>
                  </a:lnTo>
                  <a:lnTo>
                    <a:pt x="27987" y="39799"/>
                  </a:lnTo>
                  <a:lnTo>
                    <a:pt x="28350" y="38090"/>
                  </a:lnTo>
                  <a:lnTo>
                    <a:pt x="28750" y="36237"/>
                  </a:lnTo>
                  <a:lnTo>
                    <a:pt x="29150" y="34274"/>
                  </a:lnTo>
                  <a:lnTo>
                    <a:pt x="29513" y="32202"/>
                  </a:lnTo>
                  <a:lnTo>
                    <a:pt x="29913" y="29985"/>
                  </a:lnTo>
                  <a:lnTo>
                    <a:pt x="30276" y="27659"/>
                  </a:lnTo>
                  <a:lnTo>
                    <a:pt x="30603" y="25188"/>
                  </a:lnTo>
                  <a:lnTo>
                    <a:pt x="30967" y="22571"/>
                  </a:lnTo>
                  <a:lnTo>
                    <a:pt x="31294" y="19808"/>
                  </a:lnTo>
                  <a:lnTo>
                    <a:pt x="31621" y="16901"/>
                  </a:lnTo>
                  <a:lnTo>
                    <a:pt x="31912" y="13848"/>
                  </a:lnTo>
                  <a:lnTo>
                    <a:pt x="32203" y="10649"/>
                  </a:lnTo>
                  <a:lnTo>
                    <a:pt x="32457" y="7269"/>
                  </a:lnTo>
                  <a:lnTo>
                    <a:pt x="32711" y="3707"/>
                  </a:lnTo>
                  <a:lnTo>
                    <a:pt x="3293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9" name="Google Shape;2528;p11">
              <a:extLst>
                <a:ext uri="{FF2B5EF4-FFF2-40B4-BE49-F238E27FC236}">
                  <a16:creationId xmlns:a16="http://schemas.microsoft.com/office/drawing/2014/main" id="{29BC2FF2-E5CB-F7F9-52CF-3083AECD0109}"/>
                </a:ext>
              </a:extLst>
            </p:cNvPr>
            <p:cNvSpPr/>
            <p:nvPr/>
          </p:nvSpPr>
          <p:spPr>
            <a:xfrm>
              <a:off x="1927275" y="536800"/>
              <a:ext cx="1918175" cy="1761875"/>
            </a:xfrm>
            <a:custGeom>
              <a:avLst/>
              <a:gdLst/>
              <a:ahLst/>
              <a:cxnLst/>
              <a:rect l="l" t="t" r="r" b="b"/>
              <a:pathLst>
                <a:path w="76727" h="70475" extrusionOk="0">
                  <a:moveTo>
                    <a:pt x="49249" y="1"/>
                  </a:moveTo>
                  <a:lnTo>
                    <a:pt x="46596" y="37"/>
                  </a:lnTo>
                  <a:lnTo>
                    <a:pt x="43943" y="146"/>
                  </a:lnTo>
                  <a:lnTo>
                    <a:pt x="41289" y="255"/>
                  </a:lnTo>
                  <a:lnTo>
                    <a:pt x="38709" y="400"/>
                  </a:lnTo>
                  <a:lnTo>
                    <a:pt x="36201" y="582"/>
                  </a:lnTo>
                  <a:lnTo>
                    <a:pt x="33766" y="764"/>
                  </a:lnTo>
                  <a:lnTo>
                    <a:pt x="31403" y="1018"/>
                  </a:lnTo>
                  <a:lnTo>
                    <a:pt x="29223" y="1273"/>
                  </a:lnTo>
                  <a:lnTo>
                    <a:pt x="27151" y="1563"/>
                  </a:lnTo>
                  <a:lnTo>
                    <a:pt x="25261" y="1891"/>
                  </a:lnTo>
                  <a:lnTo>
                    <a:pt x="23553" y="2254"/>
                  </a:lnTo>
                  <a:lnTo>
                    <a:pt x="22026" y="2617"/>
                  </a:lnTo>
                  <a:lnTo>
                    <a:pt x="20754" y="2981"/>
                  </a:lnTo>
                  <a:lnTo>
                    <a:pt x="20209" y="3199"/>
                  </a:lnTo>
                  <a:lnTo>
                    <a:pt x="19700" y="3381"/>
                  </a:lnTo>
                  <a:lnTo>
                    <a:pt x="19300" y="3599"/>
                  </a:lnTo>
                  <a:lnTo>
                    <a:pt x="18937" y="3817"/>
                  </a:lnTo>
                  <a:lnTo>
                    <a:pt x="18646" y="4035"/>
                  </a:lnTo>
                  <a:lnTo>
                    <a:pt x="18428" y="4253"/>
                  </a:lnTo>
                  <a:lnTo>
                    <a:pt x="18319" y="4471"/>
                  </a:lnTo>
                  <a:lnTo>
                    <a:pt x="18246" y="4689"/>
                  </a:lnTo>
                  <a:lnTo>
                    <a:pt x="18174" y="5525"/>
                  </a:lnTo>
                  <a:lnTo>
                    <a:pt x="18065" y="6434"/>
                  </a:lnTo>
                  <a:lnTo>
                    <a:pt x="17919" y="7342"/>
                  </a:lnTo>
                  <a:lnTo>
                    <a:pt x="17774" y="8324"/>
                  </a:lnTo>
                  <a:lnTo>
                    <a:pt x="17338" y="10323"/>
                  </a:lnTo>
                  <a:lnTo>
                    <a:pt x="16829" y="12467"/>
                  </a:lnTo>
                  <a:lnTo>
                    <a:pt x="16211" y="14684"/>
                  </a:lnTo>
                  <a:lnTo>
                    <a:pt x="15484" y="17010"/>
                  </a:lnTo>
                  <a:lnTo>
                    <a:pt x="14721" y="19409"/>
                  </a:lnTo>
                  <a:lnTo>
                    <a:pt x="13885" y="21844"/>
                  </a:lnTo>
                  <a:lnTo>
                    <a:pt x="12976" y="24352"/>
                  </a:lnTo>
                  <a:lnTo>
                    <a:pt x="12031" y="26933"/>
                  </a:lnTo>
                  <a:lnTo>
                    <a:pt x="10068" y="32094"/>
                  </a:lnTo>
                  <a:lnTo>
                    <a:pt x="8069" y="37255"/>
                  </a:lnTo>
                  <a:lnTo>
                    <a:pt x="6107" y="42343"/>
                  </a:lnTo>
                  <a:lnTo>
                    <a:pt x="4289" y="47214"/>
                  </a:lnTo>
                  <a:lnTo>
                    <a:pt x="3454" y="49540"/>
                  </a:lnTo>
                  <a:lnTo>
                    <a:pt x="2690" y="51793"/>
                  </a:lnTo>
                  <a:lnTo>
                    <a:pt x="2000" y="53938"/>
                  </a:lnTo>
                  <a:lnTo>
                    <a:pt x="1382" y="56009"/>
                  </a:lnTo>
                  <a:lnTo>
                    <a:pt x="873" y="57899"/>
                  </a:lnTo>
                  <a:lnTo>
                    <a:pt x="473" y="59680"/>
                  </a:lnTo>
                  <a:lnTo>
                    <a:pt x="328" y="60516"/>
                  </a:lnTo>
                  <a:lnTo>
                    <a:pt x="182" y="61316"/>
                  </a:lnTo>
                  <a:lnTo>
                    <a:pt x="110" y="62079"/>
                  </a:lnTo>
                  <a:lnTo>
                    <a:pt x="37" y="62806"/>
                  </a:lnTo>
                  <a:lnTo>
                    <a:pt x="1" y="63460"/>
                  </a:lnTo>
                  <a:lnTo>
                    <a:pt x="37" y="64114"/>
                  </a:lnTo>
                  <a:lnTo>
                    <a:pt x="73" y="64696"/>
                  </a:lnTo>
                  <a:lnTo>
                    <a:pt x="146" y="65205"/>
                  </a:lnTo>
                  <a:lnTo>
                    <a:pt x="291" y="65714"/>
                  </a:lnTo>
                  <a:lnTo>
                    <a:pt x="437" y="66113"/>
                  </a:lnTo>
                  <a:lnTo>
                    <a:pt x="655" y="66513"/>
                  </a:lnTo>
                  <a:lnTo>
                    <a:pt x="909" y="66840"/>
                  </a:lnTo>
                  <a:lnTo>
                    <a:pt x="1236" y="67095"/>
                  </a:lnTo>
                  <a:lnTo>
                    <a:pt x="1564" y="67313"/>
                  </a:lnTo>
                  <a:lnTo>
                    <a:pt x="1963" y="67458"/>
                  </a:lnTo>
                  <a:lnTo>
                    <a:pt x="2400" y="67567"/>
                  </a:lnTo>
                  <a:lnTo>
                    <a:pt x="7597" y="68185"/>
                  </a:lnTo>
                  <a:lnTo>
                    <a:pt x="11086" y="68585"/>
                  </a:lnTo>
                  <a:lnTo>
                    <a:pt x="15048" y="69021"/>
                  </a:lnTo>
                  <a:lnTo>
                    <a:pt x="19373" y="69421"/>
                  </a:lnTo>
                  <a:lnTo>
                    <a:pt x="23953" y="69784"/>
                  </a:lnTo>
                  <a:lnTo>
                    <a:pt x="28714" y="70111"/>
                  </a:lnTo>
                  <a:lnTo>
                    <a:pt x="31076" y="70220"/>
                  </a:lnTo>
                  <a:lnTo>
                    <a:pt x="33475" y="70330"/>
                  </a:lnTo>
                  <a:lnTo>
                    <a:pt x="35838" y="70402"/>
                  </a:lnTo>
                  <a:lnTo>
                    <a:pt x="38164" y="70475"/>
                  </a:lnTo>
                  <a:lnTo>
                    <a:pt x="40490" y="70475"/>
                  </a:lnTo>
                  <a:lnTo>
                    <a:pt x="42743" y="70439"/>
                  </a:lnTo>
                  <a:lnTo>
                    <a:pt x="44888" y="70366"/>
                  </a:lnTo>
                  <a:lnTo>
                    <a:pt x="46996" y="70257"/>
                  </a:lnTo>
                  <a:lnTo>
                    <a:pt x="48995" y="70111"/>
                  </a:lnTo>
                  <a:lnTo>
                    <a:pt x="50885" y="69893"/>
                  </a:lnTo>
                  <a:lnTo>
                    <a:pt x="52666" y="69639"/>
                  </a:lnTo>
                  <a:lnTo>
                    <a:pt x="54301" y="69312"/>
                  </a:lnTo>
                  <a:lnTo>
                    <a:pt x="55064" y="69130"/>
                  </a:lnTo>
                  <a:lnTo>
                    <a:pt x="55791" y="68912"/>
                  </a:lnTo>
                  <a:lnTo>
                    <a:pt x="56482" y="68730"/>
                  </a:lnTo>
                  <a:lnTo>
                    <a:pt x="57136" y="68476"/>
                  </a:lnTo>
                  <a:lnTo>
                    <a:pt x="57754" y="68221"/>
                  </a:lnTo>
                  <a:lnTo>
                    <a:pt x="58299" y="67967"/>
                  </a:lnTo>
                  <a:lnTo>
                    <a:pt x="58808" y="67676"/>
                  </a:lnTo>
                  <a:lnTo>
                    <a:pt x="59281" y="67386"/>
                  </a:lnTo>
                  <a:lnTo>
                    <a:pt x="59680" y="67058"/>
                  </a:lnTo>
                  <a:lnTo>
                    <a:pt x="60044" y="66731"/>
                  </a:lnTo>
                  <a:lnTo>
                    <a:pt x="60371" y="66368"/>
                  </a:lnTo>
                  <a:lnTo>
                    <a:pt x="60625" y="66004"/>
                  </a:lnTo>
                  <a:lnTo>
                    <a:pt x="61098" y="65132"/>
                  </a:lnTo>
                  <a:lnTo>
                    <a:pt x="61607" y="64042"/>
                  </a:lnTo>
                  <a:lnTo>
                    <a:pt x="62152" y="62770"/>
                  </a:lnTo>
                  <a:lnTo>
                    <a:pt x="62770" y="61316"/>
                  </a:lnTo>
                  <a:lnTo>
                    <a:pt x="63388" y="59717"/>
                  </a:lnTo>
                  <a:lnTo>
                    <a:pt x="64042" y="57972"/>
                  </a:lnTo>
                  <a:lnTo>
                    <a:pt x="64732" y="56082"/>
                  </a:lnTo>
                  <a:lnTo>
                    <a:pt x="65459" y="54083"/>
                  </a:lnTo>
                  <a:lnTo>
                    <a:pt x="66877" y="49758"/>
                  </a:lnTo>
                  <a:lnTo>
                    <a:pt x="68367" y="45106"/>
                  </a:lnTo>
                  <a:lnTo>
                    <a:pt x="69821" y="40235"/>
                  </a:lnTo>
                  <a:lnTo>
                    <a:pt x="71202" y="35292"/>
                  </a:lnTo>
                  <a:lnTo>
                    <a:pt x="72547" y="30349"/>
                  </a:lnTo>
                  <a:lnTo>
                    <a:pt x="73165" y="27914"/>
                  </a:lnTo>
                  <a:lnTo>
                    <a:pt x="73746" y="25515"/>
                  </a:lnTo>
                  <a:lnTo>
                    <a:pt x="74291" y="23153"/>
                  </a:lnTo>
                  <a:lnTo>
                    <a:pt x="74800" y="20863"/>
                  </a:lnTo>
                  <a:lnTo>
                    <a:pt x="75236" y="18682"/>
                  </a:lnTo>
                  <a:lnTo>
                    <a:pt x="75636" y="16574"/>
                  </a:lnTo>
                  <a:lnTo>
                    <a:pt x="76000" y="14612"/>
                  </a:lnTo>
                  <a:lnTo>
                    <a:pt x="76290" y="12758"/>
                  </a:lnTo>
                  <a:lnTo>
                    <a:pt x="76508" y="11013"/>
                  </a:lnTo>
                  <a:lnTo>
                    <a:pt x="76654" y="9450"/>
                  </a:lnTo>
                  <a:lnTo>
                    <a:pt x="76726" y="8033"/>
                  </a:lnTo>
                  <a:lnTo>
                    <a:pt x="76726" y="6797"/>
                  </a:lnTo>
                  <a:lnTo>
                    <a:pt x="76690" y="6252"/>
                  </a:lnTo>
                  <a:lnTo>
                    <a:pt x="76617" y="5743"/>
                  </a:lnTo>
                  <a:lnTo>
                    <a:pt x="76545" y="5307"/>
                  </a:lnTo>
                  <a:lnTo>
                    <a:pt x="76472" y="4907"/>
                  </a:lnTo>
                  <a:lnTo>
                    <a:pt x="76290" y="4544"/>
                  </a:lnTo>
                  <a:lnTo>
                    <a:pt x="76072" y="4217"/>
                  </a:lnTo>
                  <a:lnTo>
                    <a:pt x="75782" y="3890"/>
                  </a:lnTo>
                  <a:lnTo>
                    <a:pt x="75418" y="3562"/>
                  </a:lnTo>
                  <a:lnTo>
                    <a:pt x="74982" y="3272"/>
                  </a:lnTo>
                  <a:lnTo>
                    <a:pt x="74473" y="2981"/>
                  </a:lnTo>
                  <a:lnTo>
                    <a:pt x="73928" y="2726"/>
                  </a:lnTo>
                  <a:lnTo>
                    <a:pt x="73310" y="2472"/>
                  </a:lnTo>
                  <a:lnTo>
                    <a:pt x="72619" y="2218"/>
                  </a:lnTo>
                  <a:lnTo>
                    <a:pt x="71893" y="2000"/>
                  </a:lnTo>
                  <a:lnTo>
                    <a:pt x="71093" y="1782"/>
                  </a:lnTo>
                  <a:lnTo>
                    <a:pt x="70257" y="1563"/>
                  </a:lnTo>
                  <a:lnTo>
                    <a:pt x="68403" y="1200"/>
                  </a:lnTo>
                  <a:lnTo>
                    <a:pt x="66404" y="909"/>
                  </a:lnTo>
                  <a:lnTo>
                    <a:pt x="64260" y="655"/>
                  </a:lnTo>
                  <a:lnTo>
                    <a:pt x="61970" y="437"/>
                  </a:lnTo>
                  <a:lnTo>
                    <a:pt x="59571" y="255"/>
                  </a:lnTo>
                  <a:lnTo>
                    <a:pt x="57100" y="146"/>
                  </a:lnTo>
                  <a:lnTo>
                    <a:pt x="54519" y="37"/>
                  </a:lnTo>
                  <a:lnTo>
                    <a:pt x="51902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0" name="Google Shape;2529;p11">
              <a:extLst>
                <a:ext uri="{FF2B5EF4-FFF2-40B4-BE49-F238E27FC236}">
                  <a16:creationId xmlns:a16="http://schemas.microsoft.com/office/drawing/2014/main" id="{36FF6615-65D8-C58D-9DF6-42E609ABB8B0}"/>
                </a:ext>
              </a:extLst>
            </p:cNvPr>
            <p:cNvSpPr/>
            <p:nvPr/>
          </p:nvSpPr>
          <p:spPr>
            <a:xfrm>
              <a:off x="1927275" y="536800"/>
              <a:ext cx="1918175" cy="1761875"/>
            </a:xfrm>
            <a:custGeom>
              <a:avLst/>
              <a:gdLst/>
              <a:ahLst/>
              <a:cxnLst/>
              <a:rect l="l" t="t" r="r" b="b"/>
              <a:pathLst>
                <a:path w="76727" h="70475" fill="none" extrusionOk="0">
                  <a:moveTo>
                    <a:pt x="18246" y="4689"/>
                  </a:moveTo>
                  <a:lnTo>
                    <a:pt x="18246" y="4689"/>
                  </a:lnTo>
                  <a:lnTo>
                    <a:pt x="18174" y="5525"/>
                  </a:lnTo>
                  <a:lnTo>
                    <a:pt x="18065" y="6434"/>
                  </a:lnTo>
                  <a:lnTo>
                    <a:pt x="17919" y="7342"/>
                  </a:lnTo>
                  <a:lnTo>
                    <a:pt x="17774" y="8324"/>
                  </a:lnTo>
                  <a:lnTo>
                    <a:pt x="17338" y="10323"/>
                  </a:lnTo>
                  <a:lnTo>
                    <a:pt x="16829" y="12467"/>
                  </a:lnTo>
                  <a:lnTo>
                    <a:pt x="16211" y="14684"/>
                  </a:lnTo>
                  <a:lnTo>
                    <a:pt x="15484" y="17010"/>
                  </a:lnTo>
                  <a:lnTo>
                    <a:pt x="14721" y="19409"/>
                  </a:lnTo>
                  <a:lnTo>
                    <a:pt x="13885" y="21844"/>
                  </a:lnTo>
                  <a:lnTo>
                    <a:pt x="12976" y="24352"/>
                  </a:lnTo>
                  <a:lnTo>
                    <a:pt x="12031" y="26933"/>
                  </a:lnTo>
                  <a:lnTo>
                    <a:pt x="10068" y="32094"/>
                  </a:lnTo>
                  <a:lnTo>
                    <a:pt x="8069" y="37255"/>
                  </a:lnTo>
                  <a:lnTo>
                    <a:pt x="6107" y="42343"/>
                  </a:lnTo>
                  <a:lnTo>
                    <a:pt x="4289" y="47214"/>
                  </a:lnTo>
                  <a:lnTo>
                    <a:pt x="3454" y="49540"/>
                  </a:lnTo>
                  <a:lnTo>
                    <a:pt x="2690" y="51793"/>
                  </a:lnTo>
                  <a:lnTo>
                    <a:pt x="2000" y="53938"/>
                  </a:lnTo>
                  <a:lnTo>
                    <a:pt x="1382" y="56009"/>
                  </a:lnTo>
                  <a:lnTo>
                    <a:pt x="873" y="57899"/>
                  </a:lnTo>
                  <a:lnTo>
                    <a:pt x="473" y="59680"/>
                  </a:lnTo>
                  <a:lnTo>
                    <a:pt x="328" y="60516"/>
                  </a:lnTo>
                  <a:lnTo>
                    <a:pt x="182" y="61316"/>
                  </a:lnTo>
                  <a:lnTo>
                    <a:pt x="110" y="62079"/>
                  </a:lnTo>
                  <a:lnTo>
                    <a:pt x="37" y="62806"/>
                  </a:lnTo>
                  <a:lnTo>
                    <a:pt x="1" y="63460"/>
                  </a:lnTo>
                  <a:lnTo>
                    <a:pt x="37" y="64114"/>
                  </a:lnTo>
                  <a:lnTo>
                    <a:pt x="73" y="64696"/>
                  </a:lnTo>
                  <a:lnTo>
                    <a:pt x="146" y="65205"/>
                  </a:lnTo>
                  <a:lnTo>
                    <a:pt x="291" y="65714"/>
                  </a:lnTo>
                  <a:lnTo>
                    <a:pt x="437" y="66113"/>
                  </a:lnTo>
                  <a:lnTo>
                    <a:pt x="655" y="66513"/>
                  </a:lnTo>
                  <a:lnTo>
                    <a:pt x="909" y="66840"/>
                  </a:lnTo>
                  <a:lnTo>
                    <a:pt x="1236" y="67095"/>
                  </a:lnTo>
                  <a:lnTo>
                    <a:pt x="1564" y="67313"/>
                  </a:lnTo>
                  <a:lnTo>
                    <a:pt x="1963" y="67458"/>
                  </a:lnTo>
                  <a:lnTo>
                    <a:pt x="2400" y="67567"/>
                  </a:lnTo>
                  <a:lnTo>
                    <a:pt x="2400" y="67567"/>
                  </a:lnTo>
                  <a:lnTo>
                    <a:pt x="7597" y="68185"/>
                  </a:lnTo>
                  <a:lnTo>
                    <a:pt x="11086" y="68585"/>
                  </a:lnTo>
                  <a:lnTo>
                    <a:pt x="15048" y="69021"/>
                  </a:lnTo>
                  <a:lnTo>
                    <a:pt x="19373" y="69421"/>
                  </a:lnTo>
                  <a:lnTo>
                    <a:pt x="23953" y="69784"/>
                  </a:lnTo>
                  <a:lnTo>
                    <a:pt x="28714" y="70111"/>
                  </a:lnTo>
                  <a:lnTo>
                    <a:pt x="31076" y="70220"/>
                  </a:lnTo>
                  <a:lnTo>
                    <a:pt x="33475" y="70330"/>
                  </a:lnTo>
                  <a:lnTo>
                    <a:pt x="35838" y="70402"/>
                  </a:lnTo>
                  <a:lnTo>
                    <a:pt x="38164" y="70475"/>
                  </a:lnTo>
                  <a:lnTo>
                    <a:pt x="40490" y="70475"/>
                  </a:lnTo>
                  <a:lnTo>
                    <a:pt x="42743" y="70439"/>
                  </a:lnTo>
                  <a:lnTo>
                    <a:pt x="44888" y="70366"/>
                  </a:lnTo>
                  <a:lnTo>
                    <a:pt x="46996" y="70257"/>
                  </a:lnTo>
                  <a:lnTo>
                    <a:pt x="48995" y="70111"/>
                  </a:lnTo>
                  <a:lnTo>
                    <a:pt x="50885" y="69893"/>
                  </a:lnTo>
                  <a:lnTo>
                    <a:pt x="52666" y="69639"/>
                  </a:lnTo>
                  <a:lnTo>
                    <a:pt x="54301" y="69312"/>
                  </a:lnTo>
                  <a:lnTo>
                    <a:pt x="55064" y="69130"/>
                  </a:lnTo>
                  <a:lnTo>
                    <a:pt x="55791" y="68912"/>
                  </a:lnTo>
                  <a:lnTo>
                    <a:pt x="56482" y="68730"/>
                  </a:lnTo>
                  <a:lnTo>
                    <a:pt x="57136" y="68476"/>
                  </a:lnTo>
                  <a:lnTo>
                    <a:pt x="57754" y="68221"/>
                  </a:lnTo>
                  <a:lnTo>
                    <a:pt x="58299" y="67967"/>
                  </a:lnTo>
                  <a:lnTo>
                    <a:pt x="58808" y="67676"/>
                  </a:lnTo>
                  <a:lnTo>
                    <a:pt x="59281" y="67386"/>
                  </a:lnTo>
                  <a:lnTo>
                    <a:pt x="59680" y="67058"/>
                  </a:lnTo>
                  <a:lnTo>
                    <a:pt x="60044" y="66731"/>
                  </a:lnTo>
                  <a:lnTo>
                    <a:pt x="60371" y="66368"/>
                  </a:lnTo>
                  <a:lnTo>
                    <a:pt x="60625" y="66004"/>
                  </a:lnTo>
                  <a:lnTo>
                    <a:pt x="60625" y="66004"/>
                  </a:lnTo>
                  <a:lnTo>
                    <a:pt x="61098" y="65132"/>
                  </a:lnTo>
                  <a:lnTo>
                    <a:pt x="61607" y="64042"/>
                  </a:lnTo>
                  <a:lnTo>
                    <a:pt x="62152" y="62770"/>
                  </a:lnTo>
                  <a:lnTo>
                    <a:pt x="62770" y="61316"/>
                  </a:lnTo>
                  <a:lnTo>
                    <a:pt x="63388" y="59717"/>
                  </a:lnTo>
                  <a:lnTo>
                    <a:pt x="64042" y="57972"/>
                  </a:lnTo>
                  <a:lnTo>
                    <a:pt x="64732" y="56082"/>
                  </a:lnTo>
                  <a:lnTo>
                    <a:pt x="65459" y="54083"/>
                  </a:lnTo>
                  <a:lnTo>
                    <a:pt x="66877" y="49758"/>
                  </a:lnTo>
                  <a:lnTo>
                    <a:pt x="68367" y="45106"/>
                  </a:lnTo>
                  <a:lnTo>
                    <a:pt x="69821" y="40235"/>
                  </a:lnTo>
                  <a:lnTo>
                    <a:pt x="71202" y="35292"/>
                  </a:lnTo>
                  <a:lnTo>
                    <a:pt x="72547" y="30349"/>
                  </a:lnTo>
                  <a:lnTo>
                    <a:pt x="73165" y="27914"/>
                  </a:lnTo>
                  <a:lnTo>
                    <a:pt x="73746" y="25515"/>
                  </a:lnTo>
                  <a:lnTo>
                    <a:pt x="74291" y="23153"/>
                  </a:lnTo>
                  <a:lnTo>
                    <a:pt x="74800" y="20863"/>
                  </a:lnTo>
                  <a:lnTo>
                    <a:pt x="75236" y="18682"/>
                  </a:lnTo>
                  <a:lnTo>
                    <a:pt x="75636" y="16574"/>
                  </a:lnTo>
                  <a:lnTo>
                    <a:pt x="76000" y="14612"/>
                  </a:lnTo>
                  <a:lnTo>
                    <a:pt x="76290" y="12758"/>
                  </a:lnTo>
                  <a:lnTo>
                    <a:pt x="76508" y="11013"/>
                  </a:lnTo>
                  <a:lnTo>
                    <a:pt x="76654" y="9450"/>
                  </a:lnTo>
                  <a:lnTo>
                    <a:pt x="76726" y="8033"/>
                  </a:lnTo>
                  <a:lnTo>
                    <a:pt x="76726" y="6797"/>
                  </a:lnTo>
                  <a:lnTo>
                    <a:pt x="76690" y="6252"/>
                  </a:lnTo>
                  <a:lnTo>
                    <a:pt x="76617" y="5743"/>
                  </a:lnTo>
                  <a:lnTo>
                    <a:pt x="76545" y="5307"/>
                  </a:lnTo>
                  <a:lnTo>
                    <a:pt x="76472" y="4907"/>
                  </a:lnTo>
                  <a:lnTo>
                    <a:pt x="76472" y="4907"/>
                  </a:lnTo>
                  <a:lnTo>
                    <a:pt x="76290" y="4544"/>
                  </a:lnTo>
                  <a:lnTo>
                    <a:pt x="76072" y="4217"/>
                  </a:lnTo>
                  <a:lnTo>
                    <a:pt x="75782" y="3890"/>
                  </a:lnTo>
                  <a:lnTo>
                    <a:pt x="75418" y="3562"/>
                  </a:lnTo>
                  <a:lnTo>
                    <a:pt x="74982" y="3272"/>
                  </a:lnTo>
                  <a:lnTo>
                    <a:pt x="74473" y="2981"/>
                  </a:lnTo>
                  <a:lnTo>
                    <a:pt x="73928" y="2726"/>
                  </a:lnTo>
                  <a:lnTo>
                    <a:pt x="73310" y="2472"/>
                  </a:lnTo>
                  <a:lnTo>
                    <a:pt x="72619" y="2218"/>
                  </a:lnTo>
                  <a:lnTo>
                    <a:pt x="71893" y="2000"/>
                  </a:lnTo>
                  <a:lnTo>
                    <a:pt x="71093" y="1782"/>
                  </a:lnTo>
                  <a:lnTo>
                    <a:pt x="70257" y="1563"/>
                  </a:lnTo>
                  <a:lnTo>
                    <a:pt x="68403" y="1200"/>
                  </a:lnTo>
                  <a:lnTo>
                    <a:pt x="66404" y="909"/>
                  </a:lnTo>
                  <a:lnTo>
                    <a:pt x="64260" y="655"/>
                  </a:lnTo>
                  <a:lnTo>
                    <a:pt x="61970" y="437"/>
                  </a:lnTo>
                  <a:lnTo>
                    <a:pt x="59571" y="255"/>
                  </a:lnTo>
                  <a:lnTo>
                    <a:pt x="57100" y="146"/>
                  </a:lnTo>
                  <a:lnTo>
                    <a:pt x="54519" y="37"/>
                  </a:lnTo>
                  <a:lnTo>
                    <a:pt x="51902" y="1"/>
                  </a:lnTo>
                  <a:lnTo>
                    <a:pt x="49249" y="1"/>
                  </a:lnTo>
                  <a:lnTo>
                    <a:pt x="46596" y="37"/>
                  </a:lnTo>
                  <a:lnTo>
                    <a:pt x="43943" y="146"/>
                  </a:lnTo>
                  <a:lnTo>
                    <a:pt x="41289" y="255"/>
                  </a:lnTo>
                  <a:lnTo>
                    <a:pt x="38709" y="400"/>
                  </a:lnTo>
                  <a:lnTo>
                    <a:pt x="36201" y="582"/>
                  </a:lnTo>
                  <a:lnTo>
                    <a:pt x="33766" y="764"/>
                  </a:lnTo>
                  <a:lnTo>
                    <a:pt x="31403" y="1018"/>
                  </a:lnTo>
                  <a:lnTo>
                    <a:pt x="29223" y="1273"/>
                  </a:lnTo>
                  <a:lnTo>
                    <a:pt x="27151" y="1563"/>
                  </a:lnTo>
                  <a:lnTo>
                    <a:pt x="25261" y="1891"/>
                  </a:lnTo>
                  <a:lnTo>
                    <a:pt x="23553" y="2254"/>
                  </a:lnTo>
                  <a:lnTo>
                    <a:pt x="22026" y="2617"/>
                  </a:lnTo>
                  <a:lnTo>
                    <a:pt x="20754" y="2981"/>
                  </a:lnTo>
                  <a:lnTo>
                    <a:pt x="20209" y="3199"/>
                  </a:lnTo>
                  <a:lnTo>
                    <a:pt x="19700" y="3381"/>
                  </a:lnTo>
                  <a:lnTo>
                    <a:pt x="19300" y="3599"/>
                  </a:lnTo>
                  <a:lnTo>
                    <a:pt x="18937" y="3817"/>
                  </a:lnTo>
                  <a:lnTo>
                    <a:pt x="18646" y="4035"/>
                  </a:lnTo>
                  <a:lnTo>
                    <a:pt x="18428" y="4253"/>
                  </a:lnTo>
                  <a:lnTo>
                    <a:pt x="18319" y="4471"/>
                  </a:lnTo>
                  <a:lnTo>
                    <a:pt x="18246" y="468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1" name="Google Shape;2530;p11">
              <a:extLst>
                <a:ext uri="{FF2B5EF4-FFF2-40B4-BE49-F238E27FC236}">
                  <a16:creationId xmlns:a16="http://schemas.microsoft.com/office/drawing/2014/main" id="{8C75C86B-4373-34D8-E3EE-7DD8E333F2ED}"/>
                </a:ext>
              </a:extLst>
            </p:cNvPr>
            <p:cNvSpPr/>
            <p:nvPr/>
          </p:nvSpPr>
          <p:spPr>
            <a:xfrm>
              <a:off x="2470650" y="970225"/>
              <a:ext cx="1026800" cy="41825"/>
            </a:xfrm>
            <a:custGeom>
              <a:avLst/>
              <a:gdLst/>
              <a:ahLst/>
              <a:cxnLst/>
              <a:rect l="l" t="t" r="r" b="b"/>
              <a:pathLst>
                <a:path w="41072" h="1673" extrusionOk="0">
                  <a:moveTo>
                    <a:pt x="0" y="0"/>
                  </a:moveTo>
                  <a:lnTo>
                    <a:pt x="0" y="1672"/>
                  </a:lnTo>
                  <a:lnTo>
                    <a:pt x="41071" y="1672"/>
                  </a:lnTo>
                  <a:lnTo>
                    <a:pt x="41071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2" name="Google Shape;2531;p11">
              <a:extLst>
                <a:ext uri="{FF2B5EF4-FFF2-40B4-BE49-F238E27FC236}">
                  <a16:creationId xmlns:a16="http://schemas.microsoft.com/office/drawing/2014/main" id="{EF40C730-6C71-1422-9091-BC09DF184D9E}"/>
                </a:ext>
              </a:extLst>
            </p:cNvPr>
            <p:cNvSpPr/>
            <p:nvPr/>
          </p:nvSpPr>
          <p:spPr>
            <a:xfrm>
              <a:off x="2470650" y="970225"/>
              <a:ext cx="1026800" cy="41825"/>
            </a:xfrm>
            <a:custGeom>
              <a:avLst/>
              <a:gdLst/>
              <a:ahLst/>
              <a:cxnLst/>
              <a:rect l="l" t="t" r="r" b="b"/>
              <a:pathLst>
                <a:path w="41072" h="1673" fill="none" extrusionOk="0">
                  <a:moveTo>
                    <a:pt x="41071" y="0"/>
                  </a:moveTo>
                  <a:lnTo>
                    <a:pt x="0" y="0"/>
                  </a:lnTo>
                  <a:lnTo>
                    <a:pt x="0" y="1672"/>
                  </a:lnTo>
                  <a:lnTo>
                    <a:pt x="41071" y="1672"/>
                  </a:lnTo>
                  <a:lnTo>
                    <a:pt x="4107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3" name="Google Shape;2532;p11">
              <a:extLst>
                <a:ext uri="{FF2B5EF4-FFF2-40B4-BE49-F238E27FC236}">
                  <a16:creationId xmlns:a16="http://schemas.microsoft.com/office/drawing/2014/main" id="{AE844DDD-D5C2-1DE3-8ADF-977D915FD973}"/>
                </a:ext>
              </a:extLst>
            </p:cNvPr>
            <p:cNvSpPr/>
            <p:nvPr/>
          </p:nvSpPr>
          <p:spPr>
            <a:xfrm>
              <a:off x="2398875" y="1159225"/>
              <a:ext cx="1026775" cy="42725"/>
            </a:xfrm>
            <a:custGeom>
              <a:avLst/>
              <a:gdLst/>
              <a:ahLst/>
              <a:cxnLst/>
              <a:rect l="l" t="t" r="r" b="b"/>
              <a:pathLst>
                <a:path w="41071" h="1709" extrusionOk="0">
                  <a:moveTo>
                    <a:pt x="0" y="0"/>
                  </a:moveTo>
                  <a:lnTo>
                    <a:pt x="0" y="1709"/>
                  </a:lnTo>
                  <a:lnTo>
                    <a:pt x="41071" y="1709"/>
                  </a:lnTo>
                  <a:lnTo>
                    <a:pt x="41071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4" name="Google Shape;2533;p11">
              <a:extLst>
                <a:ext uri="{FF2B5EF4-FFF2-40B4-BE49-F238E27FC236}">
                  <a16:creationId xmlns:a16="http://schemas.microsoft.com/office/drawing/2014/main" id="{B2486C02-F0A3-1A39-36FC-485B7A21B36A}"/>
                </a:ext>
              </a:extLst>
            </p:cNvPr>
            <p:cNvSpPr/>
            <p:nvPr/>
          </p:nvSpPr>
          <p:spPr>
            <a:xfrm>
              <a:off x="2398875" y="1159225"/>
              <a:ext cx="1026775" cy="42725"/>
            </a:xfrm>
            <a:custGeom>
              <a:avLst/>
              <a:gdLst/>
              <a:ahLst/>
              <a:cxnLst/>
              <a:rect l="l" t="t" r="r" b="b"/>
              <a:pathLst>
                <a:path w="41071" h="1709" fill="none" extrusionOk="0">
                  <a:moveTo>
                    <a:pt x="41071" y="0"/>
                  </a:moveTo>
                  <a:lnTo>
                    <a:pt x="0" y="0"/>
                  </a:lnTo>
                  <a:lnTo>
                    <a:pt x="0" y="1709"/>
                  </a:lnTo>
                  <a:lnTo>
                    <a:pt x="41071" y="1709"/>
                  </a:lnTo>
                  <a:lnTo>
                    <a:pt x="4107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5" name="Google Shape;2534;p11">
              <a:extLst>
                <a:ext uri="{FF2B5EF4-FFF2-40B4-BE49-F238E27FC236}">
                  <a16:creationId xmlns:a16="http://schemas.microsoft.com/office/drawing/2014/main" id="{C98724D3-CF6E-9ADC-F508-79901099B79D}"/>
                </a:ext>
              </a:extLst>
            </p:cNvPr>
            <p:cNvSpPr/>
            <p:nvPr/>
          </p:nvSpPr>
          <p:spPr>
            <a:xfrm>
              <a:off x="2339800" y="1329150"/>
              <a:ext cx="1026800" cy="42725"/>
            </a:xfrm>
            <a:custGeom>
              <a:avLst/>
              <a:gdLst/>
              <a:ahLst/>
              <a:cxnLst/>
              <a:rect l="l" t="t" r="r" b="b"/>
              <a:pathLst>
                <a:path w="41072" h="1709" extrusionOk="0">
                  <a:moveTo>
                    <a:pt x="1" y="0"/>
                  </a:moveTo>
                  <a:lnTo>
                    <a:pt x="1" y="1708"/>
                  </a:lnTo>
                  <a:lnTo>
                    <a:pt x="41071" y="1708"/>
                  </a:lnTo>
                  <a:lnTo>
                    <a:pt x="41071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6" name="Google Shape;2535;p11">
              <a:extLst>
                <a:ext uri="{FF2B5EF4-FFF2-40B4-BE49-F238E27FC236}">
                  <a16:creationId xmlns:a16="http://schemas.microsoft.com/office/drawing/2014/main" id="{AF07E2AB-C889-7653-DA9C-CCF8781C5A11}"/>
                </a:ext>
              </a:extLst>
            </p:cNvPr>
            <p:cNvSpPr/>
            <p:nvPr/>
          </p:nvSpPr>
          <p:spPr>
            <a:xfrm>
              <a:off x="2339800" y="1329150"/>
              <a:ext cx="1026800" cy="42725"/>
            </a:xfrm>
            <a:custGeom>
              <a:avLst/>
              <a:gdLst/>
              <a:ahLst/>
              <a:cxnLst/>
              <a:rect l="l" t="t" r="r" b="b"/>
              <a:pathLst>
                <a:path w="41072" h="1709" fill="none" extrusionOk="0">
                  <a:moveTo>
                    <a:pt x="41071" y="0"/>
                  </a:moveTo>
                  <a:lnTo>
                    <a:pt x="1" y="0"/>
                  </a:lnTo>
                  <a:lnTo>
                    <a:pt x="1" y="1708"/>
                  </a:lnTo>
                  <a:lnTo>
                    <a:pt x="41071" y="1708"/>
                  </a:lnTo>
                  <a:lnTo>
                    <a:pt x="4107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7" name="Google Shape;2536;p11">
              <a:extLst>
                <a:ext uri="{FF2B5EF4-FFF2-40B4-BE49-F238E27FC236}">
                  <a16:creationId xmlns:a16="http://schemas.microsoft.com/office/drawing/2014/main" id="{F888E8A1-32C7-2869-ABDA-A09A7B38FE3A}"/>
                </a:ext>
              </a:extLst>
            </p:cNvPr>
            <p:cNvSpPr/>
            <p:nvPr/>
          </p:nvSpPr>
          <p:spPr>
            <a:xfrm>
              <a:off x="2258925" y="1515400"/>
              <a:ext cx="1026800" cy="41825"/>
            </a:xfrm>
            <a:custGeom>
              <a:avLst/>
              <a:gdLst/>
              <a:ahLst/>
              <a:cxnLst/>
              <a:rect l="l" t="t" r="r" b="b"/>
              <a:pathLst>
                <a:path w="41072" h="1673" extrusionOk="0">
                  <a:moveTo>
                    <a:pt x="1" y="1"/>
                  </a:moveTo>
                  <a:lnTo>
                    <a:pt x="1" y="1673"/>
                  </a:lnTo>
                  <a:lnTo>
                    <a:pt x="41072" y="1673"/>
                  </a:lnTo>
                  <a:lnTo>
                    <a:pt x="41072" y="1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8" name="Google Shape;2537;p11">
              <a:extLst>
                <a:ext uri="{FF2B5EF4-FFF2-40B4-BE49-F238E27FC236}">
                  <a16:creationId xmlns:a16="http://schemas.microsoft.com/office/drawing/2014/main" id="{44CF8F3F-391A-BD3A-5777-9F2E5ECA589F}"/>
                </a:ext>
              </a:extLst>
            </p:cNvPr>
            <p:cNvSpPr/>
            <p:nvPr/>
          </p:nvSpPr>
          <p:spPr>
            <a:xfrm>
              <a:off x="2258925" y="1515400"/>
              <a:ext cx="1026800" cy="41825"/>
            </a:xfrm>
            <a:custGeom>
              <a:avLst/>
              <a:gdLst/>
              <a:ahLst/>
              <a:cxnLst/>
              <a:rect l="l" t="t" r="r" b="b"/>
              <a:pathLst>
                <a:path w="41072" h="1673" fill="none" extrusionOk="0">
                  <a:moveTo>
                    <a:pt x="41072" y="1"/>
                  </a:moveTo>
                  <a:lnTo>
                    <a:pt x="1" y="1"/>
                  </a:lnTo>
                  <a:lnTo>
                    <a:pt x="1" y="1673"/>
                  </a:lnTo>
                  <a:lnTo>
                    <a:pt x="41072" y="1673"/>
                  </a:lnTo>
                  <a:lnTo>
                    <a:pt x="4107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9" name="Google Shape;2538;p11">
              <a:extLst>
                <a:ext uri="{FF2B5EF4-FFF2-40B4-BE49-F238E27FC236}">
                  <a16:creationId xmlns:a16="http://schemas.microsoft.com/office/drawing/2014/main" id="{B41448EE-8827-629B-21FA-D6A98157C001}"/>
                </a:ext>
              </a:extLst>
            </p:cNvPr>
            <p:cNvSpPr/>
            <p:nvPr/>
          </p:nvSpPr>
          <p:spPr>
            <a:xfrm>
              <a:off x="3205750" y="948425"/>
              <a:ext cx="109050" cy="80875"/>
            </a:xfrm>
            <a:custGeom>
              <a:avLst/>
              <a:gdLst/>
              <a:ahLst/>
              <a:cxnLst/>
              <a:rect l="l" t="t" r="r" b="b"/>
              <a:pathLst>
                <a:path w="4362" h="3235" extrusionOk="0">
                  <a:moveTo>
                    <a:pt x="0" y="0"/>
                  </a:moveTo>
                  <a:lnTo>
                    <a:pt x="0" y="3235"/>
                  </a:lnTo>
                  <a:lnTo>
                    <a:pt x="4362" y="3235"/>
                  </a:lnTo>
                  <a:lnTo>
                    <a:pt x="4362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0" name="Google Shape;2539;p11">
              <a:extLst>
                <a:ext uri="{FF2B5EF4-FFF2-40B4-BE49-F238E27FC236}">
                  <a16:creationId xmlns:a16="http://schemas.microsoft.com/office/drawing/2014/main" id="{8F726FAD-1AD3-C2B5-FF6A-EC67B7F5199D}"/>
                </a:ext>
              </a:extLst>
            </p:cNvPr>
            <p:cNvSpPr/>
            <p:nvPr/>
          </p:nvSpPr>
          <p:spPr>
            <a:xfrm>
              <a:off x="2789575" y="939325"/>
              <a:ext cx="122700" cy="109075"/>
            </a:xfrm>
            <a:custGeom>
              <a:avLst/>
              <a:gdLst/>
              <a:ahLst/>
              <a:cxnLst/>
              <a:rect l="l" t="t" r="r" b="b"/>
              <a:pathLst>
                <a:path w="4908" h="4363" extrusionOk="0">
                  <a:moveTo>
                    <a:pt x="1" y="1"/>
                  </a:moveTo>
                  <a:lnTo>
                    <a:pt x="1" y="4362"/>
                  </a:lnTo>
                  <a:lnTo>
                    <a:pt x="4907" y="4362"/>
                  </a:lnTo>
                  <a:lnTo>
                    <a:pt x="4907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1" name="Google Shape;2540;p11">
              <a:extLst>
                <a:ext uri="{FF2B5EF4-FFF2-40B4-BE49-F238E27FC236}">
                  <a16:creationId xmlns:a16="http://schemas.microsoft.com/office/drawing/2014/main" id="{6089D3E2-ADB2-37CA-1F51-80AB2596A733}"/>
                </a:ext>
              </a:extLst>
            </p:cNvPr>
            <p:cNvSpPr/>
            <p:nvPr/>
          </p:nvSpPr>
          <p:spPr>
            <a:xfrm>
              <a:off x="2935875" y="1150125"/>
              <a:ext cx="129050" cy="67275"/>
            </a:xfrm>
            <a:custGeom>
              <a:avLst/>
              <a:gdLst/>
              <a:ahLst/>
              <a:cxnLst/>
              <a:rect l="l" t="t" r="r" b="b"/>
              <a:pathLst>
                <a:path w="5162" h="2691" extrusionOk="0">
                  <a:moveTo>
                    <a:pt x="0" y="1"/>
                  </a:moveTo>
                  <a:lnTo>
                    <a:pt x="0" y="2691"/>
                  </a:lnTo>
                  <a:lnTo>
                    <a:pt x="5162" y="2691"/>
                  </a:lnTo>
                  <a:lnTo>
                    <a:pt x="5162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2" name="Google Shape;2541;p11">
              <a:extLst>
                <a:ext uri="{FF2B5EF4-FFF2-40B4-BE49-F238E27FC236}">
                  <a16:creationId xmlns:a16="http://schemas.microsoft.com/office/drawing/2014/main" id="{EBFECDC5-C0E6-C35E-CF1D-5D4CCF368EA8}"/>
                </a:ext>
              </a:extLst>
            </p:cNvPr>
            <p:cNvSpPr/>
            <p:nvPr/>
          </p:nvSpPr>
          <p:spPr>
            <a:xfrm>
              <a:off x="3209375" y="1313700"/>
              <a:ext cx="69075" cy="86325"/>
            </a:xfrm>
            <a:custGeom>
              <a:avLst/>
              <a:gdLst/>
              <a:ahLst/>
              <a:cxnLst/>
              <a:rect l="l" t="t" r="r" b="b"/>
              <a:pathLst>
                <a:path w="2763" h="3453" extrusionOk="0">
                  <a:moveTo>
                    <a:pt x="0" y="0"/>
                  </a:moveTo>
                  <a:lnTo>
                    <a:pt x="0" y="3453"/>
                  </a:lnTo>
                  <a:lnTo>
                    <a:pt x="2763" y="3453"/>
                  </a:lnTo>
                  <a:lnTo>
                    <a:pt x="2763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3" name="Google Shape;2542;p11">
              <a:extLst>
                <a:ext uri="{FF2B5EF4-FFF2-40B4-BE49-F238E27FC236}">
                  <a16:creationId xmlns:a16="http://schemas.microsoft.com/office/drawing/2014/main" id="{F065B7D1-F431-7346-4F64-586D795B31BA}"/>
                </a:ext>
              </a:extLst>
            </p:cNvPr>
            <p:cNvSpPr/>
            <p:nvPr/>
          </p:nvSpPr>
          <p:spPr>
            <a:xfrm>
              <a:off x="2565150" y="1304600"/>
              <a:ext cx="139950" cy="92700"/>
            </a:xfrm>
            <a:custGeom>
              <a:avLst/>
              <a:gdLst/>
              <a:ahLst/>
              <a:cxnLst/>
              <a:rect l="l" t="t" r="r" b="b"/>
              <a:pathLst>
                <a:path w="5598" h="3708" extrusionOk="0">
                  <a:moveTo>
                    <a:pt x="0" y="1"/>
                  </a:moveTo>
                  <a:lnTo>
                    <a:pt x="0" y="3708"/>
                  </a:lnTo>
                  <a:lnTo>
                    <a:pt x="5598" y="3708"/>
                  </a:lnTo>
                  <a:lnTo>
                    <a:pt x="5598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4" name="Google Shape;2543;p11">
              <a:extLst>
                <a:ext uri="{FF2B5EF4-FFF2-40B4-BE49-F238E27FC236}">
                  <a16:creationId xmlns:a16="http://schemas.microsoft.com/office/drawing/2014/main" id="{80181A3C-5D90-4CDC-C834-D67793D5F85D}"/>
                </a:ext>
              </a:extLst>
            </p:cNvPr>
            <p:cNvSpPr/>
            <p:nvPr/>
          </p:nvSpPr>
          <p:spPr>
            <a:xfrm>
              <a:off x="2734150" y="1496325"/>
              <a:ext cx="57275" cy="77275"/>
            </a:xfrm>
            <a:custGeom>
              <a:avLst/>
              <a:gdLst/>
              <a:ahLst/>
              <a:cxnLst/>
              <a:rect l="l" t="t" r="r" b="b"/>
              <a:pathLst>
                <a:path w="2291" h="3091" extrusionOk="0">
                  <a:moveTo>
                    <a:pt x="1" y="1"/>
                  </a:moveTo>
                  <a:lnTo>
                    <a:pt x="1" y="3090"/>
                  </a:lnTo>
                  <a:lnTo>
                    <a:pt x="2290" y="3090"/>
                  </a:lnTo>
                  <a:lnTo>
                    <a:pt x="2290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5" name="Google Shape;2544;p11">
              <a:extLst>
                <a:ext uri="{FF2B5EF4-FFF2-40B4-BE49-F238E27FC236}">
                  <a16:creationId xmlns:a16="http://schemas.microsoft.com/office/drawing/2014/main" id="{1C2AEB52-3475-DA15-927F-5A4FFAC44C9B}"/>
                </a:ext>
              </a:extLst>
            </p:cNvPr>
            <p:cNvSpPr/>
            <p:nvPr/>
          </p:nvSpPr>
          <p:spPr>
            <a:xfrm>
              <a:off x="3042175" y="1496325"/>
              <a:ext cx="62725" cy="77275"/>
            </a:xfrm>
            <a:custGeom>
              <a:avLst/>
              <a:gdLst/>
              <a:ahLst/>
              <a:cxnLst/>
              <a:rect l="l" t="t" r="r" b="b"/>
              <a:pathLst>
                <a:path w="2509" h="3091" extrusionOk="0">
                  <a:moveTo>
                    <a:pt x="1" y="1"/>
                  </a:moveTo>
                  <a:lnTo>
                    <a:pt x="1" y="3090"/>
                  </a:lnTo>
                  <a:lnTo>
                    <a:pt x="2509" y="3090"/>
                  </a:lnTo>
                  <a:lnTo>
                    <a:pt x="2509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6" name="Google Shape;2545;p11">
              <a:extLst>
                <a:ext uri="{FF2B5EF4-FFF2-40B4-BE49-F238E27FC236}">
                  <a16:creationId xmlns:a16="http://schemas.microsoft.com/office/drawing/2014/main" id="{BAB3D757-2E1E-4D8D-A292-843FAE9DFB06}"/>
                </a:ext>
              </a:extLst>
            </p:cNvPr>
            <p:cNvSpPr/>
            <p:nvPr/>
          </p:nvSpPr>
          <p:spPr>
            <a:xfrm>
              <a:off x="3278425" y="1313700"/>
              <a:ext cx="147225" cy="86325"/>
            </a:xfrm>
            <a:custGeom>
              <a:avLst/>
              <a:gdLst/>
              <a:ahLst/>
              <a:cxnLst/>
              <a:rect l="l" t="t" r="r" b="b"/>
              <a:pathLst>
                <a:path w="5889" h="3453" extrusionOk="0">
                  <a:moveTo>
                    <a:pt x="1" y="0"/>
                  </a:moveTo>
                  <a:lnTo>
                    <a:pt x="1" y="3453"/>
                  </a:lnTo>
                  <a:lnTo>
                    <a:pt x="5889" y="3453"/>
                  </a:lnTo>
                  <a:lnTo>
                    <a:pt x="5889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7" name="Google Shape;2546;p11">
              <a:extLst>
                <a:ext uri="{FF2B5EF4-FFF2-40B4-BE49-F238E27FC236}">
                  <a16:creationId xmlns:a16="http://schemas.microsoft.com/office/drawing/2014/main" id="{2E535CF9-055B-3C9F-43ED-CF336440C7E6}"/>
                </a:ext>
              </a:extLst>
            </p:cNvPr>
            <p:cNvSpPr/>
            <p:nvPr/>
          </p:nvSpPr>
          <p:spPr>
            <a:xfrm>
              <a:off x="6558625" y="793050"/>
              <a:ext cx="823250" cy="1504725"/>
            </a:xfrm>
            <a:custGeom>
              <a:avLst/>
              <a:gdLst/>
              <a:ahLst/>
              <a:cxnLst/>
              <a:rect l="l" t="t" r="r" b="b"/>
              <a:pathLst>
                <a:path w="32930" h="60189" extrusionOk="0">
                  <a:moveTo>
                    <a:pt x="32930" y="0"/>
                  </a:moveTo>
                  <a:lnTo>
                    <a:pt x="32639" y="109"/>
                  </a:lnTo>
                  <a:lnTo>
                    <a:pt x="32494" y="1563"/>
                  </a:lnTo>
                  <a:lnTo>
                    <a:pt x="32276" y="3053"/>
                  </a:lnTo>
                  <a:lnTo>
                    <a:pt x="32021" y="4689"/>
                  </a:lnTo>
                  <a:lnTo>
                    <a:pt x="31731" y="6397"/>
                  </a:lnTo>
                  <a:lnTo>
                    <a:pt x="31367" y="8178"/>
                  </a:lnTo>
                  <a:lnTo>
                    <a:pt x="31004" y="10068"/>
                  </a:lnTo>
                  <a:lnTo>
                    <a:pt x="30131" y="13957"/>
                  </a:lnTo>
                  <a:lnTo>
                    <a:pt x="29150" y="18064"/>
                  </a:lnTo>
                  <a:lnTo>
                    <a:pt x="28060" y="22244"/>
                  </a:lnTo>
                  <a:lnTo>
                    <a:pt x="26897" y="26496"/>
                  </a:lnTo>
                  <a:lnTo>
                    <a:pt x="25661" y="30749"/>
                  </a:lnTo>
                  <a:lnTo>
                    <a:pt x="24425" y="34892"/>
                  </a:lnTo>
                  <a:lnTo>
                    <a:pt x="23189" y="38890"/>
                  </a:lnTo>
                  <a:lnTo>
                    <a:pt x="21917" y="42670"/>
                  </a:lnTo>
                  <a:lnTo>
                    <a:pt x="20718" y="46123"/>
                  </a:lnTo>
                  <a:lnTo>
                    <a:pt x="19591" y="49248"/>
                  </a:lnTo>
                  <a:lnTo>
                    <a:pt x="18501" y="51938"/>
                  </a:lnTo>
                  <a:lnTo>
                    <a:pt x="17992" y="53101"/>
                  </a:lnTo>
                  <a:lnTo>
                    <a:pt x="17556" y="54119"/>
                  </a:lnTo>
                  <a:lnTo>
                    <a:pt x="17083" y="55027"/>
                  </a:lnTo>
                  <a:lnTo>
                    <a:pt x="16683" y="55754"/>
                  </a:lnTo>
                  <a:lnTo>
                    <a:pt x="16502" y="56009"/>
                  </a:lnTo>
                  <a:lnTo>
                    <a:pt x="16320" y="56300"/>
                  </a:lnTo>
                  <a:lnTo>
                    <a:pt x="16066" y="56518"/>
                  </a:lnTo>
                  <a:lnTo>
                    <a:pt x="15811" y="56772"/>
                  </a:lnTo>
                  <a:lnTo>
                    <a:pt x="15557" y="56990"/>
                  </a:lnTo>
                  <a:lnTo>
                    <a:pt x="15230" y="57245"/>
                  </a:lnTo>
                  <a:lnTo>
                    <a:pt x="14539" y="57644"/>
                  </a:lnTo>
                  <a:lnTo>
                    <a:pt x="13739" y="58044"/>
                  </a:lnTo>
                  <a:lnTo>
                    <a:pt x="12831" y="58371"/>
                  </a:lnTo>
                  <a:lnTo>
                    <a:pt x="11886" y="58698"/>
                  </a:lnTo>
                  <a:lnTo>
                    <a:pt x="10832" y="58953"/>
                  </a:lnTo>
                  <a:lnTo>
                    <a:pt x="9669" y="59207"/>
                  </a:lnTo>
                  <a:lnTo>
                    <a:pt x="8469" y="59425"/>
                  </a:lnTo>
                  <a:lnTo>
                    <a:pt x="7197" y="59607"/>
                  </a:lnTo>
                  <a:lnTo>
                    <a:pt x="5889" y="59789"/>
                  </a:lnTo>
                  <a:lnTo>
                    <a:pt x="4471" y="59898"/>
                  </a:lnTo>
                  <a:lnTo>
                    <a:pt x="3017" y="60007"/>
                  </a:lnTo>
                  <a:lnTo>
                    <a:pt x="1527" y="60116"/>
                  </a:lnTo>
                  <a:lnTo>
                    <a:pt x="1" y="60152"/>
                  </a:lnTo>
                  <a:lnTo>
                    <a:pt x="37" y="60152"/>
                  </a:lnTo>
                  <a:lnTo>
                    <a:pt x="1854" y="60189"/>
                  </a:lnTo>
                  <a:lnTo>
                    <a:pt x="3999" y="60152"/>
                  </a:lnTo>
                  <a:lnTo>
                    <a:pt x="6034" y="60080"/>
                  </a:lnTo>
                  <a:lnTo>
                    <a:pt x="7888" y="60007"/>
                  </a:lnTo>
                  <a:lnTo>
                    <a:pt x="9632" y="59861"/>
                  </a:lnTo>
                  <a:lnTo>
                    <a:pt x="11232" y="59680"/>
                  </a:lnTo>
                  <a:lnTo>
                    <a:pt x="12722" y="59462"/>
                  </a:lnTo>
                  <a:lnTo>
                    <a:pt x="14103" y="59207"/>
                  </a:lnTo>
                  <a:lnTo>
                    <a:pt x="15339" y="58916"/>
                  </a:lnTo>
                  <a:lnTo>
                    <a:pt x="16465" y="58589"/>
                  </a:lnTo>
                  <a:lnTo>
                    <a:pt x="17483" y="58262"/>
                  </a:lnTo>
                  <a:lnTo>
                    <a:pt x="18392" y="57862"/>
                  </a:lnTo>
                  <a:lnTo>
                    <a:pt x="19191" y="57463"/>
                  </a:lnTo>
                  <a:lnTo>
                    <a:pt x="19918" y="57026"/>
                  </a:lnTo>
                  <a:lnTo>
                    <a:pt x="20536" y="56554"/>
                  </a:lnTo>
                  <a:lnTo>
                    <a:pt x="21081" y="56081"/>
                  </a:lnTo>
                  <a:lnTo>
                    <a:pt x="21554" y="55573"/>
                  </a:lnTo>
                  <a:lnTo>
                    <a:pt x="22172" y="54700"/>
                  </a:lnTo>
                  <a:lnTo>
                    <a:pt x="22862" y="53646"/>
                  </a:lnTo>
                  <a:lnTo>
                    <a:pt x="23226" y="53065"/>
                  </a:lnTo>
                  <a:lnTo>
                    <a:pt x="23589" y="52374"/>
                  </a:lnTo>
                  <a:lnTo>
                    <a:pt x="23953" y="51647"/>
                  </a:lnTo>
                  <a:lnTo>
                    <a:pt x="24352" y="50848"/>
                  </a:lnTo>
                  <a:lnTo>
                    <a:pt x="24752" y="49975"/>
                  </a:lnTo>
                  <a:lnTo>
                    <a:pt x="25152" y="48994"/>
                  </a:lnTo>
                  <a:lnTo>
                    <a:pt x="25552" y="47976"/>
                  </a:lnTo>
                  <a:lnTo>
                    <a:pt x="25952" y="46850"/>
                  </a:lnTo>
                  <a:lnTo>
                    <a:pt x="26351" y="45650"/>
                  </a:lnTo>
                  <a:lnTo>
                    <a:pt x="26751" y="44342"/>
                  </a:lnTo>
                  <a:lnTo>
                    <a:pt x="27151" y="42924"/>
                  </a:lnTo>
                  <a:lnTo>
                    <a:pt x="27551" y="41434"/>
                  </a:lnTo>
                  <a:lnTo>
                    <a:pt x="27951" y="39799"/>
                  </a:lnTo>
                  <a:lnTo>
                    <a:pt x="28350" y="38090"/>
                  </a:lnTo>
                  <a:lnTo>
                    <a:pt x="28750" y="36237"/>
                  </a:lnTo>
                  <a:lnTo>
                    <a:pt x="29150" y="34274"/>
                  </a:lnTo>
                  <a:lnTo>
                    <a:pt x="29514" y="32202"/>
                  </a:lnTo>
                  <a:lnTo>
                    <a:pt x="29877" y="29985"/>
                  </a:lnTo>
                  <a:lnTo>
                    <a:pt x="30240" y="27659"/>
                  </a:lnTo>
                  <a:lnTo>
                    <a:pt x="30604" y="25188"/>
                  </a:lnTo>
                  <a:lnTo>
                    <a:pt x="30967" y="22571"/>
                  </a:lnTo>
                  <a:lnTo>
                    <a:pt x="31294" y="19808"/>
                  </a:lnTo>
                  <a:lnTo>
                    <a:pt x="31585" y="16901"/>
                  </a:lnTo>
                  <a:lnTo>
                    <a:pt x="31912" y="13848"/>
                  </a:lnTo>
                  <a:lnTo>
                    <a:pt x="32203" y="10649"/>
                  </a:lnTo>
                  <a:lnTo>
                    <a:pt x="32458" y="7269"/>
                  </a:lnTo>
                  <a:lnTo>
                    <a:pt x="32712" y="3707"/>
                  </a:lnTo>
                  <a:lnTo>
                    <a:pt x="32930" y="0"/>
                  </a:lnTo>
                  <a:close/>
                </a:path>
              </a:pathLst>
            </a:custGeom>
            <a:solidFill>
              <a:srgbClr val="D7D7D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8" name="Google Shape;2547;p11">
              <a:extLst>
                <a:ext uri="{FF2B5EF4-FFF2-40B4-BE49-F238E27FC236}">
                  <a16:creationId xmlns:a16="http://schemas.microsoft.com/office/drawing/2014/main" id="{5236004E-65BE-19D3-262C-102400F0FE76}"/>
                </a:ext>
              </a:extLst>
            </p:cNvPr>
            <p:cNvSpPr/>
            <p:nvPr/>
          </p:nvSpPr>
          <p:spPr>
            <a:xfrm>
              <a:off x="6558625" y="793050"/>
              <a:ext cx="823250" cy="1504725"/>
            </a:xfrm>
            <a:custGeom>
              <a:avLst/>
              <a:gdLst/>
              <a:ahLst/>
              <a:cxnLst/>
              <a:rect l="l" t="t" r="r" b="b"/>
              <a:pathLst>
                <a:path w="32930" h="60189" fill="none" extrusionOk="0">
                  <a:moveTo>
                    <a:pt x="32930" y="0"/>
                  </a:moveTo>
                  <a:lnTo>
                    <a:pt x="32639" y="109"/>
                  </a:lnTo>
                  <a:lnTo>
                    <a:pt x="32639" y="109"/>
                  </a:lnTo>
                  <a:lnTo>
                    <a:pt x="32494" y="1563"/>
                  </a:lnTo>
                  <a:lnTo>
                    <a:pt x="32276" y="3053"/>
                  </a:lnTo>
                  <a:lnTo>
                    <a:pt x="32021" y="4689"/>
                  </a:lnTo>
                  <a:lnTo>
                    <a:pt x="31731" y="6397"/>
                  </a:lnTo>
                  <a:lnTo>
                    <a:pt x="31367" y="8178"/>
                  </a:lnTo>
                  <a:lnTo>
                    <a:pt x="31004" y="10068"/>
                  </a:lnTo>
                  <a:lnTo>
                    <a:pt x="30131" y="13957"/>
                  </a:lnTo>
                  <a:lnTo>
                    <a:pt x="29150" y="18064"/>
                  </a:lnTo>
                  <a:lnTo>
                    <a:pt x="28060" y="22244"/>
                  </a:lnTo>
                  <a:lnTo>
                    <a:pt x="26897" y="26496"/>
                  </a:lnTo>
                  <a:lnTo>
                    <a:pt x="25661" y="30749"/>
                  </a:lnTo>
                  <a:lnTo>
                    <a:pt x="24425" y="34892"/>
                  </a:lnTo>
                  <a:lnTo>
                    <a:pt x="23189" y="38890"/>
                  </a:lnTo>
                  <a:lnTo>
                    <a:pt x="21917" y="42670"/>
                  </a:lnTo>
                  <a:lnTo>
                    <a:pt x="20718" y="46123"/>
                  </a:lnTo>
                  <a:lnTo>
                    <a:pt x="19591" y="49248"/>
                  </a:lnTo>
                  <a:lnTo>
                    <a:pt x="18501" y="51938"/>
                  </a:lnTo>
                  <a:lnTo>
                    <a:pt x="17992" y="53101"/>
                  </a:lnTo>
                  <a:lnTo>
                    <a:pt x="17556" y="54119"/>
                  </a:lnTo>
                  <a:lnTo>
                    <a:pt x="17083" y="55027"/>
                  </a:lnTo>
                  <a:lnTo>
                    <a:pt x="16683" y="55754"/>
                  </a:lnTo>
                  <a:lnTo>
                    <a:pt x="16683" y="55754"/>
                  </a:lnTo>
                  <a:lnTo>
                    <a:pt x="16502" y="56009"/>
                  </a:lnTo>
                  <a:lnTo>
                    <a:pt x="16320" y="56300"/>
                  </a:lnTo>
                  <a:lnTo>
                    <a:pt x="16066" y="56518"/>
                  </a:lnTo>
                  <a:lnTo>
                    <a:pt x="15811" y="56772"/>
                  </a:lnTo>
                  <a:lnTo>
                    <a:pt x="15557" y="56990"/>
                  </a:lnTo>
                  <a:lnTo>
                    <a:pt x="15230" y="57245"/>
                  </a:lnTo>
                  <a:lnTo>
                    <a:pt x="14539" y="57644"/>
                  </a:lnTo>
                  <a:lnTo>
                    <a:pt x="13739" y="58044"/>
                  </a:lnTo>
                  <a:lnTo>
                    <a:pt x="12831" y="58371"/>
                  </a:lnTo>
                  <a:lnTo>
                    <a:pt x="11886" y="58698"/>
                  </a:lnTo>
                  <a:lnTo>
                    <a:pt x="10832" y="58953"/>
                  </a:lnTo>
                  <a:lnTo>
                    <a:pt x="9669" y="59207"/>
                  </a:lnTo>
                  <a:lnTo>
                    <a:pt x="8469" y="59425"/>
                  </a:lnTo>
                  <a:lnTo>
                    <a:pt x="7197" y="59607"/>
                  </a:lnTo>
                  <a:lnTo>
                    <a:pt x="5889" y="59789"/>
                  </a:lnTo>
                  <a:lnTo>
                    <a:pt x="4471" y="59898"/>
                  </a:lnTo>
                  <a:lnTo>
                    <a:pt x="3017" y="60007"/>
                  </a:lnTo>
                  <a:lnTo>
                    <a:pt x="1527" y="60116"/>
                  </a:lnTo>
                  <a:lnTo>
                    <a:pt x="1" y="60152"/>
                  </a:lnTo>
                  <a:lnTo>
                    <a:pt x="1" y="60152"/>
                  </a:lnTo>
                  <a:lnTo>
                    <a:pt x="37" y="60152"/>
                  </a:lnTo>
                  <a:lnTo>
                    <a:pt x="37" y="60152"/>
                  </a:lnTo>
                  <a:lnTo>
                    <a:pt x="1854" y="60189"/>
                  </a:lnTo>
                  <a:lnTo>
                    <a:pt x="1854" y="60189"/>
                  </a:lnTo>
                  <a:lnTo>
                    <a:pt x="3999" y="60152"/>
                  </a:lnTo>
                  <a:lnTo>
                    <a:pt x="6034" y="60080"/>
                  </a:lnTo>
                  <a:lnTo>
                    <a:pt x="7888" y="60007"/>
                  </a:lnTo>
                  <a:lnTo>
                    <a:pt x="9632" y="59861"/>
                  </a:lnTo>
                  <a:lnTo>
                    <a:pt x="11232" y="59680"/>
                  </a:lnTo>
                  <a:lnTo>
                    <a:pt x="12722" y="59462"/>
                  </a:lnTo>
                  <a:lnTo>
                    <a:pt x="14103" y="59207"/>
                  </a:lnTo>
                  <a:lnTo>
                    <a:pt x="15339" y="58916"/>
                  </a:lnTo>
                  <a:lnTo>
                    <a:pt x="16465" y="58589"/>
                  </a:lnTo>
                  <a:lnTo>
                    <a:pt x="17483" y="58262"/>
                  </a:lnTo>
                  <a:lnTo>
                    <a:pt x="18392" y="57862"/>
                  </a:lnTo>
                  <a:lnTo>
                    <a:pt x="19191" y="57463"/>
                  </a:lnTo>
                  <a:lnTo>
                    <a:pt x="19918" y="57026"/>
                  </a:lnTo>
                  <a:lnTo>
                    <a:pt x="20536" y="56554"/>
                  </a:lnTo>
                  <a:lnTo>
                    <a:pt x="21081" y="56081"/>
                  </a:lnTo>
                  <a:lnTo>
                    <a:pt x="21554" y="55573"/>
                  </a:lnTo>
                  <a:lnTo>
                    <a:pt x="21554" y="55573"/>
                  </a:lnTo>
                  <a:lnTo>
                    <a:pt x="22172" y="54700"/>
                  </a:lnTo>
                  <a:lnTo>
                    <a:pt x="22862" y="53646"/>
                  </a:lnTo>
                  <a:lnTo>
                    <a:pt x="23226" y="53065"/>
                  </a:lnTo>
                  <a:lnTo>
                    <a:pt x="23589" y="52374"/>
                  </a:lnTo>
                  <a:lnTo>
                    <a:pt x="23953" y="51647"/>
                  </a:lnTo>
                  <a:lnTo>
                    <a:pt x="24352" y="50848"/>
                  </a:lnTo>
                  <a:lnTo>
                    <a:pt x="24752" y="49975"/>
                  </a:lnTo>
                  <a:lnTo>
                    <a:pt x="25152" y="48994"/>
                  </a:lnTo>
                  <a:lnTo>
                    <a:pt x="25552" y="47976"/>
                  </a:lnTo>
                  <a:lnTo>
                    <a:pt x="25952" y="46850"/>
                  </a:lnTo>
                  <a:lnTo>
                    <a:pt x="26351" y="45650"/>
                  </a:lnTo>
                  <a:lnTo>
                    <a:pt x="26751" y="44342"/>
                  </a:lnTo>
                  <a:lnTo>
                    <a:pt x="27151" y="42924"/>
                  </a:lnTo>
                  <a:lnTo>
                    <a:pt x="27551" y="41434"/>
                  </a:lnTo>
                  <a:lnTo>
                    <a:pt x="27951" y="39799"/>
                  </a:lnTo>
                  <a:lnTo>
                    <a:pt x="28350" y="38090"/>
                  </a:lnTo>
                  <a:lnTo>
                    <a:pt x="28750" y="36237"/>
                  </a:lnTo>
                  <a:lnTo>
                    <a:pt x="29150" y="34274"/>
                  </a:lnTo>
                  <a:lnTo>
                    <a:pt x="29514" y="32202"/>
                  </a:lnTo>
                  <a:lnTo>
                    <a:pt x="29877" y="29985"/>
                  </a:lnTo>
                  <a:lnTo>
                    <a:pt x="30240" y="27659"/>
                  </a:lnTo>
                  <a:lnTo>
                    <a:pt x="30604" y="25188"/>
                  </a:lnTo>
                  <a:lnTo>
                    <a:pt x="30967" y="22571"/>
                  </a:lnTo>
                  <a:lnTo>
                    <a:pt x="31294" y="19808"/>
                  </a:lnTo>
                  <a:lnTo>
                    <a:pt x="31585" y="16901"/>
                  </a:lnTo>
                  <a:lnTo>
                    <a:pt x="31912" y="13848"/>
                  </a:lnTo>
                  <a:lnTo>
                    <a:pt x="32203" y="10649"/>
                  </a:lnTo>
                  <a:lnTo>
                    <a:pt x="32458" y="7269"/>
                  </a:lnTo>
                  <a:lnTo>
                    <a:pt x="32712" y="3707"/>
                  </a:lnTo>
                  <a:lnTo>
                    <a:pt x="3293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9" name="Google Shape;2548;p11">
              <a:extLst>
                <a:ext uri="{FF2B5EF4-FFF2-40B4-BE49-F238E27FC236}">
                  <a16:creationId xmlns:a16="http://schemas.microsoft.com/office/drawing/2014/main" id="{7B060F34-9148-E96B-45D4-DB17A574E7CC}"/>
                </a:ext>
              </a:extLst>
            </p:cNvPr>
            <p:cNvSpPr/>
            <p:nvPr/>
          </p:nvSpPr>
          <p:spPr>
            <a:xfrm>
              <a:off x="5461000" y="536800"/>
              <a:ext cx="1918150" cy="1761875"/>
            </a:xfrm>
            <a:custGeom>
              <a:avLst/>
              <a:gdLst/>
              <a:ahLst/>
              <a:cxnLst/>
              <a:rect l="l" t="t" r="r" b="b"/>
              <a:pathLst>
                <a:path w="76726" h="70475" extrusionOk="0">
                  <a:moveTo>
                    <a:pt x="49249" y="1"/>
                  </a:moveTo>
                  <a:lnTo>
                    <a:pt x="46595" y="37"/>
                  </a:lnTo>
                  <a:lnTo>
                    <a:pt x="43942" y="146"/>
                  </a:lnTo>
                  <a:lnTo>
                    <a:pt x="41289" y="255"/>
                  </a:lnTo>
                  <a:lnTo>
                    <a:pt x="38708" y="400"/>
                  </a:lnTo>
                  <a:lnTo>
                    <a:pt x="36164" y="582"/>
                  </a:lnTo>
                  <a:lnTo>
                    <a:pt x="33729" y="764"/>
                  </a:lnTo>
                  <a:lnTo>
                    <a:pt x="31403" y="1018"/>
                  </a:lnTo>
                  <a:lnTo>
                    <a:pt x="29186" y="1273"/>
                  </a:lnTo>
                  <a:lnTo>
                    <a:pt x="27150" y="1563"/>
                  </a:lnTo>
                  <a:lnTo>
                    <a:pt x="25260" y="1891"/>
                  </a:lnTo>
                  <a:lnTo>
                    <a:pt x="23516" y="2254"/>
                  </a:lnTo>
                  <a:lnTo>
                    <a:pt x="22026" y="2617"/>
                  </a:lnTo>
                  <a:lnTo>
                    <a:pt x="20754" y="2981"/>
                  </a:lnTo>
                  <a:lnTo>
                    <a:pt x="20172" y="3199"/>
                  </a:lnTo>
                  <a:lnTo>
                    <a:pt x="19700" y="3381"/>
                  </a:lnTo>
                  <a:lnTo>
                    <a:pt x="19263" y="3599"/>
                  </a:lnTo>
                  <a:lnTo>
                    <a:pt x="18936" y="3817"/>
                  </a:lnTo>
                  <a:lnTo>
                    <a:pt x="18646" y="4035"/>
                  </a:lnTo>
                  <a:lnTo>
                    <a:pt x="18427" y="4253"/>
                  </a:lnTo>
                  <a:lnTo>
                    <a:pt x="18282" y="4471"/>
                  </a:lnTo>
                  <a:lnTo>
                    <a:pt x="18246" y="4689"/>
                  </a:lnTo>
                  <a:lnTo>
                    <a:pt x="18173" y="5525"/>
                  </a:lnTo>
                  <a:lnTo>
                    <a:pt x="18064" y="6434"/>
                  </a:lnTo>
                  <a:lnTo>
                    <a:pt x="17919" y="7342"/>
                  </a:lnTo>
                  <a:lnTo>
                    <a:pt x="17773" y="8324"/>
                  </a:lnTo>
                  <a:lnTo>
                    <a:pt x="17337" y="10323"/>
                  </a:lnTo>
                  <a:lnTo>
                    <a:pt x="16828" y="12467"/>
                  </a:lnTo>
                  <a:lnTo>
                    <a:pt x="16174" y="14684"/>
                  </a:lnTo>
                  <a:lnTo>
                    <a:pt x="15483" y="17010"/>
                  </a:lnTo>
                  <a:lnTo>
                    <a:pt x="14720" y="19409"/>
                  </a:lnTo>
                  <a:lnTo>
                    <a:pt x="13848" y="21844"/>
                  </a:lnTo>
                  <a:lnTo>
                    <a:pt x="12976" y="24352"/>
                  </a:lnTo>
                  <a:lnTo>
                    <a:pt x="12031" y="26933"/>
                  </a:lnTo>
                  <a:lnTo>
                    <a:pt x="10068" y="32094"/>
                  </a:lnTo>
                  <a:lnTo>
                    <a:pt x="8069" y="37255"/>
                  </a:lnTo>
                  <a:lnTo>
                    <a:pt x="6106" y="42343"/>
                  </a:lnTo>
                  <a:lnTo>
                    <a:pt x="4289" y="47214"/>
                  </a:lnTo>
                  <a:lnTo>
                    <a:pt x="3453" y="49540"/>
                  </a:lnTo>
                  <a:lnTo>
                    <a:pt x="2690" y="51793"/>
                  </a:lnTo>
                  <a:lnTo>
                    <a:pt x="1999" y="53938"/>
                  </a:lnTo>
                  <a:lnTo>
                    <a:pt x="1381" y="56009"/>
                  </a:lnTo>
                  <a:lnTo>
                    <a:pt x="872" y="57899"/>
                  </a:lnTo>
                  <a:lnTo>
                    <a:pt x="473" y="59680"/>
                  </a:lnTo>
                  <a:lnTo>
                    <a:pt x="327" y="60516"/>
                  </a:lnTo>
                  <a:lnTo>
                    <a:pt x="182" y="61316"/>
                  </a:lnTo>
                  <a:lnTo>
                    <a:pt x="109" y="62079"/>
                  </a:lnTo>
                  <a:lnTo>
                    <a:pt x="37" y="62806"/>
                  </a:lnTo>
                  <a:lnTo>
                    <a:pt x="0" y="63460"/>
                  </a:lnTo>
                  <a:lnTo>
                    <a:pt x="0" y="64114"/>
                  </a:lnTo>
                  <a:lnTo>
                    <a:pt x="73" y="64696"/>
                  </a:lnTo>
                  <a:lnTo>
                    <a:pt x="146" y="65205"/>
                  </a:lnTo>
                  <a:lnTo>
                    <a:pt x="291" y="65714"/>
                  </a:lnTo>
                  <a:lnTo>
                    <a:pt x="436" y="66113"/>
                  </a:lnTo>
                  <a:lnTo>
                    <a:pt x="654" y="66513"/>
                  </a:lnTo>
                  <a:lnTo>
                    <a:pt x="909" y="66840"/>
                  </a:lnTo>
                  <a:lnTo>
                    <a:pt x="1200" y="67095"/>
                  </a:lnTo>
                  <a:lnTo>
                    <a:pt x="1563" y="67313"/>
                  </a:lnTo>
                  <a:lnTo>
                    <a:pt x="1963" y="67458"/>
                  </a:lnTo>
                  <a:lnTo>
                    <a:pt x="2399" y="67567"/>
                  </a:lnTo>
                  <a:lnTo>
                    <a:pt x="7596" y="68185"/>
                  </a:lnTo>
                  <a:lnTo>
                    <a:pt x="11086" y="68585"/>
                  </a:lnTo>
                  <a:lnTo>
                    <a:pt x="15047" y="69021"/>
                  </a:lnTo>
                  <a:lnTo>
                    <a:pt x="19372" y="69421"/>
                  </a:lnTo>
                  <a:lnTo>
                    <a:pt x="23952" y="69784"/>
                  </a:lnTo>
                  <a:lnTo>
                    <a:pt x="28677" y="70111"/>
                  </a:lnTo>
                  <a:lnTo>
                    <a:pt x="31076" y="70220"/>
                  </a:lnTo>
                  <a:lnTo>
                    <a:pt x="33475" y="70330"/>
                  </a:lnTo>
                  <a:lnTo>
                    <a:pt x="35837" y="70402"/>
                  </a:lnTo>
                  <a:lnTo>
                    <a:pt x="38163" y="70475"/>
                  </a:lnTo>
                  <a:lnTo>
                    <a:pt x="40489" y="70475"/>
                  </a:lnTo>
                  <a:lnTo>
                    <a:pt x="42706" y="70439"/>
                  </a:lnTo>
                  <a:lnTo>
                    <a:pt x="44887" y="70366"/>
                  </a:lnTo>
                  <a:lnTo>
                    <a:pt x="46995" y="70257"/>
                  </a:lnTo>
                  <a:lnTo>
                    <a:pt x="48994" y="70111"/>
                  </a:lnTo>
                  <a:lnTo>
                    <a:pt x="50884" y="69893"/>
                  </a:lnTo>
                  <a:lnTo>
                    <a:pt x="52665" y="69639"/>
                  </a:lnTo>
                  <a:lnTo>
                    <a:pt x="54301" y="69312"/>
                  </a:lnTo>
                  <a:lnTo>
                    <a:pt x="55064" y="69130"/>
                  </a:lnTo>
                  <a:lnTo>
                    <a:pt x="55791" y="68912"/>
                  </a:lnTo>
                  <a:lnTo>
                    <a:pt x="56481" y="68730"/>
                  </a:lnTo>
                  <a:lnTo>
                    <a:pt x="57136" y="68476"/>
                  </a:lnTo>
                  <a:lnTo>
                    <a:pt x="57717" y="68221"/>
                  </a:lnTo>
                  <a:lnTo>
                    <a:pt x="58299" y="67967"/>
                  </a:lnTo>
                  <a:lnTo>
                    <a:pt x="58808" y="67676"/>
                  </a:lnTo>
                  <a:lnTo>
                    <a:pt x="59280" y="67386"/>
                  </a:lnTo>
                  <a:lnTo>
                    <a:pt x="59680" y="67058"/>
                  </a:lnTo>
                  <a:lnTo>
                    <a:pt x="60043" y="66731"/>
                  </a:lnTo>
                  <a:lnTo>
                    <a:pt x="60334" y="66368"/>
                  </a:lnTo>
                  <a:lnTo>
                    <a:pt x="60588" y="66004"/>
                  </a:lnTo>
                  <a:lnTo>
                    <a:pt x="61061" y="65132"/>
                  </a:lnTo>
                  <a:lnTo>
                    <a:pt x="61606" y="64042"/>
                  </a:lnTo>
                  <a:lnTo>
                    <a:pt x="62151" y="62770"/>
                  </a:lnTo>
                  <a:lnTo>
                    <a:pt x="62769" y="61316"/>
                  </a:lnTo>
                  <a:lnTo>
                    <a:pt x="63387" y="59717"/>
                  </a:lnTo>
                  <a:lnTo>
                    <a:pt x="64041" y="57972"/>
                  </a:lnTo>
                  <a:lnTo>
                    <a:pt x="64732" y="56082"/>
                  </a:lnTo>
                  <a:lnTo>
                    <a:pt x="65422" y="54083"/>
                  </a:lnTo>
                  <a:lnTo>
                    <a:pt x="66876" y="49758"/>
                  </a:lnTo>
                  <a:lnTo>
                    <a:pt x="68330" y="45106"/>
                  </a:lnTo>
                  <a:lnTo>
                    <a:pt x="69784" y="40235"/>
                  </a:lnTo>
                  <a:lnTo>
                    <a:pt x="71201" y="35292"/>
                  </a:lnTo>
                  <a:lnTo>
                    <a:pt x="72510" y="30349"/>
                  </a:lnTo>
                  <a:lnTo>
                    <a:pt x="73128" y="27914"/>
                  </a:lnTo>
                  <a:lnTo>
                    <a:pt x="73746" y="25515"/>
                  </a:lnTo>
                  <a:lnTo>
                    <a:pt x="74291" y="23153"/>
                  </a:lnTo>
                  <a:lnTo>
                    <a:pt x="74763" y="20863"/>
                  </a:lnTo>
                  <a:lnTo>
                    <a:pt x="75236" y="18682"/>
                  </a:lnTo>
                  <a:lnTo>
                    <a:pt x="75636" y="16574"/>
                  </a:lnTo>
                  <a:lnTo>
                    <a:pt x="75963" y="14612"/>
                  </a:lnTo>
                  <a:lnTo>
                    <a:pt x="76253" y="12758"/>
                  </a:lnTo>
                  <a:lnTo>
                    <a:pt x="76472" y="11013"/>
                  </a:lnTo>
                  <a:lnTo>
                    <a:pt x="76617" y="9450"/>
                  </a:lnTo>
                  <a:lnTo>
                    <a:pt x="76726" y="8033"/>
                  </a:lnTo>
                  <a:lnTo>
                    <a:pt x="76690" y="6797"/>
                  </a:lnTo>
                  <a:lnTo>
                    <a:pt x="76690" y="6252"/>
                  </a:lnTo>
                  <a:lnTo>
                    <a:pt x="76617" y="5743"/>
                  </a:lnTo>
                  <a:lnTo>
                    <a:pt x="76544" y="5307"/>
                  </a:lnTo>
                  <a:lnTo>
                    <a:pt x="76435" y="4907"/>
                  </a:lnTo>
                  <a:lnTo>
                    <a:pt x="76290" y="4544"/>
                  </a:lnTo>
                  <a:lnTo>
                    <a:pt x="76072" y="4217"/>
                  </a:lnTo>
                  <a:lnTo>
                    <a:pt x="75781" y="3890"/>
                  </a:lnTo>
                  <a:lnTo>
                    <a:pt x="75418" y="3562"/>
                  </a:lnTo>
                  <a:lnTo>
                    <a:pt x="74981" y="3272"/>
                  </a:lnTo>
                  <a:lnTo>
                    <a:pt x="74473" y="2981"/>
                  </a:lnTo>
                  <a:lnTo>
                    <a:pt x="73927" y="2726"/>
                  </a:lnTo>
                  <a:lnTo>
                    <a:pt x="73273" y="2472"/>
                  </a:lnTo>
                  <a:lnTo>
                    <a:pt x="72619" y="2218"/>
                  </a:lnTo>
                  <a:lnTo>
                    <a:pt x="71856" y="2000"/>
                  </a:lnTo>
                  <a:lnTo>
                    <a:pt x="71092" y="1782"/>
                  </a:lnTo>
                  <a:lnTo>
                    <a:pt x="70220" y="1563"/>
                  </a:lnTo>
                  <a:lnTo>
                    <a:pt x="69348" y="1382"/>
                  </a:lnTo>
                  <a:lnTo>
                    <a:pt x="68403" y="1200"/>
                  </a:lnTo>
                  <a:lnTo>
                    <a:pt x="66404" y="909"/>
                  </a:lnTo>
                  <a:lnTo>
                    <a:pt x="64259" y="655"/>
                  </a:lnTo>
                  <a:lnTo>
                    <a:pt x="61970" y="437"/>
                  </a:lnTo>
                  <a:lnTo>
                    <a:pt x="59571" y="255"/>
                  </a:lnTo>
                  <a:lnTo>
                    <a:pt x="57099" y="146"/>
                  </a:lnTo>
                  <a:lnTo>
                    <a:pt x="54519" y="37"/>
                  </a:lnTo>
                  <a:lnTo>
                    <a:pt x="51902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0" name="Google Shape;2549;p11">
              <a:extLst>
                <a:ext uri="{FF2B5EF4-FFF2-40B4-BE49-F238E27FC236}">
                  <a16:creationId xmlns:a16="http://schemas.microsoft.com/office/drawing/2014/main" id="{E831C643-8FBD-221D-0BA4-34663BA349E4}"/>
                </a:ext>
              </a:extLst>
            </p:cNvPr>
            <p:cNvSpPr/>
            <p:nvPr/>
          </p:nvSpPr>
          <p:spPr>
            <a:xfrm>
              <a:off x="5461000" y="536800"/>
              <a:ext cx="1918150" cy="1761875"/>
            </a:xfrm>
            <a:custGeom>
              <a:avLst/>
              <a:gdLst/>
              <a:ahLst/>
              <a:cxnLst/>
              <a:rect l="l" t="t" r="r" b="b"/>
              <a:pathLst>
                <a:path w="76726" h="70475" fill="none" extrusionOk="0">
                  <a:moveTo>
                    <a:pt x="18246" y="4689"/>
                  </a:moveTo>
                  <a:lnTo>
                    <a:pt x="18246" y="4689"/>
                  </a:lnTo>
                  <a:lnTo>
                    <a:pt x="18173" y="5525"/>
                  </a:lnTo>
                  <a:lnTo>
                    <a:pt x="18064" y="6434"/>
                  </a:lnTo>
                  <a:lnTo>
                    <a:pt x="17919" y="7342"/>
                  </a:lnTo>
                  <a:lnTo>
                    <a:pt x="17773" y="8324"/>
                  </a:lnTo>
                  <a:lnTo>
                    <a:pt x="17337" y="10323"/>
                  </a:lnTo>
                  <a:lnTo>
                    <a:pt x="16828" y="12467"/>
                  </a:lnTo>
                  <a:lnTo>
                    <a:pt x="16174" y="14684"/>
                  </a:lnTo>
                  <a:lnTo>
                    <a:pt x="15483" y="17010"/>
                  </a:lnTo>
                  <a:lnTo>
                    <a:pt x="14720" y="19409"/>
                  </a:lnTo>
                  <a:lnTo>
                    <a:pt x="13848" y="21844"/>
                  </a:lnTo>
                  <a:lnTo>
                    <a:pt x="12976" y="24352"/>
                  </a:lnTo>
                  <a:lnTo>
                    <a:pt x="12031" y="26933"/>
                  </a:lnTo>
                  <a:lnTo>
                    <a:pt x="10068" y="32094"/>
                  </a:lnTo>
                  <a:lnTo>
                    <a:pt x="8069" y="37255"/>
                  </a:lnTo>
                  <a:lnTo>
                    <a:pt x="6106" y="42343"/>
                  </a:lnTo>
                  <a:lnTo>
                    <a:pt x="4289" y="47214"/>
                  </a:lnTo>
                  <a:lnTo>
                    <a:pt x="3453" y="49540"/>
                  </a:lnTo>
                  <a:lnTo>
                    <a:pt x="2690" y="51793"/>
                  </a:lnTo>
                  <a:lnTo>
                    <a:pt x="1999" y="53938"/>
                  </a:lnTo>
                  <a:lnTo>
                    <a:pt x="1381" y="56009"/>
                  </a:lnTo>
                  <a:lnTo>
                    <a:pt x="872" y="57899"/>
                  </a:lnTo>
                  <a:lnTo>
                    <a:pt x="473" y="59680"/>
                  </a:lnTo>
                  <a:lnTo>
                    <a:pt x="327" y="60516"/>
                  </a:lnTo>
                  <a:lnTo>
                    <a:pt x="182" y="61316"/>
                  </a:lnTo>
                  <a:lnTo>
                    <a:pt x="109" y="62079"/>
                  </a:lnTo>
                  <a:lnTo>
                    <a:pt x="37" y="62806"/>
                  </a:lnTo>
                  <a:lnTo>
                    <a:pt x="0" y="63460"/>
                  </a:lnTo>
                  <a:lnTo>
                    <a:pt x="0" y="64114"/>
                  </a:lnTo>
                  <a:lnTo>
                    <a:pt x="73" y="64696"/>
                  </a:lnTo>
                  <a:lnTo>
                    <a:pt x="146" y="65205"/>
                  </a:lnTo>
                  <a:lnTo>
                    <a:pt x="291" y="65714"/>
                  </a:lnTo>
                  <a:lnTo>
                    <a:pt x="436" y="66113"/>
                  </a:lnTo>
                  <a:lnTo>
                    <a:pt x="654" y="66513"/>
                  </a:lnTo>
                  <a:lnTo>
                    <a:pt x="909" y="66840"/>
                  </a:lnTo>
                  <a:lnTo>
                    <a:pt x="1200" y="67095"/>
                  </a:lnTo>
                  <a:lnTo>
                    <a:pt x="1563" y="67313"/>
                  </a:lnTo>
                  <a:lnTo>
                    <a:pt x="1963" y="67458"/>
                  </a:lnTo>
                  <a:lnTo>
                    <a:pt x="2399" y="67567"/>
                  </a:lnTo>
                  <a:lnTo>
                    <a:pt x="2399" y="67567"/>
                  </a:lnTo>
                  <a:lnTo>
                    <a:pt x="7596" y="68185"/>
                  </a:lnTo>
                  <a:lnTo>
                    <a:pt x="11086" y="68585"/>
                  </a:lnTo>
                  <a:lnTo>
                    <a:pt x="15047" y="69021"/>
                  </a:lnTo>
                  <a:lnTo>
                    <a:pt x="19372" y="69421"/>
                  </a:lnTo>
                  <a:lnTo>
                    <a:pt x="23952" y="69784"/>
                  </a:lnTo>
                  <a:lnTo>
                    <a:pt x="28677" y="70111"/>
                  </a:lnTo>
                  <a:lnTo>
                    <a:pt x="31076" y="70220"/>
                  </a:lnTo>
                  <a:lnTo>
                    <a:pt x="33475" y="70330"/>
                  </a:lnTo>
                  <a:lnTo>
                    <a:pt x="35837" y="70402"/>
                  </a:lnTo>
                  <a:lnTo>
                    <a:pt x="38163" y="70475"/>
                  </a:lnTo>
                  <a:lnTo>
                    <a:pt x="40489" y="70475"/>
                  </a:lnTo>
                  <a:lnTo>
                    <a:pt x="42706" y="70439"/>
                  </a:lnTo>
                  <a:lnTo>
                    <a:pt x="44887" y="70366"/>
                  </a:lnTo>
                  <a:lnTo>
                    <a:pt x="46995" y="70257"/>
                  </a:lnTo>
                  <a:lnTo>
                    <a:pt x="48994" y="70111"/>
                  </a:lnTo>
                  <a:lnTo>
                    <a:pt x="50884" y="69893"/>
                  </a:lnTo>
                  <a:lnTo>
                    <a:pt x="52665" y="69639"/>
                  </a:lnTo>
                  <a:lnTo>
                    <a:pt x="54301" y="69312"/>
                  </a:lnTo>
                  <a:lnTo>
                    <a:pt x="55064" y="69130"/>
                  </a:lnTo>
                  <a:lnTo>
                    <a:pt x="55791" y="68912"/>
                  </a:lnTo>
                  <a:lnTo>
                    <a:pt x="56481" y="68730"/>
                  </a:lnTo>
                  <a:lnTo>
                    <a:pt x="57136" y="68476"/>
                  </a:lnTo>
                  <a:lnTo>
                    <a:pt x="57717" y="68221"/>
                  </a:lnTo>
                  <a:lnTo>
                    <a:pt x="58299" y="67967"/>
                  </a:lnTo>
                  <a:lnTo>
                    <a:pt x="58808" y="67676"/>
                  </a:lnTo>
                  <a:lnTo>
                    <a:pt x="59280" y="67386"/>
                  </a:lnTo>
                  <a:lnTo>
                    <a:pt x="59680" y="67058"/>
                  </a:lnTo>
                  <a:lnTo>
                    <a:pt x="60043" y="66731"/>
                  </a:lnTo>
                  <a:lnTo>
                    <a:pt x="60334" y="66368"/>
                  </a:lnTo>
                  <a:lnTo>
                    <a:pt x="60588" y="66004"/>
                  </a:lnTo>
                  <a:lnTo>
                    <a:pt x="60588" y="66004"/>
                  </a:lnTo>
                  <a:lnTo>
                    <a:pt x="61061" y="65132"/>
                  </a:lnTo>
                  <a:lnTo>
                    <a:pt x="61606" y="64042"/>
                  </a:lnTo>
                  <a:lnTo>
                    <a:pt x="62151" y="62770"/>
                  </a:lnTo>
                  <a:lnTo>
                    <a:pt x="62769" y="61316"/>
                  </a:lnTo>
                  <a:lnTo>
                    <a:pt x="63387" y="59717"/>
                  </a:lnTo>
                  <a:lnTo>
                    <a:pt x="64041" y="57972"/>
                  </a:lnTo>
                  <a:lnTo>
                    <a:pt x="64732" y="56082"/>
                  </a:lnTo>
                  <a:lnTo>
                    <a:pt x="65422" y="54083"/>
                  </a:lnTo>
                  <a:lnTo>
                    <a:pt x="66876" y="49758"/>
                  </a:lnTo>
                  <a:lnTo>
                    <a:pt x="68330" y="45106"/>
                  </a:lnTo>
                  <a:lnTo>
                    <a:pt x="69784" y="40235"/>
                  </a:lnTo>
                  <a:lnTo>
                    <a:pt x="71201" y="35292"/>
                  </a:lnTo>
                  <a:lnTo>
                    <a:pt x="72510" y="30349"/>
                  </a:lnTo>
                  <a:lnTo>
                    <a:pt x="73128" y="27914"/>
                  </a:lnTo>
                  <a:lnTo>
                    <a:pt x="73746" y="25515"/>
                  </a:lnTo>
                  <a:lnTo>
                    <a:pt x="74291" y="23153"/>
                  </a:lnTo>
                  <a:lnTo>
                    <a:pt x="74763" y="20863"/>
                  </a:lnTo>
                  <a:lnTo>
                    <a:pt x="75236" y="18682"/>
                  </a:lnTo>
                  <a:lnTo>
                    <a:pt x="75636" y="16574"/>
                  </a:lnTo>
                  <a:lnTo>
                    <a:pt x="75963" y="14612"/>
                  </a:lnTo>
                  <a:lnTo>
                    <a:pt x="76253" y="12758"/>
                  </a:lnTo>
                  <a:lnTo>
                    <a:pt x="76472" y="11013"/>
                  </a:lnTo>
                  <a:lnTo>
                    <a:pt x="76617" y="9450"/>
                  </a:lnTo>
                  <a:lnTo>
                    <a:pt x="76726" y="8033"/>
                  </a:lnTo>
                  <a:lnTo>
                    <a:pt x="76690" y="6797"/>
                  </a:lnTo>
                  <a:lnTo>
                    <a:pt x="76690" y="6252"/>
                  </a:lnTo>
                  <a:lnTo>
                    <a:pt x="76617" y="5743"/>
                  </a:lnTo>
                  <a:lnTo>
                    <a:pt x="76544" y="5307"/>
                  </a:lnTo>
                  <a:lnTo>
                    <a:pt x="76435" y="4907"/>
                  </a:lnTo>
                  <a:lnTo>
                    <a:pt x="76435" y="4907"/>
                  </a:lnTo>
                  <a:lnTo>
                    <a:pt x="76290" y="4544"/>
                  </a:lnTo>
                  <a:lnTo>
                    <a:pt x="76072" y="4217"/>
                  </a:lnTo>
                  <a:lnTo>
                    <a:pt x="75781" y="3890"/>
                  </a:lnTo>
                  <a:lnTo>
                    <a:pt x="75418" y="3562"/>
                  </a:lnTo>
                  <a:lnTo>
                    <a:pt x="74981" y="3272"/>
                  </a:lnTo>
                  <a:lnTo>
                    <a:pt x="74473" y="2981"/>
                  </a:lnTo>
                  <a:lnTo>
                    <a:pt x="73927" y="2726"/>
                  </a:lnTo>
                  <a:lnTo>
                    <a:pt x="73273" y="2472"/>
                  </a:lnTo>
                  <a:lnTo>
                    <a:pt x="72619" y="2218"/>
                  </a:lnTo>
                  <a:lnTo>
                    <a:pt x="71856" y="2000"/>
                  </a:lnTo>
                  <a:lnTo>
                    <a:pt x="71092" y="1782"/>
                  </a:lnTo>
                  <a:lnTo>
                    <a:pt x="70220" y="1563"/>
                  </a:lnTo>
                  <a:lnTo>
                    <a:pt x="69348" y="1382"/>
                  </a:lnTo>
                  <a:lnTo>
                    <a:pt x="68403" y="1200"/>
                  </a:lnTo>
                  <a:lnTo>
                    <a:pt x="66404" y="909"/>
                  </a:lnTo>
                  <a:lnTo>
                    <a:pt x="64259" y="655"/>
                  </a:lnTo>
                  <a:lnTo>
                    <a:pt x="61970" y="437"/>
                  </a:lnTo>
                  <a:lnTo>
                    <a:pt x="59571" y="255"/>
                  </a:lnTo>
                  <a:lnTo>
                    <a:pt x="57099" y="146"/>
                  </a:lnTo>
                  <a:lnTo>
                    <a:pt x="54519" y="37"/>
                  </a:lnTo>
                  <a:lnTo>
                    <a:pt x="51902" y="1"/>
                  </a:lnTo>
                  <a:lnTo>
                    <a:pt x="49249" y="1"/>
                  </a:lnTo>
                  <a:lnTo>
                    <a:pt x="46595" y="37"/>
                  </a:lnTo>
                  <a:lnTo>
                    <a:pt x="43942" y="146"/>
                  </a:lnTo>
                  <a:lnTo>
                    <a:pt x="41289" y="255"/>
                  </a:lnTo>
                  <a:lnTo>
                    <a:pt x="38708" y="400"/>
                  </a:lnTo>
                  <a:lnTo>
                    <a:pt x="36164" y="582"/>
                  </a:lnTo>
                  <a:lnTo>
                    <a:pt x="33729" y="764"/>
                  </a:lnTo>
                  <a:lnTo>
                    <a:pt x="31403" y="1018"/>
                  </a:lnTo>
                  <a:lnTo>
                    <a:pt x="29186" y="1273"/>
                  </a:lnTo>
                  <a:lnTo>
                    <a:pt x="27150" y="1563"/>
                  </a:lnTo>
                  <a:lnTo>
                    <a:pt x="25260" y="1891"/>
                  </a:lnTo>
                  <a:lnTo>
                    <a:pt x="23516" y="2254"/>
                  </a:lnTo>
                  <a:lnTo>
                    <a:pt x="22026" y="2617"/>
                  </a:lnTo>
                  <a:lnTo>
                    <a:pt x="20754" y="2981"/>
                  </a:lnTo>
                  <a:lnTo>
                    <a:pt x="20172" y="3199"/>
                  </a:lnTo>
                  <a:lnTo>
                    <a:pt x="19700" y="3381"/>
                  </a:lnTo>
                  <a:lnTo>
                    <a:pt x="19263" y="3599"/>
                  </a:lnTo>
                  <a:lnTo>
                    <a:pt x="18936" y="3817"/>
                  </a:lnTo>
                  <a:lnTo>
                    <a:pt x="18646" y="4035"/>
                  </a:lnTo>
                  <a:lnTo>
                    <a:pt x="18427" y="4253"/>
                  </a:lnTo>
                  <a:lnTo>
                    <a:pt x="18282" y="4471"/>
                  </a:lnTo>
                  <a:lnTo>
                    <a:pt x="18246" y="4689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1" name="Google Shape;2550;p11">
              <a:extLst>
                <a:ext uri="{FF2B5EF4-FFF2-40B4-BE49-F238E27FC236}">
                  <a16:creationId xmlns:a16="http://schemas.microsoft.com/office/drawing/2014/main" id="{FBC10B33-F378-D523-ED5B-B38FE69A6D1F}"/>
                </a:ext>
              </a:extLst>
            </p:cNvPr>
            <p:cNvSpPr/>
            <p:nvPr/>
          </p:nvSpPr>
          <p:spPr>
            <a:xfrm>
              <a:off x="6004350" y="970225"/>
              <a:ext cx="1026800" cy="41825"/>
            </a:xfrm>
            <a:custGeom>
              <a:avLst/>
              <a:gdLst/>
              <a:ahLst/>
              <a:cxnLst/>
              <a:rect l="l" t="t" r="r" b="b"/>
              <a:pathLst>
                <a:path w="41072" h="1673" extrusionOk="0">
                  <a:moveTo>
                    <a:pt x="1" y="0"/>
                  </a:moveTo>
                  <a:lnTo>
                    <a:pt x="1" y="1672"/>
                  </a:lnTo>
                  <a:lnTo>
                    <a:pt x="41072" y="1672"/>
                  </a:lnTo>
                  <a:lnTo>
                    <a:pt x="41072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2" name="Google Shape;2551;p11">
              <a:extLst>
                <a:ext uri="{FF2B5EF4-FFF2-40B4-BE49-F238E27FC236}">
                  <a16:creationId xmlns:a16="http://schemas.microsoft.com/office/drawing/2014/main" id="{9BDBA5F5-BD03-D1CB-900E-AF8C516B58B5}"/>
                </a:ext>
              </a:extLst>
            </p:cNvPr>
            <p:cNvSpPr/>
            <p:nvPr/>
          </p:nvSpPr>
          <p:spPr>
            <a:xfrm>
              <a:off x="6004350" y="970225"/>
              <a:ext cx="1026800" cy="41825"/>
            </a:xfrm>
            <a:custGeom>
              <a:avLst/>
              <a:gdLst/>
              <a:ahLst/>
              <a:cxnLst/>
              <a:rect l="l" t="t" r="r" b="b"/>
              <a:pathLst>
                <a:path w="41072" h="1673" fill="none" extrusionOk="0">
                  <a:moveTo>
                    <a:pt x="41072" y="0"/>
                  </a:moveTo>
                  <a:lnTo>
                    <a:pt x="1" y="0"/>
                  </a:lnTo>
                  <a:lnTo>
                    <a:pt x="1" y="1672"/>
                  </a:lnTo>
                  <a:lnTo>
                    <a:pt x="41072" y="1672"/>
                  </a:lnTo>
                  <a:lnTo>
                    <a:pt x="4107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3" name="Google Shape;2552;p11">
              <a:extLst>
                <a:ext uri="{FF2B5EF4-FFF2-40B4-BE49-F238E27FC236}">
                  <a16:creationId xmlns:a16="http://schemas.microsoft.com/office/drawing/2014/main" id="{D870B229-4F64-B171-EA79-DBB5D1425812}"/>
                </a:ext>
              </a:extLst>
            </p:cNvPr>
            <p:cNvSpPr/>
            <p:nvPr/>
          </p:nvSpPr>
          <p:spPr>
            <a:xfrm>
              <a:off x="5932575" y="1159225"/>
              <a:ext cx="1026800" cy="42725"/>
            </a:xfrm>
            <a:custGeom>
              <a:avLst/>
              <a:gdLst/>
              <a:ahLst/>
              <a:cxnLst/>
              <a:rect l="l" t="t" r="r" b="b"/>
              <a:pathLst>
                <a:path w="41072" h="1709" extrusionOk="0">
                  <a:moveTo>
                    <a:pt x="1" y="0"/>
                  </a:moveTo>
                  <a:lnTo>
                    <a:pt x="1" y="1709"/>
                  </a:lnTo>
                  <a:lnTo>
                    <a:pt x="41071" y="1709"/>
                  </a:lnTo>
                  <a:lnTo>
                    <a:pt x="41071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4" name="Google Shape;2553;p11">
              <a:extLst>
                <a:ext uri="{FF2B5EF4-FFF2-40B4-BE49-F238E27FC236}">
                  <a16:creationId xmlns:a16="http://schemas.microsoft.com/office/drawing/2014/main" id="{26AA747F-C105-DFA7-9233-8FE2DC3C4CC5}"/>
                </a:ext>
              </a:extLst>
            </p:cNvPr>
            <p:cNvSpPr/>
            <p:nvPr/>
          </p:nvSpPr>
          <p:spPr>
            <a:xfrm>
              <a:off x="5932575" y="1159225"/>
              <a:ext cx="1026800" cy="42725"/>
            </a:xfrm>
            <a:custGeom>
              <a:avLst/>
              <a:gdLst/>
              <a:ahLst/>
              <a:cxnLst/>
              <a:rect l="l" t="t" r="r" b="b"/>
              <a:pathLst>
                <a:path w="41072" h="1709" fill="none" extrusionOk="0">
                  <a:moveTo>
                    <a:pt x="41071" y="0"/>
                  </a:moveTo>
                  <a:lnTo>
                    <a:pt x="1" y="0"/>
                  </a:lnTo>
                  <a:lnTo>
                    <a:pt x="1" y="1709"/>
                  </a:lnTo>
                  <a:lnTo>
                    <a:pt x="41071" y="1709"/>
                  </a:lnTo>
                  <a:lnTo>
                    <a:pt x="4107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5" name="Google Shape;2554;p11">
              <a:extLst>
                <a:ext uri="{FF2B5EF4-FFF2-40B4-BE49-F238E27FC236}">
                  <a16:creationId xmlns:a16="http://schemas.microsoft.com/office/drawing/2014/main" id="{5E14053E-6D4D-DE44-45B3-2D9E22DDDC20}"/>
                </a:ext>
              </a:extLst>
            </p:cNvPr>
            <p:cNvSpPr/>
            <p:nvPr/>
          </p:nvSpPr>
          <p:spPr>
            <a:xfrm>
              <a:off x="5873525" y="1329150"/>
              <a:ext cx="1026775" cy="42725"/>
            </a:xfrm>
            <a:custGeom>
              <a:avLst/>
              <a:gdLst/>
              <a:ahLst/>
              <a:cxnLst/>
              <a:rect l="l" t="t" r="r" b="b"/>
              <a:pathLst>
                <a:path w="41071" h="1709" extrusionOk="0">
                  <a:moveTo>
                    <a:pt x="0" y="0"/>
                  </a:moveTo>
                  <a:lnTo>
                    <a:pt x="0" y="1708"/>
                  </a:lnTo>
                  <a:lnTo>
                    <a:pt x="41071" y="1708"/>
                  </a:lnTo>
                  <a:lnTo>
                    <a:pt x="41071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6" name="Google Shape;2555;p11">
              <a:extLst>
                <a:ext uri="{FF2B5EF4-FFF2-40B4-BE49-F238E27FC236}">
                  <a16:creationId xmlns:a16="http://schemas.microsoft.com/office/drawing/2014/main" id="{0ECDF776-1CDE-C140-547A-DB2DBE1216C9}"/>
                </a:ext>
              </a:extLst>
            </p:cNvPr>
            <p:cNvSpPr/>
            <p:nvPr/>
          </p:nvSpPr>
          <p:spPr>
            <a:xfrm>
              <a:off x="5873525" y="1329150"/>
              <a:ext cx="1026775" cy="42725"/>
            </a:xfrm>
            <a:custGeom>
              <a:avLst/>
              <a:gdLst/>
              <a:ahLst/>
              <a:cxnLst/>
              <a:rect l="l" t="t" r="r" b="b"/>
              <a:pathLst>
                <a:path w="41071" h="1709" fill="none" extrusionOk="0">
                  <a:moveTo>
                    <a:pt x="41071" y="0"/>
                  </a:moveTo>
                  <a:lnTo>
                    <a:pt x="0" y="0"/>
                  </a:lnTo>
                  <a:lnTo>
                    <a:pt x="0" y="1708"/>
                  </a:lnTo>
                  <a:lnTo>
                    <a:pt x="41071" y="1708"/>
                  </a:lnTo>
                  <a:lnTo>
                    <a:pt x="4107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7" name="Google Shape;2556;p11">
              <a:extLst>
                <a:ext uri="{FF2B5EF4-FFF2-40B4-BE49-F238E27FC236}">
                  <a16:creationId xmlns:a16="http://schemas.microsoft.com/office/drawing/2014/main" id="{9BB156D9-5F20-57BF-471D-A30DFD9F5004}"/>
                </a:ext>
              </a:extLst>
            </p:cNvPr>
            <p:cNvSpPr/>
            <p:nvPr/>
          </p:nvSpPr>
          <p:spPr>
            <a:xfrm>
              <a:off x="5792650" y="1515400"/>
              <a:ext cx="1026775" cy="41825"/>
            </a:xfrm>
            <a:custGeom>
              <a:avLst/>
              <a:gdLst/>
              <a:ahLst/>
              <a:cxnLst/>
              <a:rect l="l" t="t" r="r" b="b"/>
              <a:pathLst>
                <a:path w="41071" h="1673" extrusionOk="0">
                  <a:moveTo>
                    <a:pt x="0" y="1"/>
                  </a:moveTo>
                  <a:lnTo>
                    <a:pt x="0" y="1673"/>
                  </a:lnTo>
                  <a:lnTo>
                    <a:pt x="41071" y="1673"/>
                  </a:lnTo>
                  <a:lnTo>
                    <a:pt x="41071" y="1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8" name="Google Shape;2557;p11">
              <a:extLst>
                <a:ext uri="{FF2B5EF4-FFF2-40B4-BE49-F238E27FC236}">
                  <a16:creationId xmlns:a16="http://schemas.microsoft.com/office/drawing/2014/main" id="{098CE94D-5410-6F83-C28D-8AA66DAEA1F6}"/>
                </a:ext>
              </a:extLst>
            </p:cNvPr>
            <p:cNvSpPr/>
            <p:nvPr/>
          </p:nvSpPr>
          <p:spPr>
            <a:xfrm>
              <a:off x="5792650" y="1515400"/>
              <a:ext cx="1026775" cy="41825"/>
            </a:xfrm>
            <a:custGeom>
              <a:avLst/>
              <a:gdLst/>
              <a:ahLst/>
              <a:cxnLst/>
              <a:rect l="l" t="t" r="r" b="b"/>
              <a:pathLst>
                <a:path w="41071" h="1673" fill="none" extrusionOk="0">
                  <a:moveTo>
                    <a:pt x="41071" y="1"/>
                  </a:moveTo>
                  <a:lnTo>
                    <a:pt x="0" y="1"/>
                  </a:lnTo>
                  <a:lnTo>
                    <a:pt x="0" y="1673"/>
                  </a:lnTo>
                  <a:lnTo>
                    <a:pt x="41071" y="1673"/>
                  </a:lnTo>
                  <a:lnTo>
                    <a:pt x="4107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9" name="Google Shape;2558;p11">
              <a:extLst>
                <a:ext uri="{FF2B5EF4-FFF2-40B4-BE49-F238E27FC236}">
                  <a16:creationId xmlns:a16="http://schemas.microsoft.com/office/drawing/2014/main" id="{F46588D1-A129-1208-9C0D-E91C14D008E7}"/>
                </a:ext>
              </a:extLst>
            </p:cNvPr>
            <p:cNvSpPr/>
            <p:nvPr/>
          </p:nvSpPr>
          <p:spPr>
            <a:xfrm>
              <a:off x="6739450" y="948425"/>
              <a:ext cx="109075" cy="80875"/>
            </a:xfrm>
            <a:custGeom>
              <a:avLst/>
              <a:gdLst/>
              <a:ahLst/>
              <a:cxnLst/>
              <a:rect l="l" t="t" r="r" b="b"/>
              <a:pathLst>
                <a:path w="4363" h="3235" extrusionOk="0">
                  <a:moveTo>
                    <a:pt x="1" y="0"/>
                  </a:moveTo>
                  <a:lnTo>
                    <a:pt x="1" y="3235"/>
                  </a:lnTo>
                  <a:lnTo>
                    <a:pt x="4362" y="3235"/>
                  </a:lnTo>
                  <a:lnTo>
                    <a:pt x="4362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0" name="Google Shape;2559;p11">
              <a:extLst>
                <a:ext uri="{FF2B5EF4-FFF2-40B4-BE49-F238E27FC236}">
                  <a16:creationId xmlns:a16="http://schemas.microsoft.com/office/drawing/2014/main" id="{76A0579B-ABA6-D0B9-686D-F45D03490B9B}"/>
                </a:ext>
              </a:extLst>
            </p:cNvPr>
            <p:cNvSpPr/>
            <p:nvPr/>
          </p:nvSpPr>
          <p:spPr>
            <a:xfrm>
              <a:off x="6323300" y="939325"/>
              <a:ext cx="122675" cy="109075"/>
            </a:xfrm>
            <a:custGeom>
              <a:avLst/>
              <a:gdLst/>
              <a:ahLst/>
              <a:cxnLst/>
              <a:rect l="l" t="t" r="r" b="b"/>
              <a:pathLst>
                <a:path w="4907" h="4363" extrusionOk="0">
                  <a:moveTo>
                    <a:pt x="0" y="1"/>
                  </a:moveTo>
                  <a:lnTo>
                    <a:pt x="0" y="4362"/>
                  </a:lnTo>
                  <a:lnTo>
                    <a:pt x="4907" y="4362"/>
                  </a:lnTo>
                  <a:lnTo>
                    <a:pt x="4907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1" name="Google Shape;2560;p11">
              <a:extLst>
                <a:ext uri="{FF2B5EF4-FFF2-40B4-BE49-F238E27FC236}">
                  <a16:creationId xmlns:a16="http://schemas.microsoft.com/office/drawing/2014/main" id="{AD5FBB59-158E-C135-8958-DEEF5F65D6B0}"/>
                </a:ext>
              </a:extLst>
            </p:cNvPr>
            <p:cNvSpPr/>
            <p:nvPr/>
          </p:nvSpPr>
          <p:spPr>
            <a:xfrm>
              <a:off x="6469575" y="1150125"/>
              <a:ext cx="129050" cy="67275"/>
            </a:xfrm>
            <a:custGeom>
              <a:avLst/>
              <a:gdLst/>
              <a:ahLst/>
              <a:cxnLst/>
              <a:rect l="l" t="t" r="r" b="b"/>
              <a:pathLst>
                <a:path w="5162" h="2691" extrusionOk="0">
                  <a:moveTo>
                    <a:pt x="1" y="1"/>
                  </a:moveTo>
                  <a:lnTo>
                    <a:pt x="1" y="2691"/>
                  </a:lnTo>
                  <a:lnTo>
                    <a:pt x="5162" y="2691"/>
                  </a:lnTo>
                  <a:lnTo>
                    <a:pt x="5162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2" name="Google Shape;2561;p11">
              <a:extLst>
                <a:ext uri="{FF2B5EF4-FFF2-40B4-BE49-F238E27FC236}">
                  <a16:creationId xmlns:a16="http://schemas.microsoft.com/office/drawing/2014/main" id="{6A5127AD-6C5B-1851-F1A1-BF3C5E30CEF3}"/>
                </a:ext>
              </a:extLst>
            </p:cNvPr>
            <p:cNvSpPr/>
            <p:nvPr/>
          </p:nvSpPr>
          <p:spPr>
            <a:xfrm>
              <a:off x="6743075" y="1313700"/>
              <a:ext cx="69100" cy="86325"/>
            </a:xfrm>
            <a:custGeom>
              <a:avLst/>
              <a:gdLst/>
              <a:ahLst/>
              <a:cxnLst/>
              <a:rect l="l" t="t" r="r" b="b"/>
              <a:pathLst>
                <a:path w="2764" h="3453" extrusionOk="0">
                  <a:moveTo>
                    <a:pt x="1" y="0"/>
                  </a:moveTo>
                  <a:lnTo>
                    <a:pt x="1" y="3453"/>
                  </a:lnTo>
                  <a:lnTo>
                    <a:pt x="2763" y="3453"/>
                  </a:lnTo>
                  <a:lnTo>
                    <a:pt x="2763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3" name="Google Shape;2562;p11">
              <a:extLst>
                <a:ext uri="{FF2B5EF4-FFF2-40B4-BE49-F238E27FC236}">
                  <a16:creationId xmlns:a16="http://schemas.microsoft.com/office/drawing/2014/main" id="{658C0408-854C-3DFA-327F-50316A9CFD43}"/>
                </a:ext>
              </a:extLst>
            </p:cNvPr>
            <p:cNvSpPr/>
            <p:nvPr/>
          </p:nvSpPr>
          <p:spPr>
            <a:xfrm>
              <a:off x="6098850" y="1304600"/>
              <a:ext cx="139975" cy="92700"/>
            </a:xfrm>
            <a:custGeom>
              <a:avLst/>
              <a:gdLst/>
              <a:ahLst/>
              <a:cxnLst/>
              <a:rect l="l" t="t" r="r" b="b"/>
              <a:pathLst>
                <a:path w="5599" h="3708" extrusionOk="0">
                  <a:moveTo>
                    <a:pt x="1" y="1"/>
                  </a:moveTo>
                  <a:lnTo>
                    <a:pt x="1" y="3708"/>
                  </a:lnTo>
                  <a:lnTo>
                    <a:pt x="5598" y="3708"/>
                  </a:lnTo>
                  <a:lnTo>
                    <a:pt x="5598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4" name="Google Shape;2563;p11">
              <a:extLst>
                <a:ext uri="{FF2B5EF4-FFF2-40B4-BE49-F238E27FC236}">
                  <a16:creationId xmlns:a16="http://schemas.microsoft.com/office/drawing/2014/main" id="{E9504966-011B-E7EA-8F3B-A8D511B117CE}"/>
                </a:ext>
              </a:extLst>
            </p:cNvPr>
            <p:cNvSpPr/>
            <p:nvPr/>
          </p:nvSpPr>
          <p:spPr>
            <a:xfrm>
              <a:off x="6267875" y="1496325"/>
              <a:ext cx="56350" cy="77275"/>
            </a:xfrm>
            <a:custGeom>
              <a:avLst/>
              <a:gdLst/>
              <a:ahLst/>
              <a:cxnLst/>
              <a:rect l="l" t="t" r="r" b="b"/>
              <a:pathLst>
                <a:path w="2254" h="3091" extrusionOk="0">
                  <a:moveTo>
                    <a:pt x="0" y="1"/>
                  </a:moveTo>
                  <a:lnTo>
                    <a:pt x="0" y="3090"/>
                  </a:lnTo>
                  <a:lnTo>
                    <a:pt x="2254" y="3090"/>
                  </a:lnTo>
                  <a:lnTo>
                    <a:pt x="2254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5" name="Google Shape;2564;p11">
              <a:extLst>
                <a:ext uri="{FF2B5EF4-FFF2-40B4-BE49-F238E27FC236}">
                  <a16:creationId xmlns:a16="http://schemas.microsoft.com/office/drawing/2014/main" id="{A84BAE38-57D8-49BB-0A6F-49468D34A777}"/>
                </a:ext>
              </a:extLst>
            </p:cNvPr>
            <p:cNvSpPr/>
            <p:nvPr/>
          </p:nvSpPr>
          <p:spPr>
            <a:xfrm>
              <a:off x="6575900" y="1496325"/>
              <a:ext cx="62725" cy="77275"/>
            </a:xfrm>
            <a:custGeom>
              <a:avLst/>
              <a:gdLst/>
              <a:ahLst/>
              <a:cxnLst/>
              <a:rect l="l" t="t" r="r" b="b"/>
              <a:pathLst>
                <a:path w="2509" h="3091" extrusionOk="0">
                  <a:moveTo>
                    <a:pt x="0" y="1"/>
                  </a:moveTo>
                  <a:lnTo>
                    <a:pt x="0" y="3090"/>
                  </a:lnTo>
                  <a:lnTo>
                    <a:pt x="2508" y="3090"/>
                  </a:lnTo>
                  <a:lnTo>
                    <a:pt x="2508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6" name="Google Shape;2565;p11">
              <a:extLst>
                <a:ext uri="{FF2B5EF4-FFF2-40B4-BE49-F238E27FC236}">
                  <a16:creationId xmlns:a16="http://schemas.microsoft.com/office/drawing/2014/main" id="{57BC2F86-7820-3471-9B83-110D8685592A}"/>
                </a:ext>
              </a:extLst>
            </p:cNvPr>
            <p:cNvSpPr/>
            <p:nvPr/>
          </p:nvSpPr>
          <p:spPr>
            <a:xfrm>
              <a:off x="6812150" y="1313700"/>
              <a:ext cx="147225" cy="86325"/>
            </a:xfrm>
            <a:custGeom>
              <a:avLst/>
              <a:gdLst/>
              <a:ahLst/>
              <a:cxnLst/>
              <a:rect l="l" t="t" r="r" b="b"/>
              <a:pathLst>
                <a:path w="5889" h="3453" extrusionOk="0">
                  <a:moveTo>
                    <a:pt x="0" y="0"/>
                  </a:moveTo>
                  <a:lnTo>
                    <a:pt x="0" y="3453"/>
                  </a:lnTo>
                  <a:lnTo>
                    <a:pt x="5888" y="3453"/>
                  </a:lnTo>
                  <a:lnTo>
                    <a:pt x="5888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7" name="Google Shape;2566;p11">
              <a:extLst>
                <a:ext uri="{FF2B5EF4-FFF2-40B4-BE49-F238E27FC236}">
                  <a16:creationId xmlns:a16="http://schemas.microsoft.com/office/drawing/2014/main" id="{3A50255E-62B7-6702-50E8-C40803992079}"/>
                </a:ext>
              </a:extLst>
            </p:cNvPr>
            <p:cNvSpPr/>
            <p:nvPr/>
          </p:nvSpPr>
          <p:spPr>
            <a:xfrm>
              <a:off x="4773150" y="918425"/>
              <a:ext cx="775100" cy="1383900"/>
            </a:xfrm>
            <a:custGeom>
              <a:avLst/>
              <a:gdLst/>
              <a:ahLst/>
              <a:cxnLst/>
              <a:rect l="l" t="t" r="r" b="b"/>
              <a:pathLst>
                <a:path w="31004" h="55356" extrusionOk="0">
                  <a:moveTo>
                    <a:pt x="31003" y="1"/>
                  </a:moveTo>
                  <a:lnTo>
                    <a:pt x="30713" y="3163"/>
                  </a:lnTo>
                  <a:lnTo>
                    <a:pt x="30313" y="6616"/>
                  </a:lnTo>
                  <a:lnTo>
                    <a:pt x="29877" y="10214"/>
                  </a:lnTo>
                  <a:lnTo>
                    <a:pt x="29331" y="13958"/>
                  </a:lnTo>
                  <a:lnTo>
                    <a:pt x="28714" y="17774"/>
                  </a:lnTo>
                  <a:lnTo>
                    <a:pt x="28096" y="21626"/>
                  </a:lnTo>
                  <a:lnTo>
                    <a:pt x="27369" y="25443"/>
                  </a:lnTo>
                  <a:lnTo>
                    <a:pt x="26642" y="29223"/>
                  </a:lnTo>
                  <a:lnTo>
                    <a:pt x="25879" y="32894"/>
                  </a:lnTo>
                  <a:lnTo>
                    <a:pt x="25115" y="36346"/>
                  </a:lnTo>
                  <a:lnTo>
                    <a:pt x="24316" y="39618"/>
                  </a:lnTo>
                  <a:lnTo>
                    <a:pt x="23516" y="42634"/>
                  </a:lnTo>
                  <a:lnTo>
                    <a:pt x="22753" y="45324"/>
                  </a:lnTo>
                  <a:lnTo>
                    <a:pt x="22353" y="46523"/>
                  </a:lnTo>
                  <a:lnTo>
                    <a:pt x="21953" y="47614"/>
                  </a:lnTo>
                  <a:lnTo>
                    <a:pt x="21590" y="48631"/>
                  </a:lnTo>
                  <a:lnTo>
                    <a:pt x="21226" y="49540"/>
                  </a:lnTo>
                  <a:lnTo>
                    <a:pt x="20863" y="50303"/>
                  </a:lnTo>
                  <a:lnTo>
                    <a:pt x="20499" y="50957"/>
                  </a:lnTo>
                  <a:lnTo>
                    <a:pt x="20318" y="51248"/>
                  </a:lnTo>
                  <a:lnTo>
                    <a:pt x="20100" y="51539"/>
                  </a:lnTo>
                  <a:lnTo>
                    <a:pt x="19845" y="51793"/>
                  </a:lnTo>
                  <a:lnTo>
                    <a:pt x="19554" y="52048"/>
                  </a:lnTo>
                  <a:lnTo>
                    <a:pt x="19227" y="52266"/>
                  </a:lnTo>
                  <a:lnTo>
                    <a:pt x="18864" y="52484"/>
                  </a:lnTo>
                  <a:lnTo>
                    <a:pt x="18500" y="52702"/>
                  </a:lnTo>
                  <a:lnTo>
                    <a:pt x="18101" y="52920"/>
                  </a:lnTo>
                  <a:lnTo>
                    <a:pt x="17192" y="53284"/>
                  </a:lnTo>
                  <a:lnTo>
                    <a:pt x="16174" y="53647"/>
                  </a:lnTo>
                  <a:lnTo>
                    <a:pt x="15048" y="53938"/>
                  </a:lnTo>
                  <a:lnTo>
                    <a:pt x="13848" y="54192"/>
                  </a:lnTo>
                  <a:lnTo>
                    <a:pt x="12540" y="54410"/>
                  </a:lnTo>
                  <a:lnTo>
                    <a:pt x="11159" y="54592"/>
                  </a:lnTo>
                  <a:lnTo>
                    <a:pt x="9705" y="54737"/>
                  </a:lnTo>
                  <a:lnTo>
                    <a:pt x="8178" y="54883"/>
                  </a:lnTo>
                  <a:lnTo>
                    <a:pt x="6579" y="54955"/>
                  </a:lnTo>
                  <a:lnTo>
                    <a:pt x="4907" y="55028"/>
                  </a:lnTo>
                  <a:lnTo>
                    <a:pt x="3199" y="55065"/>
                  </a:lnTo>
                  <a:lnTo>
                    <a:pt x="0" y="55065"/>
                  </a:lnTo>
                  <a:lnTo>
                    <a:pt x="582" y="55174"/>
                  </a:lnTo>
                  <a:lnTo>
                    <a:pt x="1236" y="55210"/>
                  </a:lnTo>
                  <a:lnTo>
                    <a:pt x="6724" y="55319"/>
                  </a:lnTo>
                  <a:lnTo>
                    <a:pt x="11231" y="55355"/>
                  </a:lnTo>
                  <a:lnTo>
                    <a:pt x="13448" y="55319"/>
                  </a:lnTo>
                  <a:lnTo>
                    <a:pt x="15411" y="55246"/>
                  </a:lnTo>
                  <a:lnTo>
                    <a:pt x="16283" y="55174"/>
                  </a:lnTo>
                  <a:lnTo>
                    <a:pt x="17083" y="55101"/>
                  </a:lnTo>
                  <a:lnTo>
                    <a:pt x="17846" y="54992"/>
                  </a:lnTo>
                  <a:lnTo>
                    <a:pt x="18537" y="54883"/>
                  </a:lnTo>
                  <a:lnTo>
                    <a:pt x="19191" y="54737"/>
                  </a:lnTo>
                  <a:lnTo>
                    <a:pt x="19773" y="54556"/>
                  </a:lnTo>
                  <a:lnTo>
                    <a:pt x="20318" y="54374"/>
                  </a:lnTo>
                  <a:lnTo>
                    <a:pt x="20827" y="54120"/>
                  </a:lnTo>
                  <a:lnTo>
                    <a:pt x="21263" y="53865"/>
                  </a:lnTo>
                  <a:lnTo>
                    <a:pt x="21663" y="53574"/>
                  </a:lnTo>
                  <a:lnTo>
                    <a:pt x="22026" y="53247"/>
                  </a:lnTo>
                  <a:lnTo>
                    <a:pt x="22353" y="52884"/>
                  </a:lnTo>
                  <a:lnTo>
                    <a:pt x="22644" y="52484"/>
                  </a:lnTo>
                  <a:lnTo>
                    <a:pt x="22935" y="52048"/>
                  </a:lnTo>
                  <a:lnTo>
                    <a:pt x="23225" y="51575"/>
                  </a:lnTo>
                  <a:lnTo>
                    <a:pt x="23516" y="51030"/>
                  </a:lnTo>
                  <a:lnTo>
                    <a:pt x="23807" y="50412"/>
                  </a:lnTo>
                  <a:lnTo>
                    <a:pt x="24098" y="49758"/>
                  </a:lnTo>
                  <a:lnTo>
                    <a:pt x="24388" y="49031"/>
                  </a:lnTo>
                  <a:lnTo>
                    <a:pt x="24679" y="48232"/>
                  </a:lnTo>
                  <a:lnTo>
                    <a:pt x="24970" y="47359"/>
                  </a:lnTo>
                  <a:lnTo>
                    <a:pt x="25261" y="46414"/>
                  </a:lnTo>
                  <a:lnTo>
                    <a:pt x="25552" y="45397"/>
                  </a:lnTo>
                  <a:lnTo>
                    <a:pt x="25842" y="44270"/>
                  </a:lnTo>
                  <a:lnTo>
                    <a:pt x="26424" y="41835"/>
                  </a:lnTo>
                  <a:lnTo>
                    <a:pt x="26969" y="39000"/>
                  </a:lnTo>
                  <a:lnTo>
                    <a:pt x="27514" y="35765"/>
                  </a:lnTo>
                  <a:lnTo>
                    <a:pt x="28059" y="32130"/>
                  </a:lnTo>
                  <a:lnTo>
                    <a:pt x="28568" y="28060"/>
                  </a:lnTo>
                  <a:lnTo>
                    <a:pt x="29077" y="23480"/>
                  </a:lnTo>
                  <a:lnTo>
                    <a:pt x="29586" y="18428"/>
                  </a:lnTo>
                  <a:lnTo>
                    <a:pt x="30058" y="12831"/>
                  </a:lnTo>
                  <a:lnTo>
                    <a:pt x="30531" y="6688"/>
                  </a:lnTo>
                  <a:lnTo>
                    <a:pt x="31003" y="1"/>
                  </a:lnTo>
                  <a:close/>
                </a:path>
              </a:pathLst>
            </a:custGeom>
            <a:solidFill>
              <a:srgbClr val="D7D7D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8" name="Google Shape;2567;p11">
              <a:extLst>
                <a:ext uri="{FF2B5EF4-FFF2-40B4-BE49-F238E27FC236}">
                  <a16:creationId xmlns:a16="http://schemas.microsoft.com/office/drawing/2014/main" id="{428E8F6D-54E5-84E3-B17E-4B52B346F556}"/>
                </a:ext>
              </a:extLst>
            </p:cNvPr>
            <p:cNvSpPr/>
            <p:nvPr/>
          </p:nvSpPr>
          <p:spPr>
            <a:xfrm>
              <a:off x="4773150" y="918425"/>
              <a:ext cx="775100" cy="1383900"/>
            </a:xfrm>
            <a:custGeom>
              <a:avLst/>
              <a:gdLst/>
              <a:ahLst/>
              <a:cxnLst/>
              <a:rect l="l" t="t" r="r" b="b"/>
              <a:pathLst>
                <a:path w="31004" h="55356" fill="none" extrusionOk="0">
                  <a:moveTo>
                    <a:pt x="31003" y="1"/>
                  </a:moveTo>
                  <a:lnTo>
                    <a:pt x="31003" y="1"/>
                  </a:lnTo>
                  <a:lnTo>
                    <a:pt x="30713" y="3163"/>
                  </a:lnTo>
                  <a:lnTo>
                    <a:pt x="30313" y="6616"/>
                  </a:lnTo>
                  <a:lnTo>
                    <a:pt x="29877" y="10214"/>
                  </a:lnTo>
                  <a:lnTo>
                    <a:pt x="29331" y="13958"/>
                  </a:lnTo>
                  <a:lnTo>
                    <a:pt x="28714" y="17774"/>
                  </a:lnTo>
                  <a:lnTo>
                    <a:pt x="28096" y="21626"/>
                  </a:lnTo>
                  <a:lnTo>
                    <a:pt x="27369" y="25443"/>
                  </a:lnTo>
                  <a:lnTo>
                    <a:pt x="26642" y="29223"/>
                  </a:lnTo>
                  <a:lnTo>
                    <a:pt x="25879" y="32894"/>
                  </a:lnTo>
                  <a:lnTo>
                    <a:pt x="25115" y="36346"/>
                  </a:lnTo>
                  <a:lnTo>
                    <a:pt x="24316" y="39618"/>
                  </a:lnTo>
                  <a:lnTo>
                    <a:pt x="23516" y="42634"/>
                  </a:lnTo>
                  <a:lnTo>
                    <a:pt x="22753" y="45324"/>
                  </a:lnTo>
                  <a:lnTo>
                    <a:pt x="22353" y="46523"/>
                  </a:lnTo>
                  <a:lnTo>
                    <a:pt x="21953" y="47614"/>
                  </a:lnTo>
                  <a:lnTo>
                    <a:pt x="21590" y="48631"/>
                  </a:lnTo>
                  <a:lnTo>
                    <a:pt x="21226" y="49540"/>
                  </a:lnTo>
                  <a:lnTo>
                    <a:pt x="20863" y="50303"/>
                  </a:lnTo>
                  <a:lnTo>
                    <a:pt x="20499" y="50957"/>
                  </a:lnTo>
                  <a:lnTo>
                    <a:pt x="20499" y="50957"/>
                  </a:lnTo>
                  <a:lnTo>
                    <a:pt x="20318" y="51248"/>
                  </a:lnTo>
                  <a:lnTo>
                    <a:pt x="20100" y="51539"/>
                  </a:lnTo>
                  <a:lnTo>
                    <a:pt x="19845" y="51793"/>
                  </a:lnTo>
                  <a:lnTo>
                    <a:pt x="19554" y="52048"/>
                  </a:lnTo>
                  <a:lnTo>
                    <a:pt x="19227" y="52266"/>
                  </a:lnTo>
                  <a:lnTo>
                    <a:pt x="18864" y="52484"/>
                  </a:lnTo>
                  <a:lnTo>
                    <a:pt x="18500" y="52702"/>
                  </a:lnTo>
                  <a:lnTo>
                    <a:pt x="18101" y="52920"/>
                  </a:lnTo>
                  <a:lnTo>
                    <a:pt x="17192" y="53284"/>
                  </a:lnTo>
                  <a:lnTo>
                    <a:pt x="16174" y="53647"/>
                  </a:lnTo>
                  <a:lnTo>
                    <a:pt x="15048" y="53938"/>
                  </a:lnTo>
                  <a:lnTo>
                    <a:pt x="13848" y="54192"/>
                  </a:lnTo>
                  <a:lnTo>
                    <a:pt x="12540" y="54410"/>
                  </a:lnTo>
                  <a:lnTo>
                    <a:pt x="11159" y="54592"/>
                  </a:lnTo>
                  <a:lnTo>
                    <a:pt x="9705" y="54737"/>
                  </a:lnTo>
                  <a:lnTo>
                    <a:pt x="8178" y="54883"/>
                  </a:lnTo>
                  <a:lnTo>
                    <a:pt x="6579" y="54955"/>
                  </a:lnTo>
                  <a:lnTo>
                    <a:pt x="4907" y="55028"/>
                  </a:lnTo>
                  <a:lnTo>
                    <a:pt x="3199" y="55065"/>
                  </a:lnTo>
                  <a:lnTo>
                    <a:pt x="1454" y="55065"/>
                  </a:lnTo>
                  <a:lnTo>
                    <a:pt x="1454" y="55065"/>
                  </a:lnTo>
                  <a:lnTo>
                    <a:pt x="0" y="55065"/>
                  </a:lnTo>
                  <a:lnTo>
                    <a:pt x="0" y="55065"/>
                  </a:lnTo>
                  <a:lnTo>
                    <a:pt x="582" y="55174"/>
                  </a:lnTo>
                  <a:lnTo>
                    <a:pt x="1236" y="55210"/>
                  </a:lnTo>
                  <a:lnTo>
                    <a:pt x="1236" y="55210"/>
                  </a:lnTo>
                  <a:lnTo>
                    <a:pt x="6724" y="55319"/>
                  </a:lnTo>
                  <a:lnTo>
                    <a:pt x="11231" y="55355"/>
                  </a:lnTo>
                  <a:lnTo>
                    <a:pt x="11231" y="55355"/>
                  </a:lnTo>
                  <a:lnTo>
                    <a:pt x="13448" y="55319"/>
                  </a:lnTo>
                  <a:lnTo>
                    <a:pt x="15411" y="55246"/>
                  </a:lnTo>
                  <a:lnTo>
                    <a:pt x="16283" y="55174"/>
                  </a:lnTo>
                  <a:lnTo>
                    <a:pt x="17083" y="55101"/>
                  </a:lnTo>
                  <a:lnTo>
                    <a:pt x="17846" y="54992"/>
                  </a:lnTo>
                  <a:lnTo>
                    <a:pt x="18537" y="54883"/>
                  </a:lnTo>
                  <a:lnTo>
                    <a:pt x="19191" y="54737"/>
                  </a:lnTo>
                  <a:lnTo>
                    <a:pt x="19773" y="54556"/>
                  </a:lnTo>
                  <a:lnTo>
                    <a:pt x="20318" y="54374"/>
                  </a:lnTo>
                  <a:lnTo>
                    <a:pt x="20827" y="54120"/>
                  </a:lnTo>
                  <a:lnTo>
                    <a:pt x="21263" y="53865"/>
                  </a:lnTo>
                  <a:lnTo>
                    <a:pt x="21663" y="53574"/>
                  </a:lnTo>
                  <a:lnTo>
                    <a:pt x="22026" y="53247"/>
                  </a:lnTo>
                  <a:lnTo>
                    <a:pt x="22353" y="52884"/>
                  </a:lnTo>
                  <a:lnTo>
                    <a:pt x="22353" y="52884"/>
                  </a:lnTo>
                  <a:lnTo>
                    <a:pt x="22644" y="52484"/>
                  </a:lnTo>
                  <a:lnTo>
                    <a:pt x="22935" y="52048"/>
                  </a:lnTo>
                  <a:lnTo>
                    <a:pt x="23225" y="51575"/>
                  </a:lnTo>
                  <a:lnTo>
                    <a:pt x="23516" y="51030"/>
                  </a:lnTo>
                  <a:lnTo>
                    <a:pt x="23807" y="50412"/>
                  </a:lnTo>
                  <a:lnTo>
                    <a:pt x="24098" y="49758"/>
                  </a:lnTo>
                  <a:lnTo>
                    <a:pt x="24388" y="49031"/>
                  </a:lnTo>
                  <a:lnTo>
                    <a:pt x="24679" y="48232"/>
                  </a:lnTo>
                  <a:lnTo>
                    <a:pt x="24970" y="47359"/>
                  </a:lnTo>
                  <a:lnTo>
                    <a:pt x="25261" y="46414"/>
                  </a:lnTo>
                  <a:lnTo>
                    <a:pt x="25552" y="45397"/>
                  </a:lnTo>
                  <a:lnTo>
                    <a:pt x="25842" y="44270"/>
                  </a:lnTo>
                  <a:lnTo>
                    <a:pt x="26424" y="41835"/>
                  </a:lnTo>
                  <a:lnTo>
                    <a:pt x="26969" y="39000"/>
                  </a:lnTo>
                  <a:lnTo>
                    <a:pt x="27514" y="35765"/>
                  </a:lnTo>
                  <a:lnTo>
                    <a:pt x="28059" y="32130"/>
                  </a:lnTo>
                  <a:lnTo>
                    <a:pt x="28568" y="28060"/>
                  </a:lnTo>
                  <a:lnTo>
                    <a:pt x="29077" y="23480"/>
                  </a:lnTo>
                  <a:lnTo>
                    <a:pt x="29586" y="18428"/>
                  </a:lnTo>
                  <a:lnTo>
                    <a:pt x="30058" y="12831"/>
                  </a:lnTo>
                  <a:lnTo>
                    <a:pt x="30531" y="6688"/>
                  </a:lnTo>
                  <a:lnTo>
                    <a:pt x="3100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9" name="Google Shape;2568;p11">
              <a:extLst>
                <a:ext uri="{FF2B5EF4-FFF2-40B4-BE49-F238E27FC236}">
                  <a16:creationId xmlns:a16="http://schemas.microsoft.com/office/drawing/2014/main" id="{47FB1D65-97E1-F2E3-03E3-478AFCE3BD2E}"/>
                </a:ext>
              </a:extLst>
            </p:cNvPr>
            <p:cNvSpPr/>
            <p:nvPr/>
          </p:nvSpPr>
          <p:spPr>
            <a:xfrm>
              <a:off x="3734575" y="533175"/>
              <a:ext cx="1820025" cy="1761875"/>
            </a:xfrm>
            <a:custGeom>
              <a:avLst/>
              <a:gdLst/>
              <a:ahLst/>
              <a:cxnLst/>
              <a:rect l="l" t="t" r="r" b="b"/>
              <a:pathLst>
                <a:path w="72801" h="70475" extrusionOk="0">
                  <a:moveTo>
                    <a:pt x="47650" y="0"/>
                  </a:moveTo>
                  <a:lnTo>
                    <a:pt x="44996" y="37"/>
                  </a:lnTo>
                  <a:lnTo>
                    <a:pt x="42307" y="73"/>
                  </a:lnTo>
                  <a:lnTo>
                    <a:pt x="39617" y="182"/>
                  </a:lnTo>
                  <a:lnTo>
                    <a:pt x="36964" y="291"/>
                  </a:lnTo>
                  <a:lnTo>
                    <a:pt x="34347" y="436"/>
                  </a:lnTo>
                  <a:lnTo>
                    <a:pt x="31803" y="618"/>
                  </a:lnTo>
                  <a:lnTo>
                    <a:pt x="29368" y="836"/>
                  </a:lnTo>
                  <a:lnTo>
                    <a:pt x="27005" y="1091"/>
                  </a:lnTo>
                  <a:lnTo>
                    <a:pt x="24788" y="1381"/>
                  </a:lnTo>
                  <a:lnTo>
                    <a:pt x="22716" y="1672"/>
                  </a:lnTo>
                  <a:lnTo>
                    <a:pt x="20790" y="1999"/>
                  </a:lnTo>
                  <a:lnTo>
                    <a:pt x="19045" y="2363"/>
                  </a:lnTo>
                  <a:lnTo>
                    <a:pt x="17555" y="2726"/>
                  </a:lnTo>
                  <a:lnTo>
                    <a:pt x="16247" y="3126"/>
                  </a:lnTo>
                  <a:lnTo>
                    <a:pt x="15702" y="3308"/>
                  </a:lnTo>
                  <a:lnTo>
                    <a:pt x="15193" y="3526"/>
                  </a:lnTo>
                  <a:lnTo>
                    <a:pt x="14757" y="3707"/>
                  </a:lnTo>
                  <a:lnTo>
                    <a:pt x="14430" y="3926"/>
                  </a:lnTo>
                  <a:lnTo>
                    <a:pt x="14139" y="4144"/>
                  </a:lnTo>
                  <a:lnTo>
                    <a:pt x="13921" y="4362"/>
                  </a:lnTo>
                  <a:lnTo>
                    <a:pt x="13775" y="4580"/>
                  </a:lnTo>
                  <a:lnTo>
                    <a:pt x="13739" y="4834"/>
                  </a:lnTo>
                  <a:lnTo>
                    <a:pt x="13594" y="6579"/>
                  </a:lnTo>
                  <a:lnTo>
                    <a:pt x="13339" y="8469"/>
                  </a:lnTo>
                  <a:lnTo>
                    <a:pt x="13012" y="10504"/>
                  </a:lnTo>
                  <a:lnTo>
                    <a:pt x="12612" y="12648"/>
                  </a:lnTo>
                  <a:lnTo>
                    <a:pt x="12140" y="14902"/>
                  </a:lnTo>
                  <a:lnTo>
                    <a:pt x="11631" y="17228"/>
                  </a:lnTo>
                  <a:lnTo>
                    <a:pt x="11086" y="19663"/>
                  </a:lnTo>
                  <a:lnTo>
                    <a:pt x="10468" y="22171"/>
                  </a:lnTo>
                  <a:lnTo>
                    <a:pt x="9123" y="27296"/>
                  </a:lnTo>
                  <a:lnTo>
                    <a:pt x="7706" y="32530"/>
                  </a:lnTo>
                  <a:lnTo>
                    <a:pt x="4834" y="42924"/>
                  </a:lnTo>
                  <a:lnTo>
                    <a:pt x="3490" y="47867"/>
                  </a:lnTo>
                  <a:lnTo>
                    <a:pt x="2290" y="52520"/>
                  </a:lnTo>
                  <a:lnTo>
                    <a:pt x="1745" y="54664"/>
                  </a:lnTo>
                  <a:lnTo>
                    <a:pt x="1272" y="56699"/>
                  </a:lnTo>
                  <a:lnTo>
                    <a:pt x="873" y="58626"/>
                  </a:lnTo>
                  <a:lnTo>
                    <a:pt x="509" y="60370"/>
                  </a:lnTo>
                  <a:lnTo>
                    <a:pt x="255" y="62006"/>
                  </a:lnTo>
                  <a:lnTo>
                    <a:pt x="73" y="63423"/>
                  </a:lnTo>
                  <a:lnTo>
                    <a:pt x="0" y="64696"/>
                  </a:lnTo>
                  <a:lnTo>
                    <a:pt x="0" y="65241"/>
                  </a:lnTo>
                  <a:lnTo>
                    <a:pt x="0" y="65750"/>
                  </a:lnTo>
                  <a:lnTo>
                    <a:pt x="73" y="66222"/>
                  </a:lnTo>
                  <a:lnTo>
                    <a:pt x="146" y="66586"/>
                  </a:lnTo>
                  <a:lnTo>
                    <a:pt x="255" y="66949"/>
                  </a:lnTo>
                  <a:lnTo>
                    <a:pt x="364" y="67240"/>
                  </a:lnTo>
                  <a:lnTo>
                    <a:pt x="545" y="67458"/>
                  </a:lnTo>
                  <a:lnTo>
                    <a:pt x="727" y="67603"/>
                  </a:lnTo>
                  <a:lnTo>
                    <a:pt x="982" y="67712"/>
                  </a:lnTo>
                  <a:lnTo>
                    <a:pt x="1236" y="67749"/>
                  </a:lnTo>
                  <a:lnTo>
                    <a:pt x="2290" y="67785"/>
                  </a:lnTo>
                  <a:lnTo>
                    <a:pt x="3526" y="67858"/>
                  </a:lnTo>
                  <a:lnTo>
                    <a:pt x="6543" y="68076"/>
                  </a:lnTo>
                  <a:lnTo>
                    <a:pt x="14321" y="68766"/>
                  </a:lnTo>
                  <a:lnTo>
                    <a:pt x="18864" y="69166"/>
                  </a:lnTo>
                  <a:lnTo>
                    <a:pt x="23661" y="69566"/>
                  </a:lnTo>
                  <a:lnTo>
                    <a:pt x="28604" y="69929"/>
                  </a:lnTo>
                  <a:lnTo>
                    <a:pt x="33620" y="70220"/>
                  </a:lnTo>
                  <a:lnTo>
                    <a:pt x="36128" y="70329"/>
                  </a:lnTo>
                  <a:lnTo>
                    <a:pt x="38563" y="70402"/>
                  </a:lnTo>
                  <a:lnTo>
                    <a:pt x="40998" y="70475"/>
                  </a:lnTo>
                  <a:lnTo>
                    <a:pt x="43361" y="70475"/>
                  </a:lnTo>
                  <a:lnTo>
                    <a:pt x="45651" y="70438"/>
                  </a:lnTo>
                  <a:lnTo>
                    <a:pt x="47831" y="70365"/>
                  </a:lnTo>
                  <a:lnTo>
                    <a:pt x="49939" y="70256"/>
                  </a:lnTo>
                  <a:lnTo>
                    <a:pt x="51938" y="70075"/>
                  </a:lnTo>
                  <a:lnTo>
                    <a:pt x="53792" y="69857"/>
                  </a:lnTo>
                  <a:lnTo>
                    <a:pt x="55500" y="69566"/>
                  </a:lnTo>
                  <a:lnTo>
                    <a:pt x="56300" y="69420"/>
                  </a:lnTo>
                  <a:lnTo>
                    <a:pt x="57063" y="69239"/>
                  </a:lnTo>
                  <a:lnTo>
                    <a:pt x="57790" y="69021"/>
                  </a:lnTo>
                  <a:lnTo>
                    <a:pt x="58481" y="68803"/>
                  </a:lnTo>
                  <a:lnTo>
                    <a:pt x="59098" y="68585"/>
                  </a:lnTo>
                  <a:lnTo>
                    <a:pt x="59680" y="68330"/>
                  </a:lnTo>
                  <a:lnTo>
                    <a:pt x="60189" y="68039"/>
                  </a:lnTo>
                  <a:lnTo>
                    <a:pt x="60698" y="67749"/>
                  </a:lnTo>
                  <a:lnTo>
                    <a:pt x="61097" y="67421"/>
                  </a:lnTo>
                  <a:lnTo>
                    <a:pt x="61497" y="67094"/>
                  </a:lnTo>
                  <a:lnTo>
                    <a:pt x="61788" y="66731"/>
                  </a:lnTo>
                  <a:lnTo>
                    <a:pt x="62042" y="66367"/>
                  </a:lnTo>
                  <a:lnTo>
                    <a:pt x="62515" y="65495"/>
                  </a:lnTo>
                  <a:lnTo>
                    <a:pt x="62987" y="64405"/>
                  </a:lnTo>
                  <a:lnTo>
                    <a:pt x="63460" y="63133"/>
                  </a:lnTo>
                  <a:lnTo>
                    <a:pt x="63969" y="61679"/>
                  </a:lnTo>
                  <a:lnTo>
                    <a:pt x="64478" y="60080"/>
                  </a:lnTo>
                  <a:lnTo>
                    <a:pt x="64986" y="58299"/>
                  </a:lnTo>
                  <a:lnTo>
                    <a:pt x="65495" y="56409"/>
                  </a:lnTo>
                  <a:lnTo>
                    <a:pt x="66040" y="54373"/>
                  </a:lnTo>
                  <a:lnTo>
                    <a:pt x="66549" y="52229"/>
                  </a:lnTo>
                  <a:lnTo>
                    <a:pt x="67058" y="50012"/>
                  </a:lnTo>
                  <a:lnTo>
                    <a:pt x="67567" y="47722"/>
                  </a:lnTo>
                  <a:lnTo>
                    <a:pt x="68039" y="45323"/>
                  </a:lnTo>
                  <a:lnTo>
                    <a:pt x="69021" y="40453"/>
                  </a:lnTo>
                  <a:lnTo>
                    <a:pt x="69893" y="35437"/>
                  </a:lnTo>
                  <a:lnTo>
                    <a:pt x="70693" y="30422"/>
                  </a:lnTo>
                  <a:lnTo>
                    <a:pt x="71056" y="27986"/>
                  </a:lnTo>
                  <a:lnTo>
                    <a:pt x="71420" y="25551"/>
                  </a:lnTo>
                  <a:lnTo>
                    <a:pt x="71710" y="23189"/>
                  </a:lnTo>
                  <a:lnTo>
                    <a:pt x="72001" y="20899"/>
                  </a:lnTo>
                  <a:lnTo>
                    <a:pt x="72219" y="18682"/>
                  </a:lnTo>
                  <a:lnTo>
                    <a:pt x="72437" y="16574"/>
                  </a:lnTo>
                  <a:lnTo>
                    <a:pt x="72583" y="14575"/>
                  </a:lnTo>
                  <a:lnTo>
                    <a:pt x="72728" y="12685"/>
                  </a:lnTo>
                  <a:lnTo>
                    <a:pt x="72801" y="10940"/>
                  </a:lnTo>
                  <a:lnTo>
                    <a:pt x="72801" y="9377"/>
                  </a:lnTo>
                  <a:lnTo>
                    <a:pt x="72801" y="7960"/>
                  </a:lnTo>
                  <a:lnTo>
                    <a:pt x="72728" y="6724"/>
                  </a:lnTo>
                  <a:lnTo>
                    <a:pt x="72583" y="5670"/>
                  </a:lnTo>
                  <a:lnTo>
                    <a:pt x="72474" y="5198"/>
                  </a:lnTo>
                  <a:lnTo>
                    <a:pt x="72401" y="4834"/>
                  </a:lnTo>
                  <a:lnTo>
                    <a:pt x="72256" y="4471"/>
                  </a:lnTo>
                  <a:lnTo>
                    <a:pt x="72001" y="4107"/>
                  </a:lnTo>
                  <a:lnTo>
                    <a:pt x="71710" y="3780"/>
                  </a:lnTo>
                  <a:lnTo>
                    <a:pt x="71347" y="3489"/>
                  </a:lnTo>
                  <a:lnTo>
                    <a:pt x="70911" y="3199"/>
                  </a:lnTo>
                  <a:lnTo>
                    <a:pt x="70402" y="2908"/>
                  </a:lnTo>
                  <a:lnTo>
                    <a:pt x="69857" y="2617"/>
                  </a:lnTo>
                  <a:lnTo>
                    <a:pt x="69203" y="2399"/>
                  </a:lnTo>
                  <a:lnTo>
                    <a:pt x="68512" y="2145"/>
                  </a:lnTo>
                  <a:lnTo>
                    <a:pt x="67785" y="1927"/>
                  </a:lnTo>
                  <a:lnTo>
                    <a:pt x="66985" y="1708"/>
                  </a:lnTo>
                  <a:lnTo>
                    <a:pt x="66150" y="1490"/>
                  </a:lnTo>
                  <a:lnTo>
                    <a:pt x="65241" y="1309"/>
                  </a:lnTo>
                  <a:lnTo>
                    <a:pt x="64296" y="1163"/>
                  </a:lnTo>
                  <a:lnTo>
                    <a:pt x="62297" y="836"/>
                  </a:lnTo>
                  <a:lnTo>
                    <a:pt x="60116" y="582"/>
                  </a:lnTo>
                  <a:lnTo>
                    <a:pt x="57826" y="400"/>
                  </a:lnTo>
                  <a:lnTo>
                    <a:pt x="55391" y="218"/>
                  </a:lnTo>
                  <a:lnTo>
                    <a:pt x="52883" y="109"/>
                  </a:lnTo>
                  <a:lnTo>
                    <a:pt x="50303" y="37"/>
                  </a:lnTo>
                  <a:lnTo>
                    <a:pt x="47650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0" name="Google Shape;2569;p11">
              <a:extLst>
                <a:ext uri="{FF2B5EF4-FFF2-40B4-BE49-F238E27FC236}">
                  <a16:creationId xmlns:a16="http://schemas.microsoft.com/office/drawing/2014/main" id="{B0B80B96-86FF-9449-EAA6-398D6D06C565}"/>
                </a:ext>
              </a:extLst>
            </p:cNvPr>
            <p:cNvSpPr/>
            <p:nvPr/>
          </p:nvSpPr>
          <p:spPr>
            <a:xfrm>
              <a:off x="3734575" y="533175"/>
              <a:ext cx="1820025" cy="1761875"/>
            </a:xfrm>
            <a:custGeom>
              <a:avLst/>
              <a:gdLst/>
              <a:ahLst/>
              <a:cxnLst/>
              <a:rect l="l" t="t" r="r" b="b"/>
              <a:pathLst>
                <a:path w="72801" h="70475" fill="none" extrusionOk="0">
                  <a:moveTo>
                    <a:pt x="13739" y="4834"/>
                  </a:moveTo>
                  <a:lnTo>
                    <a:pt x="13739" y="4834"/>
                  </a:lnTo>
                  <a:lnTo>
                    <a:pt x="13594" y="6579"/>
                  </a:lnTo>
                  <a:lnTo>
                    <a:pt x="13339" y="8469"/>
                  </a:lnTo>
                  <a:lnTo>
                    <a:pt x="13012" y="10504"/>
                  </a:lnTo>
                  <a:lnTo>
                    <a:pt x="12612" y="12648"/>
                  </a:lnTo>
                  <a:lnTo>
                    <a:pt x="12140" y="14902"/>
                  </a:lnTo>
                  <a:lnTo>
                    <a:pt x="11631" y="17228"/>
                  </a:lnTo>
                  <a:lnTo>
                    <a:pt x="11086" y="19663"/>
                  </a:lnTo>
                  <a:lnTo>
                    <a:pt x="10468" y="22171"/>
                  </a:lnTo>
                  <a:lnTo>
                    <a:pt x="9123" y="27296"/>
                  </a:lnTo>
                  <a:lnTo>
                    <a:pt x="7706" y="32530"/>
                  </a:lnTo>
                  <a:lnTo>
                    <a:pt x="4834" y="42924"/>
                  </a:lnTo>
                  <a:lnTo>
                    <a:pt x="3490" y="47867"/>
                  </a:lnTo>
                  <a:lnTo>
                    <a:pt x="2290" y="52520"/>
                  </a:lnTo>
                  <a:lnTo>
                    <a:pt x="1745" y="54664"/>
                  </a:lnTo>
                  <a:lnTo>
                    <a:pt x="1272" y="56699"/>
                  </a:lnTo>
                  <a:lnTo>
                    <a:pt x="873" y="58626"/>
                  </a:lnTo>
                  <a:lnTo>
                    <a:pt x="509" y="60370"/>
                  </a:lnTo>
                  <a:lnTo>
                    <a:pt x="255" y="62006"/>
                  </a:lnTo>
                  <a:lnTo>
                    <a:pt x="73" y="63423"/>
                  </a:lnTo>
                  <a:lnTo>
                    <a:pt x="0" y="64696"/>
                  </a:lnTo>
                  <a:lnTo>
                    <a:pt x="0" y="65241"/>
                  </a:lnTo>
                  <a:lnTo>
                    <a:pt x="0" y="65750"/>
                  </a:lnTo>
                  <a:lnTo>
                    <a:pt x="73" y="66222"/>
                  </a:lnTo>
                  <a:lnTo>
                    <a:pt x="146" y="66586"/>
                  </a:lnTo>
                  <a:lnTo>
                    <a:pt x="255" y="66949"/>
                  </a:lnTo>
                  <a:lnTo>
                    <a:pt x="364" y="67240"/>
                  </a:lnTo>
                  <a:lnTo>
                    <a:pt x="545" y="67458"/>
                  </a:lnTo>
                  <a:lnTo>
                    <a:pt x="727" y="67603"/>
                  </a:lnTo>
                  <a:lnTo>
                    <a:pt x="982" y="67712"/>
                  </a:lnTo>
                  <a:lnTo>
                    <a:pt x="1236" y="67749"/>
                  </a:lnTo>
                  <a:lnTo>
                    <a:pt x="1236" y="67749"/>
                  </a:lnTo>
                  <a:lnTo>
                    <a:pt x="2290" y="67785"/>
                  </a:lnTo>
                  <a:lnTo>
                    <a:pt x="3526" y="67858"/>
                  </a:lnTo>
                  <a:lnTo>
                    <a:pt x="6543" y="68076"/>
                  </a:lnTo>
                  <a:lnTo>
                    <a:pt x="14321" y="68766"/>
                  </a:lnTo>
                  <a:lnTo>
                    <a:pt x="18864" y="69166"/>
                  </a:lnTo>
                  <a:lnTo>
                    <a:pt x="23661" y="69566"/>
                  </a:lnTo>
                  <a:lnTo>
                    <a:pt x="28604" y="69929"/>
                  </a:lnTo>
                  <a:lnTo>
                    <a:pt x="33620" y="70220"/>
                  </a:lnTo>
                  <a:lnTo>
                    <a:pt x="36128" y="70329"/>
                  </a:lnTo>
                  <a:lnTo>
                    <a:pt x="38563" y="70402"/>
                  </a:lnTo>
                  <a:lnTo>
                    <a:pt x="40998" y="70475"/>
                  </a:lnTo>
                  <a:lnTo>
                    <a:pt x="43361" y="70475"/>
                  </a:lnTo>
                  <a:lnTo>
                    <a:pt x="45651" y="70438"/>
                  </a:lnTo>
                  <a:lnTo>
                    <a:pt x="47831" y="70365"/>
                  </a:lnTo>
                  <a:lnTo>
                    <a:pt x="49939" y="70256"/>
                  </a:lnTo>
                  <a:lnTo>
                    <a:pt x="51938" y="70075"/>
                  </a:lnTo>
                  <a:lnTo>
                    <a:pt x="53792" y="69857"/>
                  </a:lnTo>
                  <a:lnTo>
                    <a:pt x="55500" y="69566"/>
                  </a:lnTo>
                  <a:lnTo>
                    <a:pt x="56300" y="69420"/>
                  </a:lnTo>
                  <a:lnTo>
                    <a:pt x="57063" y="69239"/>
                  </a:lnTo>
                  <a:lnTo>
                    <a:pt x="57790" y="69021"/>
                  </a:lnTo>
                  <a:lnTo>
                    <a:pt x="58481" y="68803"/>
                  </a:lnTo>
                  <a:lnTo>
                    <a:pt x="59098" y="68585"/>
                  </a:lnTo>
                  <a:lnTo>
                    <a:pt x="59680" y="68330"/>
                  </a:lnTo>
                  <a:lnTo>
                    <a:pt x="60189" y="68039"/>
                  </a:lnTo>
                  <a:lnTo>
                    <a:pt x="60698" y="67749"/>
                  </a:lnTo>
                  <a:lnTo>
                    <a:pt x="61097" y="67421"/>
                  </a:lnTo>
                  <a:lnTo>
                    <a:pt x="61497" y="67094"/>
                  </a:lnTo>
                  <a:lnTo>
                    <a:pt x="61788" y="66731"/>
                  </a:lnTo>
                  <a:lnTo>
                    <a:pt x="62042" y="66367"/>
                  </a:lnTo>
                  <a:lnTo>
                    <a:pt x="62042" y="66367"/>
                  </a:lnTo>
                  <a:lnTo>
                    <a:pt x="62515" y="65495"/>
                  </a:lnTo>
                  <a:lnTo>
                    <a:pt x="62987" y="64405"/>
                  </a:lnTo>
                  <a:lnTo>
                    <a:pt x="63460" y="63133"/>
                  </a:lnTo>
                  <a:lnTo>
                    <a:pt x="63969" y="61679"/>
                  </a:lnTo>
                  <a:lnTo>
                    <a:pt x="64478" y="60080"/>
                  </a:lnTo>
                  <a:lnTo>
                    <a:pt x="64986" y="58299"/>
                  </a:lnTo>
                  <a:lnTo>
                    <a:pt x="65495" y="56409"/>
                  </a:lnTo>
                  <a:lnTo>
                    <a:pt x="66040" y="54373"/>
                  </a:lnTo>
                  <a:lnTo>
                    <a:pt x="66549" y="52229"/>
                  </a:lnTo>
                  <a:lnTo>
                    <a:pt x="67058" y="50012"/>
                  </a:lnTo>
                  <a:lnTo>
                    <a:pt x="67567" y="47722"/>
                  </a:lnTo>
                  <a:lnTo>
                    <a:pt x="68039" y="45323"/>
                  </a:lnTo>
                  <a:lnTo>
                    <a:pt x="69021" y="40453"/>
                  </a:lnTo>
                  <a:lnTo>
                    <a:pt x="69893" y="35437"/>
                  </a:lnTo>
                  <a:lnTo>
                    <a:pt x="70693" y="30422"/>
                  </a:lnTo>
                  <a:lnTo>
                    <a:pt x="71056" y="27986"/>
                  </a:lnTo>
                  <a:lnTo>
                    <a:pt x="71420" y="25551"/>
                  </a:lnTo>
                  <a:lnTo>
                    <a:pt x="71710" y="23189"/>
                  </a:lnTo>
                  <a:lnTo>
                    <a:pt x="72001" y="20899"/>
                  </a:lnTo>
                  <a:lnTo>
                    <a:pt x="72219" y="18682"/>
                  </a:lnTo>
                  <a:lnTo>
                    <a:pt x="72437" y="16574"/>
                  </a:lnTo>
                  <a:lnTo>
                    <a:pt x="72583" y="14575"/>
                  </a:lnTo>
                  <a:lnTo>
                    <a:pt x="72728" y="12685"/>
                  </a:lnTo>
                  <a:lnTo>
                    <a:pt x="72801" y="10940"/>
                  </a:lnTo>
                  <a:lnTo>
                    <a:pt x="72801" y="9377"/>
                  </a:lnTo>
                  <a:lnTo>
                    <a:pt x="72801" y="7960"/>
                  </a:lnTo>
                  <a:lnTo>
                    <a:pt x="72728" y="6724"/>
                  </a:lnTo>
                  <a:lnTo>
                    <a:pt x="72583" y="5670"/>
                  </a:lnTo>
                  <a:lnTo>
                    <a:pt x="72474" y="5198"/>
                  </a:lnTo>
                  <a:lnTo>
                    <a:pt x="72401" y="4834"/>
                  </a:lnTo>
                  <a:lnTo>
                    <a:pt x="72401" y="4834"/>
                  </a:lnTo>
                  <a:lnTo>
                    <a:pt x="72256" y="4471"/>
                  </a:lnTo>
                  <a:lnTo>
                    <a:pt x="72001" y="4107"/>
                  </a:lnTo>
                  <a:lnTo>
                    <a:pt x="71710" y="3780"/>
                  </a:lnTo>
                  <a:lnTo>
                    <a:pt x="71347" y="3489"/>
                  </a:lnTo>
                  <a:lnTo>
                    <a:pt x="70911" y="3199"/>
                  </a:lnTo>
                  <a:lnTo>
                    <a:pt x="70402" y="2908"/>
                  </a:lnTo>
                  <a:lnTo>
                    <a:pt x="69857" y="2617"/>
                  </a:lnTo>
                  <a:lnTo>
                    <a:pt x="69203" y="2399"/>
                  </a:lnTo>
                  <a:lnTo>
                    <a:pt x="68512" y="2145"/>
                  </a:lnTo>
                  <a:lnTo>
                    <a:pt x="67785" y="1927"/>
                  </a:lnTo>
                  <a:lnTo>
                    <a:pt x="66985" y="1708"/>
                  </a:lnTo>
                  <a:lnTo>
                    <a:pt x="66150" y="1490"/>
                  </a:lnTo>
                  <a:lnTo>
                    <a:pt x="65241" y="1309"/>
                  </a:lnTo>
                  <a:lnTo>
                    <a:pt x="64296" y="1163"/>
                  </a:lnTo>
                  <a:lnTo>
                    <a:pt x="62297" y="836"/>
                  </a:lnTo>
                  <a:lnTo>
                    <a:pt x="60116" y="582"/>
                  </a:lnTo>
                  <a:lnTo>
                    <a:pt x="57826" y="400"/>
                  </a:lnTo>
                  <a:lnTo>
                    <a:pt x="55391" y="218"/>
                  </a:lnTo>
                  <a:lnTo>
                    <a:pt x="52883" y="109"/>
                  </a:lnTo>
                  <a:lnTo>
                    <a:pt x="50303" y="37"/>
                  </a:lnTo>
                  <a:lnTo>
                    <a:pt x="47650" y="0"/>
                  </a:lnTo>
                  <a:lnTo>
                    <a:pt x="44996" y="37"/>
                  </a:lnTo>
                  <a:lnTo>
                    <a:pt x="42307" y="73"/>
                  </a:lnTo>
                  <a:lnTo>
                    <a:pt x="39617" y="182"/>
                  </a:lnTo>
                  <a:lnTo>
                    <a:pt x="36964" y="291"/>
                  </a:lnTo>
                  <a:lnTo>
                    <a:pt x="34347" y="436"/>
                  </a:lnTo>
                  <a:lnTo>
                    <a:pt x="31803" y="618"/>
                  </a:lnTo>
                  <a:lnTo>
                    <a:pt x="29368" y="836"/>
                  </a:lnTo>
                  <a:lnTo>
                    <a:pt x="27005" y="1091"/>
                  </a:lnTo>
                  <a:lnTo>
                    <a:pt x="24788" y="1381"/>
                  </a:lnTo>
                  <a:lnTo>
                    <a:pt x="22716" y="1672"/>
                  </a:lnTo>
                  <a:lnTo>
                    <a:pt x="20790" y="1999"/>
                  </a:lnTo>
                  <a:lnTo>
                    <a:pt x="19045" y="2363"/>
                  </a:lnTo>
                  <a:lnTo>
                    <a:pt x="17555" y="2726"/>
                  </a:lnTo>
                  <a:lnTo>
                    <a:pt x="16247" y="3126"/>
                  </a:lnTo>
                  <a:lnTo>
                    <a:pt x="15702" y="3308"/>
                  </a:lnTo>
                  <a:lnTo>
                    <a:pt x="15193" y="3526"/>
                  </a:lnTo>
                  <a:lnTo>
                    <a:pt x="14757" y="3707"/>
                  </a:lnTo>
                  <a:lnTo>
                    <a:pt x="14430" y="3926"/>
                  </a:lnTo>
                  <a:lnTo>
                    <a:pt x="14139" y="4144"/>
                  </a:lnTo>
                  <a:lnTo>
                    <a:pt x="13921" y="4362"/>
                  </a:lnTo>
                  <a:lnTo>
                    <a:pt x="13775" y="4580"/>
                  </a:lnTo>
                  <a:lnTo>
                    <a:pt x="13739" y="4834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1" name="Google Shape;2570;p11">
              <a:extLst>
                <a:ext uri="{FF2B5EF4-FFF2-40B4-BE49-F238E27FC236}">
                  <a16:creationId xmlns:a16="http://schemas.microsoft.com/office/drawing/2014/main" id="{973A30D8-C70D-3A76-0E65-ABA3E4F47D75}"/>
                </a:ext>
              </a:extLst>
            </p:cNvPr>
            <p:cNvSpPr/>
            <p:nvPr/>
          </p:nvSpPr>
          <p:spPr>
            <a:xfrm>
              <a:off x="4248850" y="971125"/>
              <a:ext cx="1025900" cy="42750"/>
            </a:xfrm>
            <a:custGeom>
              <a:avLst/>
              <a:gdLst/>
              <a:ahLst/>
              <a:cxnLst/>
              <a:rect l="l" t="t" r="r" b="b"/>
              <a:pathLst>
                <a:path w="41036" h="1710" extrusionOk="0">
                  <a:moveTo>
                    <a:pt x="1" y="1"/>
                  </a:moveTo>
                  <a:lnTo>
                    <a:pt x="1" y="1709"/>
                  </a:lnTo>
                  <a:lnTo>
                    <a:pt x="41035" y="1709"/>
                  </a:lnTo>
                  <a:lnTo>
                    <a:pt x="41035" y="1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2" name="Google Shape;2571;p11">
              <a:extLst>
                <a:ext uri="{FF2B5EF4-FFF2-40B4-BE49-F238E27FC236}">
                  <a16:creationId xmlns:a16="http://schemas.microsoft.com/office/drawing/2014/main" id="{2083BA45-65B5-A226-AE75-4B2F3E7AC4AE}"/>
                </a:ext>
              </a:extLst>
            </p:cNvPr>
            <p:cNvSpPr/>
            <p:nvPr/>
          </p:nvSpPr>
          <p:spPr>
            <a:xfrm>
              <a:off x="4248850" y="971125"/>
              <a:ext cx="1025900" cy="42750"/>
            </a:xfrm>
            <a:custGeom>
              <a:avLst/>
              <a:gdLst/>
              <a:ahLst/>
              <a:cxnLst/>
              <a:rect l="l" t="t" r="r" b="b"/>
              <a:pathLst>
                <a:path w="41036" h="1710" fill="none" extrusionOk="0">
                  <a:moveTo>
                    <a:pt x="41035" y="1"/>
                  </a:moveTo>
                  <a:lnTo>
                    <a:pt x="1" y="1"/>
                  </a:lnTo>
                  <a:lnTo>
                    <a:pt x="1" y="1709"/>
                  </a:lnTo>
                  <a:lnTo>
                    <a:pt x="41035" y="1709"/>
                  </a:lnTo>
                  <a:lnTo>
                    <a:pt x="4103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3" name="Google Shape;2572;p11">
              <a:extLst>
                <a:ext uri="{FF2B5EF4-FFF2-40B4-BE49-F238E27FC236}">
                  <a16:creationId xmlns:a16="http://schemas.microsoft.com/office/drawing/2014/main" id="{75C16120-06B0-C2AF-38A3-AA9F2AFA5BA3}"/>
                </a:ext>
              </a:extLst>
            </p:cNvPr>
            <p:cNvSpPr/>
            <p:nvPr/>
          </p:nvSpPr>
          <p:spPr>
            <a:xfrm>
              <a:off x="4177075" y="1161050"/>
              <a:ext cx="1025875" cy="42725"/>
            </a:xfrm>
            <a:custGeom>
              <a:avLst/>
              <a:gdLst/>
              <a:ahLst/>
              <a:cxnLst/>
              <a:rect l="l" t="t" r="r" b="b"/>
              <a:pathLst>
                <a:path w="41035" h="1709" extrusionOk="0">
                  <a:moveTo>
                    <a:pt x="1" y="0"/>
                  </a:moveTo>
                  <a:lnTo>
                    <a:pt x="1" y="1708"/>
                  </a:lnTo>
                  <a:lnTo>
                    <a:pt x="41035" y="1708"/>
                  </a:lnTo>
                  <a:lnTo>
                    <a:pt x="41035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4" name="Google Shape;2573;p11">
              <a:extLst>
                <a:ext uri="{FF2B5EF4-FFF2-40B4-BE49-F238E27FC236}">
                  <a16:creationId xmlns:a16="http://schemas.microsoft.com/office/drawing/2014/main" id="{DD54BC41-3C98-8303-7859-EBBC96B47EFC}"/>
                </a:ext>
              </a:extLst>
            </p:cNvPr>
            <p:cNvSpPr/>
            <p:nvPr/>
          </p:nvSpPr>
          <p:spPr>
            <a:xfrm>
              <a:off x="4177075" y="1161050"/>
              <a:ext cx="1025875" cy="42725"/>
            </a:xfrm>
            <a:custGeom>
              <a:avLst/>
              <a:gdLst/>
              <a:ahLst/>
              <a:cxnLst/>
              <a:rect l="l" t="t" r="r" b="b"/>
              <a:pathLst>
                <a:path w="41035" h="1709" fill="none" extrusionOk="0">
                  <a:moveTo>
                    <a:pt x="41035" y="0"/>
                  </a:moveTo>
                  <a:lnTo>
                    <a:pt x="1" y="0"/>
                  </a:lnTo>
                  <a:lnTo>
                    <a:pt x="1" y="1708"/>
                  </a:lnTo>
                  <a:lnTo>
                    <a:pt x="41035" y="1708"/>
                  </a:lnTo>
                  <a:lnTo>
                    <a:pt x="410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5" name="Google Shape;2574;p11">
              <a:extLst>
                <a:ext uri="{FF2B5EF4-FFF2-40B4-BE49-F238E27FC236}">
                  <a16:creationId xmlns:a16="http://schemas.microsoft.com/office/drawing/2014/main" id="{76A0F314-8E3B-1661-279A-71FA1053EBF1}"/>
                </a:ext>
              </a:extLst>
            </p:cNvPr>
            <p:cNvSpPr/>
            <p:nvPr/>
          </p:nvSpPr>
          <p:spPr>
            <a:xfrm>
              <a:off x="4118025" y="1330950"/>
              <a:ext cx="1025875" cy="41825"/>
            </a:xfrm>
            <a:custGeom>
              <a:avLst/>
              <a:gdLst/>
              <a:ahLst/>
              <a:cxnLst/>
              <a:rect l="l" t="t" r="r" b="b"/>
              <a:pathLst>
                <a:path w="41035" h="1673" extrusionOk="0">
                  <a:moveTo>
                    <a:pt x="0" y="1"/>
                  </a:moveTo>
                  <a:lnTo>
                    <a:pt x="0" y="1673"/>
                  </a:lnTo>
                  <a:lnTo>
                    <a:pt x="41035" y="1673"/>
                  </a:lnTo>
                  <a:lnTo>
                    <a:pt x="41035" y="1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6" name="Google Shape;2575;p11">
              <a:extLst>
                <a:ext uri="{FF2B5EF4-FFF2-40B4-BE49-F238E27FC236}">
                  <a16:creationId xmlns:a16="http://schemas.microsoft.com/office/drawing/2014/main" id="{5AFC0E49-3D06-45F3-F131-2CD1C0A01407}"/>
                </a:ext>
              </a:extLst>
            </p:cNvPr>
            <p:cNvSpPr/>
            <p:nvPr/>
          </p:nvSpPr>
          <p:spPr>
            <a:xfrm>
              <a:off x="4118025" y="1330950"/>
              <a:ext cx="1025875" cy="41825"/>
            </a:xfrm>
            <a:custGeom>
              <a:avLst/>
              <a:gdLst/>
              <a:ahLst/>
              <a:cxnLst/>
              <a:rect l="l" t="t" r="r" b="b"/>
              <a:pathLst>
                <a:path w="41035" h="1673" fill="none" extrusionOk="0">
                  <a:moveTo>
                    <a:pt x="41035" y="1"/>
                  </a:moveTo>
                  <a:lnTo>
                    <a:pt x="0" y="1"/>
                  </a:lnTo>
                  <a:lnTo>
                    <a:pt x="0" y="1673"/>
                  </a:lnTo>
                  <a:lnTo>
                    <a:pt x="41035" y="1673"/>
                  </a:lnTo>
                  <a:lnTo>
                    <a:pt x="4103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7" name="Google Shape;2576;p11">
              <a:extLst>
                <a:ext uri="{FF2B5EF4-FFF2-40B4-BE49-F238E27FC236}">
                  <a16:creationId xmlns:a16="http://schemas.microsoft.com/office/drawing/2014/main" id="{6D05D2BA-DA5E-19D0-B7BF-B51B059B7AAC}"/>
                </a:ext>
              </a:extLst>
            </p:cNvPr>
            <p:cNvSpPr/>
            <p:nvPr/>
          </p:nvSpPr>
          <p:spPr>
            <a:xfrm>
              <a:off x="4037150" y="1516325"/>
              <a:ext cx="1025875" cy="42725"/>
            </a:xfrm>
            <a:custGeom>
              <a:avLst/>
              <a:gdLst/>
              <a:ahLst/>
              <a:cxnLst/>
              <a:rect l="l" t="t" r="r" b="b"/>
              <a:pathLst>
                <a:path w="41035" h="1709" extrusionOk="0">
                  <a:moveTo>
                    <a:pt x="0" y="0"/>
                  </a:moveTo>
                  <a:lnTo>
                    <a:pt x="0" y="1708"/>
                  </a:lnTo>
                  <a:lnTo>
                    <a:pt x="41035" y="1708"/>
                  </a:lnTo>
                  <a:lnTo>
                    <a:pt x="41035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8" name="Google Shape;2577;p11">
              <a:extLst>
                <a:ext uri="{FF2B5EF4-FFF2-40B4-BE49-F238E27FC236}">
                  <a16:creationId xmlns:a16="http://schemas.microsoft.com/office/drawing/2014/main" id="{23137786-3CBD-E36A-38C2-9651482ABA4F}"/>
                </a:ext>
              </a:extLst>
            </p:cNvPr>
            <p:cNvSpPr/>
            <p:nvPr/>
          </p:nvSpPr>
          <p:spPr>
            <a:xfrm>
              <a:off x="4037150" y="1516325"/>
              <a:ext cx="1025875" cy="42725"/>
            </a:xfrm>
            <a:custGeom>
              <a:avLst/>
              <a:gdLst/>
              <a:ahLst/>
              <a:cxnLst/>
              <a:rect l="l" t="t" r="r" b="b"/>
              <a:pathLst>
                <a:path w="41035" h="1709" fill="none" extrusionOk="0">
                  <a:moveTo>
                    <a:pt x="41035" y="0"/>
                  </a:moveTo>
                  <a:lnTo>
                    <a:pt x="0" y="0"/>
                  </a:lnTo>
                  <a:lnTo>
                    <a:pt x="0" y="1708"/>
                  </a:lnTo>
                  <a:lnTo>
                    <a:pt x="41035" y="1708"/>
                  </a:lnTo>
                  <a:lnTo>
                    <a:pt x="410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9" name="Google Shape;2578;p11">
              <a:extLst>
                <a:ext uri="{FF2B5EF4-FFF2-40B4-BE49-F238E27FC236}">
                  <a16:creationId xmlns:a16="http://schemas.microsoft.com/office/drawing/2014/main" id="{4C1BB9B6-140B-26AF-815B-24721AD6F9A1}"/>
                </a:ext>
              </a:extLst>
            </p:cNvPr>
            <p:cNvSpPr/>
            <p:nvPr/>
          </p:nvSpPr>
          <p:spPr>
            <a:xfrm>
              <a:off x="4983050" y="950225"/>
              <a:ext cx="109975" cy="80900"/>
            </a:xfrm>
            <a:custGeom>
              <a:avLst/>
              <a:gdLst/>
              <a:ahLst/>
              <a:cxnLst/>
              <a:rect l="l" t="t" r="r" b="b"/>
              <a:pathLst>
                <a:path w="4399" h="3236" extrusionOk="0">
                  <a:moveTo>
                    <a:pt x="0" y="1"/>
                  </a:moveTo>
                  <a:lnTo>
                    <a:pt x="0" y="3236"/>
                  </a:lnTo>
                  <a:lnTo>
                    <a:pt x="4398" y="3236"/>
                  </a:lnTo>
                  <a:lnTo>
                    <a:pt x="4398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0" name="Google Shape;2579;p11">
              <a:extLst>
                <a:ext uri="{FF2B5EF4-FFF2-40B4-BE49-F238E27FC236}">
                  <a16:creationId xmlns:a16="http://schemas.microsoft.com/office/drawing/2014/main" id="{72CF2F84-B884-7AA9-6D37-0B8C4AB1E6D4}"/>
                </a:ext>
              </a:extLst>
            </p:cNvPr>
            <p:cNvSpPr/>
            <p:nvPr/>
          </p:nvSpPr>
          <p:spPr>
            <a:xfrm>
              <a:off x="4566875" y="940250"/>
              <a:ext cx="122700" cy="109950"/>
            </a:xfrm>
            <a:custGeom>
              <a:avLst/>
              <a:gdLst/>
              <a:ahLst/>
              <a:cxnLst/>
              <a:rect l="l" t="t" r="r" b="b"/>
              <a:pathLst>
                <a:path w="4908" h="4398" extrusionOk="0">
                  <a:moveTo>
                    <a:pt x="1" y="0"/>
                  </a:moveTo>
                  <a:lnTo>
                    <a:pt x="1" y="4398"/>
                  </a:lnTo>
                  <a:lnTo>
                    <a:pt x="4908" y="4398"/>
                  </a:lnTo>
                  <a:lnTo>
                    <a:pt x="4908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1" name="Google Shape;2580;p11">
              <a:extLst>
                <a:ext uri="{FF2B5EF4-FFF2-40B4-BE49-F238E27FC236}">
                  <a16:creationId xmlns:a16="http://schemas.microsoft.com/office/drawing/2014/main" id="{33CBAEA9-5A2D-B4A9-24F7-CBD57363A227}"/>
                </a:ext>
              </a:extLst>
            </p:cNvPr>
            <p:cNvSpPr/>
            <p:nvPr/>
          </p:nvSpPr>
          <p:spPr>
            <a:xfrm>
              <a:off x="4713175" y="1151950"/>
              <a:ext cx="129975" cy="67275"/>
            </a:xfrm>
            <a:custGeom>
              <a:avLst/>
              <a:gdLst/>
              <a:ahLst/>
              <a:cxnLst/>
              <a:rect l="l" t="t" r="r" b="b"/>
              <a:pathLst>
                <a:path w="5199" h="2691" extrusionOk="0">
                  <a:moveTo>
                    <a:pt x="1" y="1"/>
                  </a:moveTo>
                  <a:lnTo>
                    <a:pt x="1" y="2690"/>
                  </a:lnTo>
                  <a:lnTo>
                    <a:pt x="5198" y="2690"/>
                  </a:lnTo>
                  <a:lnTo>
                    <a:pt x="5198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2" name="Google Shape;2581;p11">
              <a:extLst>
                <a:ext uri="{FF2B5EF4-FFF2-40B4-BE49-F238E27FC236}">
                  <a16:creationId xmlns:a16="http://schemas.microsoft.com/office/drawing/2014/main" id="{8EE968D4-8BAB-14BC-7018-5C7DA7952453}"/>
                </a:ext>
              </a:extLst>
            </p:cNvPr>
            <p:cNvSpPr/>
            <p:nvPr/>
          </p:nvSpPr>
          <p:spPr>
            <a:xfrm>
              <a:off x="4987600" y="1315500"/>
              <a:ext cx="69075" cy="86350"/>
            </a:xfrm>
            <a:custGeom>
              <a:avLst/>
              <a:gdLst/>
              <a:ahLst/>
              <a:cxnLst/>
              <a:rect l="l" t="t" r="r" b="b"/>
              <a:pathLst>
                <a:path w="2763" h="3454" extrusionOk="0">
                  <a:moveTo>
                    <a:pt x="0" y="1"/>
                  </a:moveTo>
                  <a:lnTo>
                    <a:pt x="0" y="3454"/>
                  </a:lnTo>
                  <a:lnTo>
                    <a:pt x="2762" y="3454"/>
                  </a:lnTo>
                  <a:lnTo>
                    <a:pt x="2762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3" name="Google Shape;2582;p11">
              <a:extLst>
                <a:ext uri="{FF2B5EF4-FFF2-40B4-BE49-F238E27FC236}">
                  <a16:creationId xmlns:a16="http://schemas.microsoft.com/office/drawing/2014/main" id="{EB73DDC0-0735-CF64-36A3-433089BF2B31}"/>
                </a:ext>
              </a:extLst>
            </p:cNvPr>
            <p:cNvSpPr/>
            <p:nvPr/>
          </p:nvSpPr>
          <p:spPr>
            <a:xfrm>
              <a:off x="4342450" y="1305525"/>
              <a:ext cx="139950" cy="92700"/>
            </a:xfrm>
            <a:custGeom>
              <a:avLst/>
              <a:gdLst/>
              <a:ahLst/>
              <a:cxnLst/>
              <a:rect l="l" t="t" r="r" b="b"/>
              <a:pathLst>
                <a:path w="5598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5598" y="3707"/>
                  </a:lnTo>
                  <a:lnTo>
                    <a:pt x="5598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4" name="Google Shape;2583;p11">
              <a:extLst>
                <a:ext uri="{FF2B5EF4-FFF2-40B4-BE49-F238E27FC236}">
                  <a16:creationId xmlns:a16="http://schemas.microsoft.com/office/drawing/2014/main" id="{5A64E1E0-9B3B-D30B-A12E-D26BB71F3A2D}"/>
                </a:ext>
              </a:extLst>
            </p:cNvPr>
            <p:cNvSpPr/>
            <p:nvPr/>
          </p:nvSpPr>
          <p:spPr>
            <a:xfrm>
              <a:off x="4511450" y="1497225"/>
              <a:ext cx="57275" cy="78175"/>
            </a:xfrm>
            <a:custGeom>
              <a:avLst/>
              <a:gdLst/>
              <a:ahLst/>
              <a:cxnLst/>
              <a:rect l="l" t="t" r="r" b="b"/>
              <a:pathLst>
                <a:path w="2291" h="3127" extrusionOk="0">
                  <a:moveTo>
                    <a:pt x="1" y="1"/>
                  </a:moveTo>
                  <a:lnTo>
                    <a:pt x="1" y="3127"/>
                  </a:lnTo>
                  <a:lnTo>
                    <a:pt x="2291" y="3127"/>
                  </a:lnTo>
                  <a:lnTo>
                    <a:pt x="2291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5" name="Google Shape;2584;p11">
              <a:extLst>
                <a:ext uri="{FF2B5EF4-FFF2-40B4-BE49-F238E27FC236}">
                  <a16:creationId xmlns:a16="http://schemas.microsoft.com/office/drawing/2014/main" id="{3DEF8068-D008-EBFE-737B-1AD05818C587}"/>
                </a:ext>
              </a:extLst>
            </p:cNvPr>
            <p:cNvSpPr/>
            <p:nvPr/>
          </p:nvSpPr>
          <p:spPr>
            <a:xfrm>
              <a:off x="4819500" y="1497225"/>
              <a:ext cx="62700" cy="78175"/>
            </a:xfrm>
            <a:custGeom>
              <a:avLst/>
              <a:gdLst/>
              <a:ahLst/>
              <a:cxnLst/>
              <a:rect l="l" t="t" r="r" b="b"/>
              <a:pathLst>
                <a:path w="2508" h="3127" extrusionOk="0">
                  <a:moveTo>
                    <a:pt x="0" y="1"/>
                  </a:moveTo>
                  <a:lnTo>
                    <a:pt x="0" y="3127"/>
                  </a:lnTo>
                  <a:lnTo>
                    <a:pt x="2508" y="3127"/>
                  </a:lnTo>
                  <a:lnTo>
                    <a:pt x="2508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6" name="Google Shape;2585;p11">
              <a:extLst>
                <a:ext uri="{FF2B5EF4-FFF2-40B4-BE49-F238E27FC236}">
                  <a16:creationId xmlns:a16="http://schemas.microsoft.com/office/drawing/2014/main" id="{24C71CA7-E916-85F1-149C-F94F084DE41D}"/>
                </a:ext>
              </a:extLst>
            </p:cNvPr>
            <p:cNvSpPr/>
            <p:nvPr/>
          </p:nvSpPr>
          <p:spPr>
            <a:xfrm>
              <a:off x="1276700" y="912975"/>
              <a:ext cx="775100" cy="1383900"/>
            </a:xfrm>
            <a:custGeom>
              <a:avLst/>
              <a:gdLst/>
              <a:ahLst/>
              <a:cxnLst/>
              <a:rect l="l" t="t" r="r" b="b"/>
              <a:pathLst>
                <a:path w="31004" h="55356" extrusionOk="0">
                  <a:moveTo>
                    <a:pt x="31003" y="1"/>
                  </a:moveTo>
                  <a:lnTo>
                    <a:pt x="30712" y="3199"/>
                  </a:lnTo>
                  <a:lnTo>
                    <a:pt x="30312" y="6616"/>
                  </a:lnTo>
                  <a:lnTo>
                    <a:pt x="29876" y="10214"/>
                  </a:lnTo>
                  <a:lnTo>
                    <a:pt x="29331" y="13957"/>
                  </a:lnTo>
                  <a:lnTo>
                    <a:pt x="28750" y="17774"/>
                  </a:lnTo>
                  <a:lnTo>
                    <a:pt x="28095" y="21626"/>
                  </a:lnTo>
                  <a:lnTo>
                    <a:pt x="27368" y="25479"/>
                  </a:lnTo>
                  <a:lnTo>
                    <a:pt x="26642" y="29223"/>
                  </a:lnTo>
                  <a:lnTo>
                    <a:pt x="25878" y="32894"/>
                  </a:lnTo>
                  <a:lnTo>
                    <a:pt x="25115" y="36383"/>
                  </a:lnTo>
                  <a:lnTo>
                    <a:pt x="24315" y="39654"/>
                  </a:lnTo>
                  <a:lnTo>
                    <a:pt x="23516" y="42634"/>
                  </a:lnTo>
                  <a:lnTo>
                    <a:pt x="22753" y="45324"/>
                  </a:lnTo>
                  <a:lnTo>
                    <a:pt x="22353" y="46523"/>
                  </a:lnTo>
                  <a:lnTo>
                    <a:pt x="21953" y="47650"/>
                  </a:lnTo>
                  <a:lnTo>
                    <a:pt x="21590" y="48631"/>
                  </a:lnTo>
                  <a:lnTo>
                    <a:pt x="21226" y="49540"/>
                  </a:lnTo>
                  <a:lnTo>
                    <a:pt x="20863" y="50303"/>
                  </a:lnTo>
                  <a:lnTo>
                    <a:pt x="20499" y="50994"/>
                  </a:lnTo>
                  <a:lnTo>
                    <a:pt x="20317" y="51248"/>
                  </a:lnTo>
                  <a:lnTo>
                    <a:pt x="20099" y="51539"/>
                  </a:lnTo>
                  <a:lnTo>
                    <a:pt x="19845" y="51793"/>
                  </a:lnTo>
                  <a:lnTo>
                    <a:pt x="19554" y="52048"/>
                  </a:lnTo>
                  <a:lnTo>
                    <a:pt x="19227" y="52302"/>
                  </a:lnTo>
                  <a:lnTo>
                    <a:pt x="18864" y="52520"/>
                  </a:lnTo>
                  <a:lnTo>
                    <a:pt x="18500" y="52738"/>
                  </a:lnTo>
                  <a:lnTo>
                    <a:pt x="18100" y="52920"/>
                  </a:lnTo>
                  <a:lnTo>
                    <a:pt x="17192" y="53320"/>
                  </a:lnTo>
                  <a:lnTo>
                    <a:pt x="16174" y="53647"/>
                  </a:lnTo>
                  <a:lnTo>
                    <a:pt x="15047" y="53938"/>
                  </a:lnTo>
                  <a:lnTo>
                    <a:pt x="13848" y="54192"/>
                  </a:lnTo>
                  <a:lnTo>
                    <a:pt x="12539" y="54410"/>
                  </a:lnTo>
                  <a:lnTo>
                    <a:pt x="11158" y="54592"/>
                  </a:lnTo>
                  <a:lnTo>
                    <a:pt x="9704" y="54774"/>
                  </a:lnTo>
                  <a:lnTo>
                    <a:pt x="8178" y="54883"/>
                  </a:lnTo>
                  <a:lnTo>
                    <a:pt x="6579" y="54955"/>
                  </a:lnTo>
                  <a:lnTo>
                    <a:pt x="4907" y="55028"/>
                  </a:lnTo>
                  <a:lnTo>
                    <a:pt x="3199" y="55064"/>
                  </a:lnTo>
                  <a:lnTo>
                    <a:pt x="0" y="55064"/>
                  </a:lnTo>
                  <a:lnTo>
                    <a:pt x="582" y="55173"/>
                  </a:lnTo>
                  <a:lnTo>
                    <a:pt x="1236" y="55210"/>
                  </a:lnTo>
                  <a:lnTo>
                    <a:pt x="6724" y="55319"/>
                  </a:lnTo>
                  <a:lnTo>
                    <a:pt x="11231" y="55355"/>
                  </a:lnTo>
                  <a:lnTo>
                    <a:pt x="13448" y="55355"/>
                  </a:lnTo>
                  <a:lnTo>
                    <a:pt x="15411" y="55283"/>
                  </a:lnTo>
                  <a:lnTo>
                    <a:pt x="16283" y="55210"/>
                  </a:lnTo>
                  <a:lnTo>
                    <a:pt x="17083" y="55137"/>
                  </a:lnTo>
                  <a:lnTo>
                    <a:pt x="17846" y="55028"/>
                  </a:lnTo>
                  <a:lnTo>
                    <a:pt x="18536" y="54883"/>
                  </a:lnTo>
                  <a:lnTo>
                    <a:pt x="19191" y="54737"/>
                  </a:lnTo>
                  <a:lnTo>
                    <a:pt x="19772" y="54592"/>
                  </a:lnTo>
                  <a:lnTo>
                    <a:pt x="20317" y="54374"/>
                  </a:lnTo>
                  <a:lnTo>
                    <a:pt x="20826" y="54156"/>
                  </a:lnTo>
                  <a:lnTo>
                    <a:pt x="21262" y="53901"/>
                  </a:lnTo>
                  <a:lnTo>
                    <a:pt x="21662" y="53611"/>
                  </a:lnTo>
                  <a:lnTo>
                    <a:pt x="22026" y="53283"/>
                  </a:lnTo>
                  <a:lnTo>
                    <a:pt x="22353" y="52920"/>
                  </a:lnTo>
                  <a:lnTo>
                    <a:pt x="22644" y="52520"/>
                  </a:lnTo>
                  <a:lnTo>
                    <a:pt x="22934" y="52084"/>
                  </a:lnTo>
                  <a:lnTo>
                    <a:pt x="23225" y="51575"/>
                  </a:lnTo>
                  <a:lnTo>
                    <a:pt x="23516" y="51030"/>
                  </a:lnTo>
                  <a:lnTo>
                    <a:pt x="23807" y="50412"/>
                  </a:lnTo>
                  <a:lnTo>
                    <a:pt x="24097" y="49758"/>
                  </a:lnTo>
                  <a:lnTo>
                    <a:pt x="24388" y="49031"/>
                  </a:lnTo>
                  <a:lnTo>
                    <a:pt x="24679" y="48231"/>
                  </a:lnTo>
                  <a:lnTo>
                    <a:pt x="24970" y="47359"/>
                  </a:lnTo>
                  <a:lnTo>
                    <a:pt x="25260" y="46414"/>
                  </a:lnTo>
                  <a:lnTo>
                    <a:pt x="25551" y="45396"/>
                  </a:lnTo>
                  <a:lnTo>
                    <a:pt x="25842" y="44306"/>
                  </a:lnTo>
                  <a:lnTo>
                    <a:pt x="26423" y="41835"/>
                  </a:lnTo>
                  <a:lnTo>
                    <a:pt x="26969" y="39000"/>
                  </a:lnTo>
                  <a:lnTo>
                    <a:pt x="27514" y="35801"/>
                  </a:lnTo>
                  <a:lnTo>
                    <a:pt x="28059" y="32130"/>
                  </a:lnTo>
                  <a:lnTo>
                    <a:pt x="28568" y="28060"/>
                  </a:lnTo>
                  <a:lnTo>
                    <a:pt x="29077" y="23516"/>
                  </a:lnTo>
                  <a:lnTo>
                    <a:pt x="29586" y="18428"/>
                  </a:lnTo>
                  <a:lnTo>
                    <a:pt x="30058" y="12867"/>
                  </a:lnTo>
                  <a:lnTo>
                    <a:pt x="30531" y="6725"/>
                  </a:lnTo>
                  <a:lnTo>
                    <a:pt x="31003" y="1"/>
                  </a:lnTo>
                  <a:close/>
                </a:path>
              </a:pathLst>
            </a:custGeom>
            <a:solidFill>
              <a:srgbClr val="D7D7D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7" name="Google Shape;2586;p11">
              <a:extLst>
                <a:ext uri="{FF2B5EF4-FFF2-40B4-BE49-F238E27FC236}">
                  <a16:creationId xmlns:a16="http://schemas.microsoft.com/office/drawing/2014/main" id="{B21B1741-F9CA-F222-8501-7FA885977C3D}"/>
                </a:ext>
              </a:extLst>
            </p:cNvPr>
            <p:cNvSpPr/>
            <p:nvPr/>
          </p:nvSpPr>
          <p:spPr>
            <a:xfrm>
              <a:off x="1276700" y="912975"/>
              <a:ext cx="775100" cy="1383900"/>
            </a:xfrm>
            <a:custGeom>
              <a:avLst/>
              <a:gdLst/>
              <a:ahLst/>
              <a:cxnLst/>
              <a:rect l="l" t="t" r="r" b="b"/>
              <a:pathLst>
                <a:path w="31004" h="55356" fill="none" extrusionOk="0">
                  <a:moveTo>
                    <a:pt x="31003" y="1"/>
                  </a:moveTo>
                  <a:lnTo>
                    <a:pt x="31003" y="1"/>
                  </a:lnTo>
                  <a:lnTo>
                    <a:pt x="30712" y="3199"/>
                  </a:lnTo>
                  <a:lnTo>
                    <a:pt x="30312" y="6616"/>
                  </a:lnTo>
                  <a:lnTo>
                    <a:pt x="29876" y="10214"/>
                  </a:lnTo>
                  <a:lnTo>
                    <a:pt x="29331" y="13957"/>
                  </a:lnTo>
                  <a:lnTo>
                    <a:pt x="28750" y="17774"/>
                  </a:lnTo>
                  <a:lnTo>
                    <a:pt x="28095" y="21626"/>
                  </a:lnTo>
                  <a:lnTo>
                    <a:pt x="27368" y="25479"/>
                  </a:lnTo>
                  <a:lnTo>
                    <a:pt x="26642" y="29223"/>
                  </a:lnTo>
                  <a:lnTo>
                    <a:pt x="25878" y="32894"/>
                  </a:lnTo>
                  <a:lnTo>
                    <a:pt x="25115" y="36383"/>
                  </a:lnTo>
                  <a:lnTo>
                    <a:pt x="24315" y="39654"/>
                  </a:lnTo>
                  <a:lnTo>
                    <a:pt x="23516" y="42634"/>
                  </a:lnTo>
                  <a:lnTo>
                    <a:pt x="22753" y="45324"/>
                  </a:lnTo>
                  <a:lnTo>
                    <a:pt x="22353" y="46523"/>
                  </a:lnTo>
                  <a:lnTo>
                    <a:pt x="21953" y="47650"/>
                  </a:lnTo>
                  <a:lnTo>
                    <a:pt x="21590" y="48631"/>
                  </a:lnTo>
                  <a:lnTo>
                    <a:pt x="21226" y="49540"/>
                  </a:lnTo>
                  <a:lnTo>
                    <a:pt x="20863" y="50303"/>
                  </a:lnTo>
                  <a:lnTo>
                    <a:pt x="20499" y="50994"/>
                  </a:lnTo>
                  <a:lnTo>
                    <a:pt x="20499" y="50994"/>
                  </a:lnTo>
                  <a:lnTo>
                    <a:pt x="20317" y="51248"/>
                  </a:lnTo>
                  <a:lnTo>
                    <a:pt x="20099" y="51539"/>
                  </a:lnTo>
                  <a:lnTo>
                    <a:pt x="19845" y="51793"/>
                  </a:lnTo>
                  <a:lnTo>
                    <a:pt x="19554" y="52048"/>
                  </a:lnTo>
                  <a:lnTo>
                    <a:pt x="19227" y="52302"/>
                  </a:lnTo>
                  <a:lnTo>
                    <a:pt x="18864" y="52520"/>
                  </a:lnTo>
                  <a:lnTo>
                    <a:pt x="18500" y="52738"/>
                  </a:lnTo>
                  <a:lnTo>
                    <a:pt x="18100" y="52920"/>
                  </a:lnTo>
                  <a:lnTo>
                    <a:pt x="17192" y="53320"/>
                  </a:lnTo>
                  <a:lnTo>
                    <a:pt x="16174" y="53647"/>
                  </a:lnTo>
                  <a:lnTo>
                    <a:pt x="15047" y="53938"/>
                  </a:lnTo>
                  <a:lnTo>
                    <a:pt x="13848" y="54192"/>
                  </a:lnTo>
                  <a:lnTo>
                    <a:pt x="12539" y="54410"/>
                  </a:lnTo>
                  <a:lnTo>
                    <a:pt x="11158" y="54592"/>
                  </a:lnTo>
                  <a:lnTo>
                    <a:pt x="9704" y="54774"/>
                  </a:lnTo>
                  <a:lnTo>
                    <a:pt x="8178" y="54883"/>
                  </a:lnTo>
                  <a:lnTo>
                    <a:pt x="6579" y="54955"/>
                  </a:lnTo>
                  <a:lnTo>
                    <a:pt x="4907" y="55028"/>
                  </a:lnTo>
                  <a:lnTo>
                    <a:pt x="3199" y="55064"/>
                  </a:lnTo>
                  <a:lnTo>
                    <a:pt x="1454" y="55064"/>
                  </a:lnTo>
                  <a:lnTo>
                    <a:pt x="1454" y="55064"/>
                  </a:lnTo>
                  <a:lnTo>
                    <a:pt x="0" y="55064"/>
                  </a:lnTo>
                  <a:lnTo>
                    <a:pt x="0" y="55064"/>
                  </a:lnTo>
                  <a:lnTo>
                    <a:pt x="582" y="55173"/>
                  </a:lnTo>
                  <a:lnTo>
                    <a:pt x="1236" y="55210"/>
                  </a:lnTo>
                  <a:lnTo>
                    <a:pt x="1236" y="55210"/>
                  </a:lnTo>
                  <a:lnTo>
                    <a:pt x="6724" y="55319"/>
                  </a:lnTo>
                  <a:lnTo>
                    <a:pt x="11231" y="55355"/>
                  </a:lnTo>
                  <a:lnTo>
                    <a:pt x="11231" y="55355"/>
                  </a:lnTo>
                  <a:lnTo>
                    <a:pt x="13448" y="55355"/>
                  </a:lnTo>
                  <a:lnTo>
                    <a:pt x="15411" y="55283"/>
                  </a:lnTo>
                  <a:lnTo>
                    <a:pt x="16283" y="55210"/>
                  </a:lnTo>
                  <a:lnTo>
                    <a:pt x="17083" y="55137"/>
                  </a:lnTo>
                  <a:lnTo>
                    <a:pt x="17846" y="55028"/>
                  </a:lnTo>
                  <a:lnTo>
                    <a:pt x="18536" y="54883"/>
                  </a:lnTo>
                  <a:lnTo>
                    <a:pt x="19191" y="54737"/>
                  </a:lnTo>
                  <a:lnTo>
                    <a:pt x="19772" y="54592"/>
                  </a:lnTo>
                  <a:lnTo>
                    <a:pt x="20317" y="54374"/>
                  </a:lnTo>
                  <a:lnTo>
                    <a:pt x="20826" y="54156"/>
                  </a:lnTo>
                  <a:lnTo>
                    <a:pt x="21262" y="53901"/>
                  </a:lnTo>
                  <a:lnTo>
                    <a:pt x="21662" y="53611"/>
                  </a:lnTo>
                  <a:lnTo>
                    <a:pt x="22026" y="53283"/>
                  </a:lnTo>
                  <a:lnTo>
                    <a:pt x="22353" y="52920"/>
                  </a:lnTo>
                  <a:lnTo>
                    <a:pt x="22353" y="52920"/>
                  </a:lnTo>
                  <a:lnTo>
                    <a:pt x="22644" y="52520"/>
                  </a:lnTo>
                  <a:lnTo>
                    <a:pt x="22934" y="52084"/>
                  </a:lnTo>
                  <a:lnTo>
                    <a:pt x="23225" y="51575"/>
                  </a:lnTo>
                  <a:lnTo>
                    <a:pt x="23516" y="51030"/>
                  </a:lnTo>
                  <a:lnTo>
                    <a:pt x="23807" y="50412"/>
                  </a:lnTo>
                  <a:lnTo>
                    <a:pt x="24097" y="49758"/>
                  </a:lnTo>
                  <a:lnTo>
                    <a:pt x="24388" y="49031"/>
                  </a:lnTo>
                  <a:lnTo>
                    <a:pt x="24679" y="48231"/>
                  </a:lnTo>
                  <a:lnTo>
                    <a:pt x="24970" y="47359"/>
                  </a:lnTo>
                  <a:lnTo>
                    <a:pt x="25260" y="46414"/>
                  </a:lnTo>
                  <a:lnTo>
                    <a:pt x="25551" y="45396"/>
                  </a:lnTo>
                  <a:lnTo>
                    <a:pt x="25842" y="44306"/>
                  </a:lnTo>
                  <a:lnTo>
                    <a:pt x="26423" y="41835"/>
                  </a:lnTo>
                  <a:lnTo>
                    <a:pt x="26969" y="39000"/>
                  </a:lnTo>
                  <a:lnTo>
                    <a:pt x="27514" y="35801"/>
                  </a:lnTo>
                  <a:lnTo>
                    <a:pt x="28059" y="32130"/>
                  </a:lnTo>
                  <a:lnTo>
                    <a:pt x="28568" y="28060"/>
                  </a:lnTo>
                  <a:lnTo>
                    <a:pt x="29077" y="23516"/>
                  </a:lnTo>
                  <a:lnTo>
                    <a:pt x="29586" y="18428"/>
                  </a:lnTo>
                  <a:lnTo>
                    <a:pt x="30058" y="12867"/>
                  </a:lnTo>
                  <a:lnTo>
                    <a:pt x="30531" y="6725"/>
                  </a:lnTo>
                  <a:lnTo>
                    <a:pt x="31003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8" name="Google Shape;2587;p11">
              <a:extLst>
                <a:ext uri="{FF2B5EF4-FFF2-40B4-BE49-F238E27FC236}">
                  <a16:creationId xmlns:a16="http://schemas.microsoft.com/office/drawing/2014/main" id="{55FAA843-D415-2518-E43D-26204C4F88A5}"/>
                </a:ext>
              </a:extLst>
            </p:cNvPr>
            <p:cNvSpPr/>
            <p:nvPr/>
          </p:nvSpPr>
          <p:spPr>
            <a:xfrm>
              <a:off x="238125" y="528625"/>
              <a:ext cx="1820025" cy="1760975"/>
            </a:xfrm>
            <a:custGeom>
              <a:avLst/>
              <a:gdLst/>
              <a:ahLst/>
              <a:cxnLst/>
              <a:rect l="l" t="t" r="r" b="b"/>
              <a:pathLst>
                <a:path w="72801" h="70439" extrusionOk="0">
                  <a:moveTo>
                    <a:pt x="44996" y="0"/>
                  </a:moveTo>
                  <a:lnTo>
                    <a:pt x="42306" y="73"/>
                  </a:lnTo>
                  <a:lnTo>
                    <a:pt x="39617" y="146"/>
                  </a:lnTo>
                  <a:lnTo>
                    <a:pt x="36964" y="255"/>
                  </a:lnTo>
                  <a:lnTo>
                    <a:pt x="34347" y="437"/>
                  </a:lnTo>
                  <a:lnTo>
                    <a:pt x="31803" y="618"/>
                  </a:lnTo>
                  <a:lnTo>
                    <a:pt x="29367" y="836"/>
                  </a:lnTo>
                  <a:lnTo>
                    <a:pt x="27005" y="1091"/>
                  </a:lnTo>
                  <a:lnTo>
                    <a:pt x="24788" y="1345"/>
                  </a:lnTo>
                  <a:lnTo>
                    <a:pt x="22716" y="1672"/>
                  </a:lnTo>
                  <a:lnTo>
                    <a:pt x="20790" y="1999"/>
                  </a:lnTo>
                  <a:lnTo>
                    <a:pt x="19045" y="2327"/>
                  </a:lnTo>
                  <a:lnTo>
                    <a:pt x="17555" y="2690"/>
                  </a:lnTo>
                  <a:lnTo>
                    <a:pt x="16247" y="3090"/>
                  </a:lnTo>
                  <a:lnTo>
                    <a:pt x="15701" y="3272"/>
                  </a:lnTo>
                  <a:lnTo>
                    <a:pt x="15193" y="3490"/>
                  </a:lnTo>
                  <a:lnTo>
                    <a:pt x="14756" y="3708"/>
                  </a:lnTo>
                  <a:lnTo>
                    <a:pt x="14429" y="3926"/>
                  </a:lnTo>
                  <a:lnTo>
                    <a:pt x="14138" y="4144"/>
                  </a:lnTo>
                  <a:lnTo>
                    <a:pt x="13920" y="4362"/>
                  </a:lnTo>
                  <a:lnTo>
                    <a:pt x="13775" y="4580"/>
                  </a:lnTo>
                  <a:lnTo>
                    <a:pt x="13739" y="4798"/>
                  </a:lnTo>
                  <a:lnTo>
                    <a:pt x="13593" y="6543"/>
                  </a:lnTo>
                  <a:lnTo>
                    <a:pt x="13339" y="8433"/>
                  </a:lnTo>
                  <a:lnTo>
                    <a:pt x="13012" y="10468"/>
                  </a:lnTo>
                  <a:lnTo>
                    <a:pt x="12612" y="12612"/>
                  </a:lnTo>
                  <a:lnTo>
                    <a:pt x="12176" y="14866"/>
                  </a:lnTo>
                  <a:lnTo>
                    <a:pt x="11631" y="17228"/>
                  </a:lnTo>
                  <a:lnTo>
                    <a:pt x="11085" y="19663"/>
                  </a:lnTo>
                  <a:lnTo>
                    <a:pt x="10468" y="22135"/>
                  </a:lnTo>
                  <a:lnTo>
                    <a:pt x="9123" y="27296"/>
                  </a:lnTo>
                  <a:lnTo>
                    <a:pt x="7705" y="32530"/>
                  </a:lnTo>
                  <a:lnTo>
                    <a:pt x="4834" y="42925"/>
                  </a:lnTo>
                  <a:lnTo>
                    <a:pt x="3489" y="47868"/>
                  </a:lnTo>
                  <a:lnTo>
                    <a:pt x="2290" y="52484"/>
                  </a:lnTo>
                  <a:lnTo>
                    <a:pt x="1745" y="54628"/>
                  </a:lnTo>
                  <a:lnTo>
                    <a:pt x="1272" y="56700"/>
                  </a:lnTo>
                  <a:lnTo>
                    <a:pt x="872" y="58590"/>
                  </a:lnTo>
                  <a:lnTo>
                    <a:pt x="509" y="60371"/>
                  </a:lnTo>
                  <a:lnTo>
                    <a:pt x="254" y="61970"/>
                  </a:lnTo>
                  <a:lnTo>
                    <a:pt x="73" y="63424"/>
                  </a:lnTo>
                  <a:lnTo>
                    <a:pt x="0" y="64659"/>
                  </a:lnTo>
                  <a:lnTo>
                    <a:pt x="0" y="65241"/>
                  </a:lnTo>
                  <a:lnTo>
                    <a:pt x="36" y="65750"/>
                  </a:lnTo>
                  <a:lnTo>
                    <a:pt x="73" y="66186"/>
                  </a:lnTo>
                  <a:lnTo>
                    <a:pt x="145" y="66586"/>
                  </a:lnTo>
                  <a:lnTo>
                    <a:pt x="254" y="66913"/>
                  </a:lnTo>
                  <a:lnTo>
                    <a:pt x="363" y="67204"/>
                  </a:lnTo>
                  <a:lnTo>
                    <a:pt x="545" y="67422"/>
                  </a:lnTo>
                  <a:lnTo>
                    <a:pt x="727" y="67603"/>
                  </a:lnTo>
                  <a:lnTo>
                    <a:pt x="981" y="67713"/>
                  </a:lnTo>
                  <a:lnTo>
                    <a:pt x="1236" y="67749"/>
                  </a:lnTo>
                  <a:lnTo>
                    <a:pt x="2290" y="67785"/>
                  </a:lnTo>
                  <a:lnTo>
                    <a:pt x="3526" y="67858"/>
                  </a:lnTo>
                  <a:lnTo>
                    <a:pt x="6542" y="68076"/>
                  </a:lnTo>
                  <a:lnTo>
                    <a:pt x="14320" y="68767"/>
                  </a:lnTo>
                  <a:lnTo>
                    <a:pt x="18863" y="69166"/>
                  </a:lnTo>
                  <a:lnTo>
                    <a:pt x="23661" y="69566"/>
                  </a:lnTo>
                  <a:lnTo>
                    <a:pt x="28604" y="69893"/>
                  </a:lnTo>
                  <a:lnTo>
                    <a:pt x="33620" y="70184"/>
                  </a:lnTo>
                  <a:lnTo>
                    <a:pt x="36128" y="70293"/>
                  </a:lnTo>
                  <a:lnTo>
                    <a:pt x="38599" y="70402"/>
                  </a:lnTo>
                  <a:lnTo>
                    <a:pt x="40998" y="70438"/>
                  </a:lnTo>
                  <a:lnTo>
                    <a:pt x="45650" y="70438"/>
                  </a:lnTo>
                  <a:lnTo>
                    <a:pt x="47867" y="70366"/>
                  </a:lnTo>
                  <a:lnTo>
                    <a:pt x="49939" y="70220"/>
                  </a:lnTo>
                  <a:lnTo>
                    <a:pt x="51938" y="70075"/>
                  </a:lnTo>
                  <a:lnTo>
                    <a:pt x="53792" y="69857"/>
                  </a:lnTo>
                  <a:lnTo>
                    <a:pt x="55500" y="69566"/>
                  </a:lnTo>
                  <a:lnTo>
                    <a:pt x="56336" y="69384"/>
                  </a:lnTo>
                  <a:lnTo>
                    <a:pt x="57063" y="69203"/>
                  </a:lnTo>
                  <a:lnTo>
                    <a:pt x="57790" y="68985"/>
                  </a:lnTo>
                  <a:lnTo>
                    <a:pt x="58480" y="68767"/>
                  </a:lnTo>
                  <a:lnTo>
                    <a:pt x="59098" y="68548"/>
                  </a:lnTo>
                  <a:lnTo>
                    <a:pt x="59680" y="68294"/>
                  </a:lnTo>
                  <a:lnTo>
                    <a:pt x="60189" y="68003"/>
                  </a:lnTo>
                  <a:lnTo>
                    <a:pt x="60697" y="67713"/>
                  </a:lnTo>
                  <a:lnTo>
                    <a:pt x="61097" y="67422"/>
                  </a:lnTo>
                  <a:lnTo>
                    <a:pt x="61497" y="67095"/>
                  </a:lnTo>
                  <a:lnTo>
                    <a:pt x="61788" y="66731"/>
                  </a:lnTo>
                  <a:lnTo>
                    <a:pt x="62042" y="66368"/>
                  </a:lnTo>
                  <a:lnTo>
                    <a:pt x="62515" y="65459"/>
                  </a:lnTo>
                  <a:lnTo>
                    <a:pt x="62987" y="64405"/>
                  </a:lnTo>
                  <a:lnTo>
                    <a:pt x="63460" y="63097"/>
                  </a:lnTo>
                  <a:lnTo>
                    <a:pt x="63968" y="61679"/>
                  </a:lnTo>
                  <a:lnTo>
                    <a:pt x="64477" y="60044"/>
                  </a:lnTo>
                  <a:lnTo>
                    <a:pt x="64986" y="58299"/>
                  </a:lnTo>
                  <a:lnTo>
                    <a:pt x="65495" y="56373"/>
                  </a:lnTo>
                  <a:lnTo>
                    <a:pt x="66040" y="54374"/>
                  </a:lnTo>
                  <a:lnTo>
                    <a:pt x="66549" y="52229"/>
                  </a:lnTo>
                  <a:lnTo>
                    <a:pt x="67058" y="50012"/>
                  </a:lnTo>
                  <a:lnTo>
                    <a:pt x="67567" y="47686"/>
                  </a:lnTo>
                  <a:lnTo>
                    <a:pt x="68039" y="45324"/>
                  </a:lnTo>
                  <a:lnTo>
                    <a:pt x="69021" y="40417"/>
                  </a:lnTo>
                  <a:lnTo>
                    <a:pt x="69893" y="35401"/>
                  </a:lnTo>
                  <a:lnTo>
                    <a:pt x="70692" y="30422"/>
                  </a:lnTo>
                  <a:lnTo>
                    <a:pt x="71092" y="27950"/>
                  </a:lnTo>
                  <a:lnTo>
                    <a:pt x="71419" y="25515"/>
                  </a:lnTo>
                  <a:lnTo>
                    <a:pt x="71710" y="23153"/>
                  </a:lnTo>
                  <a:lnTo>
                    <a:pt x="72001" y="20863"/>
                  </a:lnTo>
                  <a:lnTo>
                    <a:pt x="72219" y="18646"/>
                  </a:lnTo>
                  <a:lnTo>
                    <a:pt x="72437" y="16538"/>
                  </a:lnTo>
                  <a:lnTo>
                    <a:pt x="72582" y="14539"/>
                  </a:lnTo>
                  <a:lnTo>
                    <a:pt x="72728" y="12685"/>
                  </a:lnTo>
                  <a:lnTo>
                    <a:pt x="72800" y="10941"/>
                  </a:lnTo>
                  <a:lnTo>
                    <a:pt x="72800" y="9341"/>
                  </a:lnTo>
                  <a:lnTo>
                    <a:pt x="72800" y="7924"/>
                  </a:lnTo>
                  <a:lnTo>
                    <a:pt x="72728" y="6688"/>
                  </a:lnTo>
                  <a:lnTo>
                    <a:pt x="72582" y="5634"/>
                  </a:lnTo>
                  <a:lnTo>
                    <a:pt x="72510" y="5198"/>
                  </a:lnTo>
                  <a:lnTo>
                    <a:pt x="72401" y="4798"/>
                  </a:lnTo>
                  <a:lnTo>
                    <a:pt x="72255" y="4435"/>
                  </a:lnTo>
                  <a:lnTo>
                    <a:pt x="72001" y="4108"/>
                  </a:lnTo>
                  <a:lnTo>
                    <a:pt x="71710" y="3780"/>
                  </a:lnTo>
                  <a:lnTo>
                    <a:pt x="71347" y="3453"/>
                  </a:lnTo>
                  <a:lnTo>
                    <a:pt x="70910" y="3163"/>
                  </a:lnTo>
                  <a:lnTo>
                    <a:pt x="70402" y="2872"/>
                  </a:lnTo>
                  <a:lnTo>
                    <a:pt x="69856" y="2617"/>
                  </a:lnTo>
                  <a:lnTo>
                    <a:pt x="69202" y="2363"/>
                  </a:lnTo>
                  <a:lnTo>
                    <a:pt x="68512" y="2109"/>
                  </a:lnTo>
                  <a:lnTo>
                    <a:pt x="67785" y="1890"/>
                  </a:lnTo>
                  <a:lnTo>
                    <a:pt x="66985" y="1672"/>
                  </a:lnTo>
                  <a:lnTo>
                    <a:pt x="66149" y="1491"/>
                  </a:lnTo>
                  <a:lnTo>
                    <a:pt x="65241" y="1309"/>
                  </a:lnTo>
                  <a:lnTo>
                    <a:pt x="64296" y="1127"/>
                  </a:lnTo>
                  <a:lnTo>
                    <a:pt x="62297" y="836"/>
                  </a:lnTo>
                  <a:lnTo>
                    <a:pt x="60116" y="582"/>
                  </a:lnTo>
                  <a:lnTo>
                    <a:pt x="57826" y="364"/>
                  </a:lnTo>
                  <a:lnTo>
                    <a:pt x="55391" y="219"/>
                  </a:lnTo>
                  <a:lnTo>
                    <a:pt x="52883" y="109"/>
                  </a:lnTo>
                  <a:lnTo>
                    <a:pt x="50302" y="37"/>
                  </a:lnTo>
                  <a:lnTo>
                    <a:pt x="47649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9" name="Google Shape;2588;p11">
              <a:extLst>
                <a:ext uri="{FF2B5EF4-FFF2-40B4-BE49-F238E27FC236}">
                  <a16:creationId xmlns:a16="http://schemas.microsoft.com/office/drawing/2014/main" id="{5F492ECB-5778-460D-62A3-C5D4920FFA50}"/>
                </a:ext>
              </a:extLst>
            </p:cNvPr>
            <p:cNvSpPr/>
            <p:nvPr/>
          </p:nvSpPr>
          <p:spPr>
            <a:xfrm>
              <a:off x="238125" y="528625"/>
              <a:ext cx="1820025" cy="1760975"/>
            </a:xfrm>
            <a:custGeom>
              <a:avLst/>
              <a:gdLst/>
              <a:ahLst/>
              <a:cxnLst/>
              <a:rect l="l" t="t" r="r" b="b"/>
              <a:pathLst>
                <a:path w="72801" h="70439" fill="none" extrusionOk="0">
                  <a:moveTo>
                    <a:pt x="13739" y="4798"/>
                  </a:moveTo>
                  <a:lnTo>
                    <a:pt x="13739" y="4798"/>
                  </a:lnTo>
                  <a:lnTo>
                    <a:pt x="13593" y="6543"/>
                  </a:lnTo>
                  <a:lnTo>
                    <a:pt x="13339" y="8433"/>
                  </a:lnTo>
                  <a:lnTo>
                    <a:pt x="13012" y="10468"/>
                  </a:lnTo>
                  <a:lnTo>
                    <a:pt x="12612" y="12612"/>
                  </a:lnTo>
                  <a:lnTo>
                    <a:pt x="12176" y="14866"/>
                  </a:lnTo>
                  <a:lnTo>
                    <a:pt x="11631" y="17228"/>
                  </a:lnTo>
                  <a:lnTo>
                    <a:pt x="11085" y="19663"/>
                  </a:lnTo>
                  <a:lnTo>
                    <a:pt x="10468" y="22135"/>
                  </a:lnTo>
                  <a:lnTo>
                    <a:pt x="9123" y="27296"/>
                  </a:lnTo>
                  <a:lnTo>
                    <a:pt x="7705" y="32530"/>
                  </a:lnTo>
                  <a:lnTo>
                    <a:pt x="4834" y="42925"/>
                  </a:lnTo>
                  <a:lnTo>
                    <a:pt x="3489" y="47868"/>
                  </a:lnTo>
                  <a:lnTo>
                    <a:pt x="2290" y="52484"/>
                  </a:lnTo>
                  <a:lnTo>
                    <a:pt x="1745" y="54628"/>
                  </a:lnTo>
                  <a:lnTo>
                    <a:pt x="1272" y="56700"/>
                  </a:lnTo>
                  <a:lnTo>
                    <a:pt x="872" y="58590"/>
                  </a:lnTo>
                  <a:lnTo>
                    <a:pt x="509" y="60371"/>
                  </a:lnTo>
                  <a:lnTo>
                    <a:pt x="254" y="61970"/>
                  </a:lnTo>
                  <a:lnTo>
                    <a:pt x="73" y="63424"/>
                  </a:lnTo>
                  <a:lnTo>
                    <a:pt x="0" y="64659"/>
                  </a:lnTo>
                  <a:lnTo>
                    <a:pt x="0" y="65241"/>
                  </a:lnTo>
                  <a:lnTo>
                    <a:pt x="36" y="65750"/>
                  </a:lnTo>
                  <a:lnTo>
                    <a:pt x="73" y="66186"/>
                  </a:lnTo>
                  <a:lnTo>
                    <a:pt x="145" y="66586"/>
                  </a:lnTo>
                  <a:lnTo>
                    <a:pt x="254" y="66913"/>
                  </a:lnTo>
                  <a:lnTo>
                    <a:pt x="363" y="67204"/>
                  </a:lnTo>
                  <a:lnTo>
                    <a:pt x="545" y="67422"/>
                  </a:lnTo>
                  <a:lnTo>
                    <a:pt x="727" y="67603"/>
                  </a:lnTo>
                  <a:lnTo>
                    <a:pt x="981" y="67713"/>
                  </a:lnTo>
                  <a:lnTo>
                    <a:pt x="1236" y="67749"/>
                  </a:lnTo>
                  <a:lnTo>
                    <a:pt x="1236" y="67749"/>
                  </a:lnTo>
                  <a:lnTo>
                    <a:pt x="2290" y="67785"/>
                  </a:lnTo>
                  <a:lnTo>
                    <a:pt x="3526" y="67858"/>
                  </a:lnTo>
                  <a:lnTo>
                    <a:pt x="6542" y="68076"/>
                  </a:lnTo>
                  <a:lnTo>
                    <a:pt x="14320" y="68767"/>
                  </a:lnTo>
                  <a:lnTo>
                    <a:pt x="18863" y="69166"/>
                  </a:lnTo>
                  <a:lnTo>
                    <a:pt x="23661" y="69566"/>
                  </a:lnTo>
                  <a:lnTo>
                    <a:pt x="28604" y="69893"/>
                  </a:lnTo>
                  <a:lnTo>
                    <a:pt x="33620" y="70184"/>
                  </a:lnTo>
                  <a:lnTo>
                    <a:pt x="36128" y="70293"/>
                  </a:lnTo>
                  <a:lnTo>
                    <a:pt x="38599" y="70402"/>
                  </a:lnTo>
                  <a:lnTo>
                    <a:pt x="40998" y="70438"/>
                  </a:lnTo>
                  <a:lnTo>
                    <a:pt x="43360" y="70438"/>
                  </a:lnTo>
                  <a:lnTo>
                    <a:pt x="45650" y="70438"/>
                  </a:lnTo>
                  <a:lnTo>
                    <a:pt x="47867" y="70366"/>
                  </a:lnTo>
                  <a:lnTo>
                    <a:pt x="49939" y="70220"/>
                  </a:lnTo>
                  <a:lnTo>
                    <a:pt x="51938" y="70075"/>
                  </a:lnTo>
                  <a:lnTo>
                    <a:pt x="53792" y="69857"/>
                  </a:lnTo>
                  <a:lnTo>
                    <a:pt x="55500" y="69566"/>
                  </a:lnTo>
                  <a:lnTo>
                    <a:pt x="56336" y="69384"/>
                  </a:lnTo>
                  <a:lnTo>
                    <a:pt x="57063" y="69203"/>
                  </a:lnTo>
                  <a:lnTo>
                    <a:pt x="57790" y="68985"/>
                  </a:lnTo>
                  <a:lnTo>
                    <a:pt x="58480" y="68767"/>
                  </a:lnTo>
                  <a:lnTo>
                    <a:pt x="59098" y="68548"/>
                  </a:lnTo>
                  <a:lnTo>
                    <a:pt x="59680" y="68294"/>
                  </a:lnTo>
                  <a:lnTo>
                    <a:pt x="60189" y="68003"/>
                  </a:lnTo>
                  <a:lnTo>
                    <a:pt x="60697" y="67713"/>
                  </a:lnTo>
                  <a:lnTo>
                    <a:pt x="61097" y="67422"/>
                  </a:lnTo>
                  <a:lnTo>
                    <a:pt x="61497" y="67095"/>
                  </a:lnTo>
                  <a:lnTo>
                    <a:pt x="61788" y="66731"/>
                  </a:lnTo>
                  <a:lnTo>
                    <a:pt x="62042" y="66368"/>
                  </a:lnTo>
                  <a:lnTo>
                    <a:pt x="62042" y="66368"/>
                  </a:lnTo>
                  <a:lnTo>
                    <a:pt x="62515" y="65459"/>
                  </a:lnTo>
                  <a:lnTo>
                    <a:pt x="62987" y="64405"/>
                  </a:lnTo>
                  <a:lnTo>
                    <a:pt x="63460" y="63097"/>
                  </a:lnTo>
                  <a:lnTo>
                    <a:pt x="63968" y="61679"/>
                  </a:lnTo>
                  <a:lnTo>
                    <a:pt x="64477" y="60044"/>
                  </a:lnTo>
                  <a:lnTo>
                    <a:pt x="64986" y="58299"/>
                  </a:lnTo>
                  <a:lnTo>
                    <a:pt x="65495" y="56373"/>
                  </a:lnTo>
                  <a:lnTo>
                    <a:pt x="66040" y="54374"/>
                  </a:lnTo>
                  <a:lnTo>
                    <a:pt x="66549" y="52229"/>
                  </a:lnTo>
                  <a:lnTo>
                    <a:pt x="67058" y="50012"/>
                  </a:lnTo>
                  <a:lnTo>
                    <a:pt x="67567" y="47686"/>
                  </a:lnTo>
                  <a:lnTo>
                    <a:pt x="68039" y="45324"/>
                  </a:lnTo>
                  <a:lnTo>
                    <a:pt x="69021" y="40417"/>
                  </a:lnTo>
                  <a:lnTo>
                    <a:pt x="69893" y="35401"/>
                  </a:lnTo>
                  <a:lnTo>
                    <a:pt x="70692" y="30422"/>
                  </a:lnTo>
                  <a:lnTo>
                    <a:pt x="71092" y="27950"/>
                  </a:lnTo>
                  <a:lnTo>
                    <a:pt x="71419" y="25515"/>
                  </a:lnTo>
                  <a:lnTo>
                    <a:pt x="71710" y="23153"/>
                  </a:lnTo>
                  <a:lnTo>
                    <a:pt x="72001" y="20863"/>
                  </a:lnTo>
                  <a:lnTo>
                    <a:pt x="72219" y="18646"/>
                  </a:lnTo>
                  <a:lnTo>
                    <a:pt x="72437" y="16538"/>
                  </a:lnTo>
                  <a:lnTo>
                    <a:pt x="72582" y="14539"/>
                  </a:lnTo>
                  <a:lnTo>
                    <a:pt x="72728" y="12685"/>
                  </a:lnTo>
                  <a:lnTo>
                    <a:pt x="72800" y="10941"/>
                  </a:lnTo>
                  <a:lnTo>
                    <a:pt x="72800" y="9341"/>
                  </a:lnTo>
                  <a:lnTo>
                    <a:pt x="72800" y="7924"/>
                  </a:lnTo>
                  <a:lnTo>
                    <a:pt x="72728" y="6688"/>
                  </a:lnTo>
                  <a:lnTo>
                    <a:pt x="72582" y="5634"/>
                  </a:lnTo>
                  <a:lnTo>
                    <a:pt x="72510" y="5198"/>
                  </a:lnTo>
                  <a:lnTo>
                    <a:pt x="72401" y="4798"/>
                  </a:lnTo>
                  <a:lnTo>
                    <a:pt x="72401" y="4798"/>
                  </a:lnTo>
                  <a:lnTo>
                    <a:pt x="72255" y="4435"/>
                  </a:lnTo>
                  <a:lnTo>
                    <a:pt x="72001" y="4108"/>
                  </a:lnTo>
                  <a:lnTo>
                    <a:pt x="71710" y="3780"/>
                  </a:lnTo>
                  <a:lnTo>
                    <a:pt x="71347" y="3453"/>
                  </a:lnTo>
                  <a:lnTo>
                    <a:pt x="70910" y="3163"/>
                  </a:lnTo>
                  <a:lnTo>
                    <a:pt x="70402" y="2872"/>
                  </a:lnTo>
                  <a:lnTo>
                    <a:pt x="69856" y="2617"/>
                  </a:lnTo>
                  <a:lnTo>
                    <a:pt x="69202" y="2363"/>
                  </a:lnTo>
                  <a:lnTo>
                    <a:pt x="68512" y="2109"/>
                  </a:lnTo>
                  <a:lnTo>
                    <a:pt x="67785" y="1890"/>
                  </a:lnTo>
                  <a:lnTo>
                    <a:pt x="66985" y="1672"/>
                  </a:lnTo>
                  <a:lnTo>
                    <a:pt x="66149" y="1491"/>
                  </a:lnTo>
                  <a:lnTo>
                    <a:pt x="65241" y="1309"/>
                  </a:lnTo>
                  <a:lnTo>
                    <a:pt x="64296" y="1127"/>
                  </a:lnTo>
                  <a:lnTo>
                    <a:pt x="62297" y="836"/>
                  </a:lnTo>
                  <a:lnTo>
                    <a:pt x="60116" y="582"/>
                  </a:lnTo>
                  <a:lnTo>
                    <a:pt x="57826" y="364"/>
                  </a:lnTo>
                  <a:lnTo>
                    <a:pt x="55391" y="219"/>
                  </a:lnTo>
                  <a:lnTo>
                    <a:pt x="52883" y="109"/>
                  </a:lnTo>
                  <a:lnTo>
                    <a:pt x="50302" y="37"/>
                  </a:lnTo>
                  <a:lnTo>
                    <a:pt x="47649" y="0"/>
                  </a:lnTo>
                  <a:lnTo>
                    <a:pt x="44996" y="0"/>
                  </a:lnTo>
                  <a:lnTo>
                    <a:pt x="42306" y="73"/>
                  </a:lnTo>
                  <a:lnTo>
                    <a:pt x="39617" y="146"/>
                  </a:lnTo>
                  <a:lnTo>
                    <a:pt x="36964" y="255"/>
                  </a:lnTo>
                  <a:lnTo>
                    <a:pt x="34347" y="437"/>
                  </a:lnTo>
                  <a:lnTo>
                    <a:pt x="31803" y="618"/>
                  </a:lnTo>
                  <a:lnTo>
                    <a:pt x="29367" y="836"/>
                  </a:lnTo>
                  <a:lnTo>
                    <a:pt x="27005" y="1091"/>
                  </a:lnTo>
                  <a:lnTo>
                    <a:pt x="24788" y="1345"/>
                  </a:lnTo>
                  <a:lnTo>
                    <a:pt x="22716" y="1672"/>
                  </a:lnTo>
                  <a:lnTo>
                    <a:pt x="20790" y="1999"/>
                  </a:lnTo>
                  <a:lnTo>
                    <a:pt x="19045" y="2327"/>
                  </a:lnTo>
                  <a:lnTo>
                    <a:pt x="17555" y="2690"/>
                  </a:lnTo>
                  <a:lnTo>
                    <a:pt x="16247" y="3090"/>
                  </a:lnTo>
                  <a:lnTo>
                    <a:pt x="15701" y="3272"/>
                  </a:lnTo>
                  <a:lnTo>
                    <a:pt x="15193" y="3490"/>
                  </a:lnTo>
                  <a:lnTo>
                    <a:pt x="14756" y="3708"/>
                  </a:lnTo>
                  <a:lnTo>
                    <a:pt x="14429" y="3926"/>
                  </a:lnTo>
                  <a:lnTo>
                    <a:pt x="14138" y="4144"/>
                  </a:lnTo>
                  <a:lnTo>
                    <a:pt x="13920" y="4362"/>
                  </a:lnTo>
                  <a:lnTo>
                    <a:pt x="13775" y="4580"/>
                  </a:lnTo>
                  <a:lnTo>
                    <a:pt x="13739" y="479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0" name="Google Shape;2589;p11">
              <a:extLst>
                <a:ext uri="{FF2B5EF4-FFF2-40B4-BE49-F238E27FC236}">
                  <a16:creationId xmlns:a16="http://schemas.microsoft.com/office/drawing/2014/main" id="{9B206B30-F2B2-F7D1-0636-7831C82ACD6A}"/>
                </a:ext>
              </a:extLst>
            </p:cNvPr>
            <p:cNvSpPr/>
            <p:nvPr/>
          </p:nvSpPr>
          <p:spPr>
            <a:xfrm>
              <a:off x="752400" y="966600"/>
              <a:ext cx="1025875" cy="41800"/>
            </a:xfrm>
            <a:custGeom>
              <a:avLst/>
              <a:gdLst/>
              <a:ahLst/>
              <a:cxnLst/>
              <a:rect l="l" t="t" r="r" b="b"/>
              <a:pathLst>
                <a:path w="41035" h="1672" extrusionOk="0">
                  <a:moveTo>
                    <a:pt x="1" y="0"/>
                  </a:moveTo>
                  <a:lnTo>
                    <a:pt x="1" y="1672"/>
                  </a:lnTo>
                  <a:lnTo>
                    <a:pt x="41035" y="1672"/>
                  </a:lnTo>
                  <a:lnTo>
                    <a:pt x="41035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1" name="Google Shape;2590;p11">
              <a:extLst>
                <a:ext uri="{FF2B5EF4-FFF2-40B4-BE49-F238E27FC236}">
                  <a16:creationId xmlns:a16="http://schemas.microsoft.com/office/drawing/2014/main" id="{15310E93-08DC-FFFF-B136-FA7609B84194}"/>
                </a:ext>
              </a:extLst>
            </p:cNvPr>
            <p:cNvSpPr/>
            <p:nvPr/>
          </p:nvSpPr>
          <p:spPr>
            <a:xfrm>
              <a:off x="752400" y="966600"/>
              <a:ext cx="1025875" cy="41800"/>
            </a:xfrm>
            <a:custGeom>
              <a:avLst/>
              <a:gdLst/>
              <a:ahLst/>
              <a:cxnLst/>
              <a:rect l="l" t="t" r="r" b="b"/>
              <a:pathLst>
                <a:path w="41035" h="1672" fill="none" extrusionOk="0">
                  <a:moveTo>
                    <a:pt x="41035" y="0"/>
                  </a:moveTo>
                  <a:lnTo>
                    <a:pt x="1" y="0"/>
                  </a:lnTo>
                  <a:lnTo>
                    <a:pt x="1" y="1672"/>
                  </a:lnTo>
                  <a:lnTo>
                    <a:pt x="41035" y="1672"/>
                  </a:lnTo>
                  <a:lnTo>
                    <a:pt x="410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2" name="Google Shape;2591;p11">
              <a:extLst>
                <a:ext uri="{FF2B5EF4-FFF2-40B4-BE49-F238E27FC236}">
                  <a16:creationId xmlns:a16="http://schemas.microsoft.com/office/drawing/2014/main" id="{49FDCAEC-2229-3205-51E7-6793B976BA7E}"/>
                </a:ext>
              </a:extLst>
            </p:cNvPr>
            <p:cNvSpPr/>
            <p:nvPr/>
          </p:nvSpPr>
          <p:spPr>
            <a:xfrm>
              <a:off x="680625" y="1156500"/>
              <a:ext cx="1025875" cy="41825"/>
            </a:xfrm>
            <a:custGeom>
              <a:avLst/>
              <a:gdLst/>
              <a:ahLst/>
              <a:cxnLst/>
              <a:rect l="l" t="t" r="r" b="b"/>
              <a:pathLst>
                <a:path w="41035" h="1673" extrusionOk="0">
                  <a:moveTo>
                    <a:pt x="0" y="0"/>
                  </a:moveTo>
                  <a:lnTo>
                    <a:pt x="0" y="1672"/>
                  </a:lnTo>
                  <a:lnTo>
                    <a:pt x="41035" y="1672"/>
                  </a:lnTo>
                  <a:lnTo>
                    <a:pt x="41035" y="0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3" name="Google Shape;2592;p11">
              <a:extLst>
                <a:ext uri="{FF2B5EF4-FFF2-40B4-BE49-F238E27FC236}">
                  <a16:creationId xmlns:a16="http://schemas.microsoft.com/office/drawing/2014/main" id="{3E254D81-27B7-D9D8-A9E1-D5D1250E5A9C}"/>
                </a:ext>
              </a:extLst>
            </p:cNvPr>
            <p:cNvSpPr/>
            <p:nvPr/>
          </p:nvSpPr>
          <p:spPr>
            <a:xfrm>
              <a:off x="680625" y="1156500"/>
              <a:ext cx="1025875" cy="41825"/>
            </a:xfrm>
            <a:custGeom>
              <a:avLst/>
              <a:gdLst/>
              <a:ahLst/>
              <a:cxnLst/>
              <a:rect l="l" t="t" r="r" b="b"/>
              <a:pathLst>
                <a:path w="41035" h="1673" fill="none" extrusionOk="0">
                  <a:moveTo>
                    <a:pt x="41035" y="0"/>
                  </a:moveTo>
                  <a:lnTo>
                    <a:pt x="0" y="0"/>
                  </a:lnTo>
                  <a:lnTo>
                    <a:pt x="0" y="1672"/>
                  </a:lnTo>
                  <a:lnTo>
                    <a:pt x="41035" y="1672"/>
                  </a:lnTo>
                  <a:lnTo>
                    <a:pt x="410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4" name="Google Shape;2593;p11">
              <a:extLst>
                <a:ext uri="{FF2B5EF4-FFF2-40B4-BE49-F238E27FC236}">
                  <a16:creationId xmlns:a16="http://schemas.microsoft.com/office/drawing/2014/main" id="{8D3078EB-4E13-3FDE-52B3-5ECE788CAD5A}"/>
                </a:ext>
              </a:extLst>
            </p:cNvPr>
            <p:cNvSpPr/>
            <p:nvPr/>
          </p:nvSpPr>
          <p:spPr>
            <a:xfrm>
              <a:off x="621550" y="1325500"/>
              <a:ext cx="1025900" cy="42725"/>
            </a:xfrm>
            <a:custGeom>
              <a:avLst/>
              <a:gdLst/>
              <a:ahLst/>
              <a:cxnLst/>
              <a:rect l="l" t="t" r="r" b="b"/>
              <a:pathLst>
                <a:path w="41036" h="1709" extrusionOk="0">
                  <a:moveTo>
                    <a:pt x="1" y="1"/>
                  </a:moveTo>
                  <a:lnTo>
                    <a:pt x="1" y="1709"/>
                  </a:lnTo>
                  <a:lnTo>
                    <a:pt x="41035" y="1709"/>
                  </a:lnTo>
                  <a:lnTo>
                    <a:pt x="41035" y="1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5" name="Google Shape;2594;p11">
              <a:extLst>
                <a:ext uri="{FF2B5EF4-FFF2-40B4-BE49-F238E27FC236}">
                  <a16:creationId xmlns:a16="http://schemas.microsoft.com/office/drawing/2014/main" id="{6AD5AC28-4172-954F-C863-C2BBE0525CBF}"/>
                </a:ext>
              </a:extLst>
            </p:cNvPr>
            <p:cNvSpPr/>
            <p:nvPr/>
          </p:nvSpPr>
          <p:spPr>
            <a:xfrm>
              <a:off x="621550" y="1325500"/>
              <a:ext cx="1025900" cy="42725"/>
            </a:xfrm>
            <a:custGeom>
              <a:avLst/>
              <a:gdLst/>
              <a:ahLst/>
              <a:cxnLst/>
              <a:rect l="l" t="t" r="r" b="b"/>
              <a:pathLst>
                <a:path w="41036" h="1709" fill="none" extrusionOk="0">
                  <a:moveTo>
                    <a:pt x="41035" y="1"/>
                  </a:moveTo>
                  <a:lnTo>
                    <a:pt x="1" y="1"/>
                  </a:lnTo>
                  <a:lnTo>
                    <a:pt x="1" y="1709"/>
                  </a:lnTo>
                  <a:lnTo>
                    <a:pt x="41035" y="1709"/>
                  </a:lnTo>
                  <a:lnTo>
                    <a:pt x="4103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6" name="Google Shape;2595;p11">
              <a:extLst>
                <a:ext uri="{FF2B5EF4-FFF2-40B4-BE49-F238E27FC236}">
                  <a16:creationId xmlns:a16="http://schemas.microsoft.com/office/drawing/2014/main" id="{2B8EADEC-FDF8-E925-D4E8-F92129AF632D}"/>
                </a:ext>
              </a:extLst>
            </p:cNvPr>
            <p:cNvSpPr/>
            <p:nvPr/>
          </p:nvSpPr>
          <p:spPr>
            <a:xfrm>
              <a:off x="540700" y="1511775"/>
              <a:ext cx="1026775" cy="41825"/>
            </a:xfrm>
            <a:custGeom>
              <a:avLst/>
              <a:gdLst/>
              <a:ahLst/>
              <a:cxnLst/>
              <a:rect l="l" t="t" r="r" b="b"/>
              <a:pathLst>
                <a:path w="41071" h="1673" extrusionOk="0">
                  <a:moveTo>
                    <a:pt x="0" y="1"/>
                  </a:moveTo>
                  <a:lnTo>
                    <a:pt x="0" y="1672"/>
                  </a:lnTo>
                  <a:lnTo>
                    <a:pt x="41071" y="1672"/>
                  </a:lnTo>
                  <a:lnTo>
                    <a:pt x="41071" y="1"/>
                  </a:lnTo>
                  <a:close/>
                </a:path>
              </a:pathLst>
            </a:custGeom>
            <a:solidFill>
              <a:srgbClr val="6A6A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7" name="Google Shape;2596;p11">
              <a:extLst>
                <a:ext uri="{FF2B5EF4-FFF2-40B4-BE49-F238E27FC236}">
                  <a16:creationId xmlns:a16="http://schemas.microsoft.com/office/drawing/2014/main" id="{AD6D4116-8F35-FCF5-C1E9-9116AD978BFD}"/>
                </a:ext>
              </a:extLst>
            </p:cNvPr>
            <p:cNvSpPr/>
            <p:nvPr/>
          </p:nvSpPr>
          <p:spPr>
            <a:xfrm>
              <a:off x="540700" y="1511775"/>
              <a:ext cx="1026775" cy="41825"/>
            </a:xfrm>
            <a:custGeom>
              <a:avLst/>
              <a:gdLst/>
              <a:ahLst/>
              <a:cxnLst/>
              <a:rect l="l" t="t" r="r" b="b"/>
              <a:pathLst>
                <a:path w="41071" h="1673" fill="none" extrusionOk="0">
                  <a:moveTo>
                    <a:pt x="41071" y="1"/>
                  </a:moveTo>
                  <a:lnTo>
                    <a:pt x="0" y="1"/>
                  </a:lnTo>
                  <a:lnTo>
                    <a:pt x="0" y="1672"/>
                  </a:lnTo>
                  <a:lnTo>
                    <a:pt x="41071" y="1672"/>
                  </a:lnTo>
                  <a:lnTo>
                    <a:pt x="4107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8" name="Google Shape;2597;p11">
              <a:extLst>
                <a:ext uri="{FF2B5EF4-FFF2-40B4-BE49-F238E27FC236}">
                  <a16:creationId xmlns:a16="http://schemas.microsoft.com/office/drawing/2014/main" id="{3BBA9BB5-5900-5883-CE2B-23E6D945D7B6}"/>
                </a:ext>
              </a:extLst>
            </p:cNvPr>
            <p:cNvSpPr/>
            <p:nvPr/>
          </p:nvSpPr>
          <p:spPr>
            <a:xfrm>
              <a:off x="1486600" y="945700"/>
              <a:ext cx="109950" cy="79975"/>
            </a:xfrm>
            <a:custGeom>
              <a:avLst/>
              <a:gdLst/>
              <a:ahLst/>
              <a:cxnLst/>
              <a:rect l="l" t="t" r="r" b="b"/>
              <a:pathLst>
                <a:path w="4398" h="3199" extrusionOk="0">
                  <a:moveTo>
                    <a:pt x="0" y="0"/>
                  </a:moveTo>
                  <a:lnTo>
                    <a:pt x="0" y="3199"/>
                  </a:lnTo>
                  <a:lnTo>
                    <a:pt x="4398" y="3199"/>
                  </a:lnTo>
                  <a:lnTo>
                    <a:pt x="4398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9" name="Google Shape;2598;p11">
              <a:extLst>
                <a:ext uri="{FF2B5EF4-FFF2-40B4-BE49-F238E27FC236}">
                  <a16:creationId xmlns:a16="http://schemas.microsoft.com/office/drawing/2014/main" id="{2E01F229-93CB-E111-6186-C4C385F94288}"/>
                </a:ext>
              </a:extLst>
            </p:cNvPr>
            <p:cNvSpPr/>
            <p:nvPr/>
          </p:nvSpPr>
          <p:spPr>
            <a:xfrm>
              <a:off x="1070425" y="935700"/>
              <a:ext cx="122700" cy="109050"/>
            </a:xfrm>
            <a:custGeom>
              <a:avLst/>
              <a:gdLst/>
              <a:ahLst/>
              <a:cxnLst/>
              <a:rect l="l" t="t" r="r" b="b"/>
              <a:pathLst>
                <a:path w="4908" h="4362" extrusionOk="0">
                  <a:moveTo>
                    <a:pt x="1" y="0"/>
                  </a:moveTo>
                  <a:lnTo>
                    <a:pt x="1" y="4362"/>
                  </a:lnTo>
                  <a:lnTo>
                    <a:pt x="4907" y="4362"/>
                  </a:lnTo>
                  <a:lnTo>
                    <a:pt x="4907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0" name="Google Shape;2599;p11">
              <a:extLst>
                <a:ext uri="{FF2B5EF4-FFF2-40B4-BE49-F238E27FC236}">
                  <a16:creationId xmlns:a16="http://schemas.microsoft.com/office/drawing/2014/main" id="{E2532BB2-0353-6335-EF4B-42FBEB1D15ED}"/>
                </a:ext>
              </a:extLst>
            </p:cNvPr>
            <p:cNvSpPr/>
            <p:nvPr/>
          </p:nvSpPr>
          <p:spPr>
            <a:xfrm>
              <a:off x="1216725" y="1147400"/>
              <a:ext cx="129950" cy="67275"/>
            </a:xfrm>
            <a:custGeom>
              <a:avLst/>
              <a:gdLst/>
              <a:ahLst/>
              <a:cxnLst/>
              <a:rect l="l" t="t" r="r" b="b"/>
              <a:pathLst>
                <a:path w="5198" h="2691" extrusionOk="0">
                  <a:moveTo>
                    <a:pt x="0" y="1"/>
                  </a:moveTo>
                  <a:lnTo>
                    <a:pt x="0" y="2690"/>
                  </a:lnTo>
                  <a:lnTo>
                    <a:pt x="5198" y="2690"/>
                  </a:lnTo>
                  <a:lnTo>
                    <a:pt x="5198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1" name="Google Shape;2600;p11">
              <a:extLst>
                <a:ext uri="{FF2B5EF4-FFF2-40B4-BE49-F238E27FC236}">
                  <a16:creationId xmlns:a16="http://schemas.microsoft.com/office/drawing/2014/main" id="{30C1579D-DBED-7526-FC58-D6B89D6AD2B0}"/>
                </a:ext>
              </a:extLst>
            </p:cNvPr>
            <p:cNvSpPr/>
            <p:nvPr/>
          </p:nvSpPr>
          <p:spPr>
            <a:xfrm>
              <a:off x="1491125" y="1310050"/>
              <a:ext cx="69100" cy="86350"/>
            </a:xfrm>
            <a:custGeom>
              <a:avLst/>
              <a:gdLst/>
              <a:ahLst/>
              <a:cxnLst/>
              <a:rect l="l" t="t" r="r" b="b"/>
              <a:pathLst>
                <a:path w="2764" h="3454" extrusionOk="0">
                  <a:moveTo>
                    <a:pt x="1" y="1"/>
                  </a:moveTo>
                  <a:lnTo>
                    <a:pt x="1" y="3454"/>
                  </a:lnTo>
                  <a:lnTo>
                    <a:pt x="2763" y="3454"/>
                  </a:lnTo>
                  <a:lnTo>
                    <a:pt x="2763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2" name="Google Shape;2601;p11">
              <a:extLst>
                <a:ext uri="{FF2B5EF4-FFF2-40B4-BE49-F238E27FC236}">
                  <a16:creationId xmlns:a16="http://schemas.microsoft.com/office/drawing/2014/main" id="{316E7B12-3295-39E4-052B-D889EC969729}"/>
                </a:ext>
              </a:extLst>
            </p:cNvPr>
            <p:cNvSpPr/>
            <p:nvPr/>
          </p:nvSpPr>
          <p:spPr>
            <a:xfrm>
              <a:off x="846000" y="1300975"/>
              <a:ext cx="139950" cy="92700"/>
            </a:xfrm>
            <a:custGeom>
              <a:avLst/>
              <a:gdLst/>
              <a:ahLst/>
              <a:cxnLst/>
              <a:rect l="l" t="t" r="r" b="b"/>
              <a:pathLst>
                <a:path w="5598" h="3708" extrusionOk="0">
                  <a:moveTo>
                    <a:pt x="0" y="0"/>
                  </a:moveTo>
                  <a:lnTo>
                    <a:pt x="0" y="3708"/>
                  </a:lnTo>
                  <a:lnTo>
                    <a:pt x="5598" y="3708"/>
                  </a:lnTo>
                  <a:lnTo>
                    <a:pt x="5598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3" name="Google Shape;2602;p11">
              <a:extLst>
                <a:ext uri="{FF2B5EF4-FFF2-40B4-BE49-F238E27FC236}">
                  <a16:creationId xmlns:a16="http://schemas.microsoft.com/office/drawing/2014/main" id="{12494E6C-2394-29CE-ADCC-B6AD28060B45}"/>
                </a:ext>
              </a:extLst>
            </p:cNvPr>
            <p:cNvSpPr/>
            <p:nvPr/>
          </p:nvSpPr>
          <p:spPr>
            <a:xfrm>
              <a:off x="1015000" y="1492700"/>
              <a:ext cx="57275" cy="77250"/>
            </a:xfrm>
            <a:custGeom>
              <a:avLst/>
              <a:gdLst/>
              <a:ahLst/>
              <a:cxnLst/>
              <a:rect l="l" t="t" r="r" b="b"/>
              <a:pathLst>
                <a:path w="2291" h="3090" extrusionOk="0">
                  <a:moveTo>
                    <a:pt x="1" y="0"/>
                  </a:moveTo>
                  <a:lnTo>
                    <a:pt x="1" y="3090"/>
                  </a:lnTo>
                  <a:lnTo>
                    <a:pt x="2290" y="3090"/>
                  </a:lnTo>
                  <a:lnTo>
                    <a:pt x="2290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4" name="Google Shape;2603;p11">
              <a:extLst>
                <a:ext uri="{FF2B5EF4-FFF2-40B4-BE49-F238E27FC236}">
                  <a16:creationId xmlns:a16="http://schemas.microsoft.com/office/drawing/2014/main" id="{A755F569-FB94-D09E-2B44-9DEC70709D45}"/>
                </a:ext>
              </a:extLst>
            </p:cNvPr>
            <p:cNvSpPr/>
            <p:nvPr/>
          </p:nvSpPr>
          <p:spPr>
            <a:xfrm>
              <a:off x="1323025" y="1492700"/>
              <a:ext cx="62725" cy="77250"/>
            </a:xfrm>
            <a:custGeom>
              <a:avLst/>
              <a:gdLst/>
              <a:ahLst/>
              <a:cxnLst/>
              <a:rect l="l" t="t" r="r" b="b"/>
              <a:pathLst>
                <a:path w="2509" h="3090" extrusionOk="0">
                  <a:moveTo>
                    <a:pt x="1" y="0"/>
                  </a:moveTo>
                  <a:lnTo>
                    <a:pt x="1" y="3090"/>
                  </a:lnTo>
                  <a:lnTo>
                    <a:pt x="2509" y="3090"/>
                  </a:lnTo>
                  <a:lnTo>
                    <a:pt x="2509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5" name="Google Shape;2604;p11">
              <a:extLst>
                <a:ext uri="{FF2B5EF4-FFF2-40B4-BE49-F238E27FC236}">
                  <a16:creationId xmlns:a16="http://schemas.microsoft.com/office/drawing/2014/main" id="{46010FE2-E57A-9AAA-F799-0A12D2382E71}"/>
                </a:ext>
              </a:extLst>
            </p:cNvPr>
            <p:cNvSpPr/>
            <p:nvPr/>
          </p:nvSpPr>
          <p:spPr>
            <a:xfrm>
              <a:off x="1560200" y="1310050"/>
              <a:ext cx="146300" cy="86350"/>
            </a:xfrm>
            <a:custGeom>
              <a:avLst/>
              <a:gdLst/>
              <a:ahLst/>
              <a:cxnLst/>
              <a:rect l="l" t="t" r="r" b="b"/>
              <a:pathLst>
                <a:path w="5852" h="3454" extrusionOk="0">
                  <a:moveTo>
                    <a:pt x="0" y="1"/>
                  </a:moveTo>
                  <a:lnTo>
                    <a:pt x="0" y="3454"/>
                  </a:lnTo>
                  <a:lnTo>
                    <a:pt x="5852" y="3454"/>
                  </a:lnTo>
                  <a:lnTo>
                    <a:pt x="5852" y="1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6" name="Google Shape;2605;p11">
              <a:extLst>
                <a:ext uri="{FF2B5EF4-FFF2-40B4-BE49-F238E27FC236}">
                  <a16:creationId xmlns:a16="http://schemas.microsoft.com/office/drawing/2014/main" id="{5790483A-6B4D-D8B8-E49A-9CCFEF4165AC}"/>
                </a:ext>
              </a:extLst>
            </p:cNvPr>
            <p:cNvSpPr/>
            <p:nvPr/>
          </p:nvSpPr>
          <p:spPr>
            <a:xfrm>
              <a:off x="6027975" y="275125"/>
              <a:ext cx="179025" cy="477950"/>
            </a:xfrm>
            <a:custGeom>
              <a:avLst/>
              <a:gdLst/>
              <a:ahLst/>
              <a:cxnLst/>
              <a:rect l="l" t="t" r="r" b="b"/>
              <a:pathLst>
                <a:path w="7161" h="19118" extrusionOk="0">
                  <a:moveTo>
                    <a:pt x="5198" y="0"/>
                  </a:moveTo>
                  <a:lnTo>
                    <a:pt x="4217" y="109"/>
                  </a:lnTo>
                  <a:lnTo>
                    <a:pt x="3163" y="291"/>
                  </a:lnTo>
                  <a:lnTo>
                    <a:pt x="2218" y="472"/>
                  </a:lnTo>
                  <a:lnTo>
                    <a:pt x="1382" y="654"/>
                  </a:lnTo>
                  <a:lnTo>
                    <a:pt x="619" y="872"/>
                  </a:lnTo>
                  <a:lnTo>
                    <a:pt x="764" y="2653"/>
                  </a:lnTo>
                  <a:lnTo>
                    <a:pt x="801" y="4398"/>
                  </a:lnTo>
                  <a:lnTo>
                    <a:pt x="801" y="5997"/>
                  </a:lnTo>
                  <a:lnTo>
                    <a:pt x="764" y="7560"/>
                  </a:lnTo>
                  <a:lnTo>
                    <a:pt x="691" y="9014"/>
                  </a:lnTo>
                  <a:lnTo>
                    <a:pt x="546" y="10359"/>
                  </a:lnTo>
                  <a:lnTo>
                    <a:pt x="292" y="12794"/>
                  </a:lnTo>
                  <a:lnTo>
                    <a:pt x="74" y="14793"/>
                  </a:lnTo>
                  <a:lnTo>
                    <a:pt x="1" y="15629"/>
                  </a:lnTo>
                  <a:lnTo>
                    <a:pt x="1" y="16356"/>
                  </a:lnTo>
                  <a:lnTo>
                    <a:pt x="1" y="16973"/>
                  </a:lnTo>
                  <a:lnTo>
                    <a:pt x="74" y="17228"/>
                  </a:lnTo>
                  <a:lnTo>
                    <a:pt x="110" y="17446"/>
                  </a:lnTo>
                  <a:lnTo>
                    <a:pt x="183" y="17664"/>
                  </a:lnTo>
                  <a:lnTo>
                    <a:pt x="292" y="17809"/>
                  </a:lnTo>
                  <a:lnTo>
                    <a:pt x="401" y="17955"/>
                  </a:lnTo>
                  <a:lnTo>
                    <a:pt x="582" y="18064"/>
                  </a:lnTo>
                  <a:lnTo>
                    <a:pt x="1200" y="18427"/>
                  </a:lnTo>
                  <a:lnTo>
                    <a:pt x="1891" y="18754"/>
                  </a:lnTo>
                  <a:lnTo>
                    <a:pt x="2218" y="18863"/>
                  </a:lnTo>
                  <a:lnTo>
                    <a:pt x="2581" y="18972"/>
                  </a:lnTo>
                  <a:lnTo>
                    <a:pt x="2909" y="19045"/>
                  </a:lnTo>
                  <a:lnTo>
                    <a:pt x="3236" y="19118"/>
                  </a:lnTo>
                  <a:lnTo>
                    <a:pt x="3926" y="19118"/>
                  </a:lnTo>
                  <a:lnTo>
                    <a:pt x="4217" y="19045"/>
                  </a:lnTo>
                  <a:lnTo>
                    <a:pt x="4544" y="18936"/>
                  </a:lnTo>
                  <a:lnTo>
                    <a:pt x="4835" y="18827"/>
                  </a:lnTo>
                  <a:lnTo>
                    <a:pt x="5126" y="18609"/>
                  </a:lnTo>
                  <a:lnTo>
                    <a:pt x="5380" y="18391"/>
                  </a:lnTo>
                  <a:lnTo>
                    <a:pt x="5634" y="18064"/>
                  </a:lnTo>
                  <a:lnTo>
                    <a:pt x="5744" y="17882"/>
                  </a:lnTo>
                  <a:lnTo>
                    <a:pt x="5853" y="17591"/>
                  </a:lnTo>
                  <a:lnTo>
                    <a:pt x="5962" y="17264"/>
                  </a:lnTo>
                  <a:lnTo>
                    <a:pt x="6071" y="16828"/>
                  </a:lnTo>
                  <a:lnTo>
                    <a:pt x="6289" y="15810"/>
                  </a:lnTo>
                  <a:lnTo>
                    <a:pt x="6470" y="14611"/>
                  </a:lnTo>
                  <a:lnTo>
                    <a:pt x="6652" y="13266"/>
                  </a:lnTo>
                  <a:lnTo>
                    <a:pt x="6798" y="11776"/>
                  </a:lnTo>
                  <a:lnTo>
                    <a:pt x="6907" y="10249"/>
                  </a:lnTo>
                  <a:lnTo>
                    <a:pt x="7016" y="8687"/>
                  </a:lnTo>
                  <a:lnTo>
                    <a:pt x="7088" y="7124"/>
                  </a:lnTo>
                  <a:lnTo>
                    <a:pt x="7125" y="5597"/>
                  </a:lnTo>
                  <a:lnTo>
                    <a:pt x="7161" y="4216"/>
                  </a:lnTo>
                  <a:lnTo>
                    <a:pt x="7125" y="2944"/>
                  </a:lnTo>
                  <a:lnTo>
                    <a:pt x="7052" y="1854"/>
                  </a:lnTo>
                  <a:lnTo>
                    <a:pt x="6943" y="1018"/>
                  </a:lnTo>
                  <a:lnTo>
                    <a:pt x="6870" y="654"/>
                  </a:lnTo>
                  <a:lnTo>
                    <a:pt x="6798" y="400"/>
                  </a:lnTo>
                  <a:lnTo>
                    <a:pt x="6725" y="218"/>
                  </a:lnTo>
                  <a:lnTo>
                    <a:pt x="6616" y="145"/>
                  </a:lnTo>
                  <a:lnTo>
                    <a:pt x="6361" y="36"/>
                  </a:lnTo>
                  <a:lnTo>
                    <a:pt x="6034" y="0"/>
                  </a:lnTo>
                  <a:close/>
                </a:path>
              </a:pathLst>
            </a:custGeom>
            <a:solidFill>
              <a:srgbClr val="9292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7" name="Google Shape;2606;p11">
              <a:extLst>
                <a:ext uri="{FF2B5EF4-FFF2-40B4-BE49-F238E27FC236}">
                  <a16:creationId xmlns:a16="http://schemas.microsoft.com/office/drawing/2014/main" id="{29AA209D-542B-A97C-712D-67F9F45D72D2}"/>
                </a:ext>
              </a:extLst>
            </p:cNvPr>
            <p:cNvSpPr/>
            <p:nvPr/>
          </p:nvSpPr>
          <p:spPr>
            <a:xfrm>
              <a:off x="6900275" y="283300"/>
              <a:ext cx="318975" cy="469775"/>
            </a:xfrm>
            <a:custGeom>
              <a:avLst/>
              <a:gdLst/>
              <a:ahLst/>
              <a:cxnLst/>
              <a:rect l="l" t="t" r="r" b="b"/>
              <a:pathLst>
                <a:path w="12759" h="18791" extrusionOk="0">
                  <a:moveTo>
                    <a:pt x="7016" y="0"/>
                  </a:moveTo>
                  <a:lnTo>
                    <a:pt x="6398" y="36"/>
                  </a:lnTo>
                  <a:lnTo>
                    <a:pt x="5889" y="109"/>
                  </a:lnTo>
                  <a:lnTo>
                    <a:pt x="5671" y="145"/>
                  </a:lnTo>
                  <a:lnTo>
                    <a:pt x="5489" y="218"/>
                  </a:lnTo>
                  <a:lnTo>
                    <a:pt x="5344" y="291"/>
                  </a:lnTo>
                  <a:lnTo>
                    <a:pt x="5271" y="400"/>
                  </a:lnTo>
                  <a:lnTo>
                    <a:pt x="5235" y="545"/>
                  </a:lnTo>
                  <a:lnTo>
                    <a:pt x="5235" y="691"/>
                  </a:lnTo>
                  <a:lnTo>
                    <a:pt x="5271" y="1018"/>
                  </a:lnTo>
                  <a:lnTo>
                    <a:pt x="5235" y="1490"/>
                  </a:lnTo>
                  <a:lnTo>
                    <a:pt x="5162" y="2108"/>
                  </a:lnTo>
                  <a:lnTo>
                    <a:pt x="5053" y="2762"/>
                  </a:lnTo>
                  <a:lnTo>
                    <a:pt x="4871" y="3562"/>
                  </a:lnTo>
                  <a:lnTo>
                    <a:pt x="4617" y="4434"/>
                  </a:lnTo>
                  <a:lnTo>
                    <a:pt x="4035" y="6433"/>
                  </a:lnTo>
                  <a:lnTo>
                    <a:pt x="3236" y="8723"/>
                  </a:lnTo>
                  <a:lnTo>
                    <a:pt x="2291" y="11267"/>
                  </a:lnTo>
                  <a:lnTo>
                    <a:pt x="1200" y="13993"/>
                  </a:lnTo>
                  <a:lnTo>
                    <a:pt x="1" y="16865"/>
                  </a:lnTo>
                  <a:lnTo>
                    <a:pt x="473" y="17192"/>
                  </a:lnTo>
                  <a:lnTo>
                    <a:pt x="1018" y="17519"/>
                  </a:lnTo>
                  <a:lnTo>
                    <a:pt x="1709" y="17882"/>
                  </a:lnTo>
                  <a:lnTo>
                    <a:pt x="2509" y="18246"/>
                  </a:lnTo>
                  <a:lnTo>
                    <a:pt x="2945" y="18391"/>
                  </a:lnTo>
                  <a:lnTo>
                    <a:pt x="3381" y="18536"/>
                  </a:lnTo>
                  <a:lnTo>
                    <a:pt x="3853" y="18645"/>
                  </a:lnTo>
                  <a:lnTo>
                    <a:pt x="4326" y="18754"/>
                  </a:lnTo>
                  <a:lnTo>
                    <a:pt x="4762" y="18791"/>
                  </a:lnTo>
                  <a:lnTo>
                    <a:pt x="5235" y="18791"/>
                  </a:lnTo>
                  <a:lnTo>
                    <a:pt x="5453" y="18754"/>
                  </a:lnTo>
                  <a:lnTo>
                    <a:pt x="5707" y="18609"/>
                  </a:lnTo>
                  <a:lnTo>
                    <a:pt x="5925" y="18391"/>
                  </a:lnTo>
                  <a:lnTo>
                    <a:pt x="6180" y="18137"/>
                  </a:lnTo>
                  <a:lnTo>
                    <a:pt x="6434" y="17773"/>
                  </a:lnTo>
                  <a:lnTo>
                    <a:pt x="6688" y="17373"/>
                  </a:lnTo>
                  <a:lnTo>
                    <a:pt x="6979" y="16901"/>
                  </a:lnTo>
                  <a:lnTo>
                    <a:pt x="7234" y="16392"/>
                  </a:lnTo>
                  <a:lnTo>
                    <a:pt x="7779" y="15229"/>
                  </a:lnTo>
                  <a:lnTo>
                    <a:pt x="8324" y="13957"/>
                  </a:lnTo>
                  <a:lnTo>
                    <a:pt x="8869" y="12539"/>
                  </a:lnTo>
                  <a:lnTo>
                    <a:pt x="9414" y="11086"/>
                  </a:lnTo>
                  <a:lnTo>
                    <a:pt x="10432" y="8178"/>
                  </a:lnTo>
                  <a:lnTo>
                    <a:pt x="11341" y="5488"/>
                  </a:lnTo>
                  <a:lnTo>
                    <a:pt x="11740" y="4362"/>
                  </a:lnTo>
                  <a:lnTo>
                    <a:pt x="12104" y="3417"/>
                  </a:lnTo>
                  <a:lnTo>
                    <a:pt x="12431" y="2726"/>
                  </a:lnTo>
                  <a:lnTo>
                    <a:pt x="12540" y="2472"/>
                  </a:lnTo>
                  <a:lnTo>
                    <a:pt x="12685" y="2254"/>
                  </a:lnTo>
                  <a:lnTo>
                    <a:pt x="12758" y="2108"/>
                  </a:lnTo>
                  <a:lnTo>
                    <a:pt x="12758" y="1963"/>
                  </a:lnTo>
                  <a:lnTo>
                    <a:pt x="12758" y="1817"/>
                  </a:lnTo>
                  <a:lnTo>
                    <a:pt x="12649" y="1672"/>
                  </a:lnTo>
                  <a:lnTo>
                    <a:pt x="12540" y="1527"/>
                  </a:lnTo>
                  <a:lnTo>
                    <a:pt x="12395" y="1381"/>
                  </a:lnTo>
                  <a:lnTo>
                    <a:pt x="12177" y="1272"/>
                  </a:lnTo>
                  <a:lnTo>
                    <a:pt x="11959" y="1127"/>
                  </a:lnTo>
                  <a:lnTo>
                    <a:pt x="11377" y="872"/>
                  </a:lnTo>
                  <a:lnTo>
                    <a:pt x="10723" y="654"/>
                  </a:lnTo>
                  <a:lnTo>
                    <a:pt x="9996" y="436"/>
                  </a:lnTo>
                  <a:lnTo>
                    <a:pt x="9233" y="291"/>
                  </a:lnTo>
                  <a:lnTo>
                    <a:pt x="8469" y="145"/>
                  </a:lnTo>
                  <a:lnTo>
                    <a:pt x="7706" y="73"/>
                  </a:lnTo>
                  <a:lnTo>
                    <a:pt x="7016" y="0"/>
                  </a:lnTo>
                  <a:close/>
                </a:path>
              </a:pathLst>
            </a:custGeom>
            <a:solidFill>
              <a:srgbClr val="9292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8" name="Google Shape;2607;p11">
              <a:extLst>
                <a:ext uri="{FF2B5EF4-FFF2-40B4-BE49-F238E27FC236}">
                  <a16:creationId xmlns:a16="http://schemas.microsoft.com/office/drawing/2014/main" id="{278A5F8E-9C86-E243-070D-FC3A57D71463}"/>
                </a:ext>
              </a:extLst>
            </p:cNvPr>
            <p:cNvSpPr/>
            <p:nvPr/>
          </p:nvSpPr>
          <p:spPr>
            <a:xfrm>
              <a:off x="2841375" y="345075"/>
              <a:ext cx="300775" cy="434350"/>
            </a:xfrm>
            <a:custGeom>
              <a:avLst/>
              <a:gdLst/>
              <a:ahLst/>
              <a:cxnLst/>
              <a:rect l="l" t="t" r="r" b="b"/>
              <a:pathLst>
                <a:path w="12031" h="17374" extrusionOk="0">
                  <a:moveTo>
                    <a:pt x="5779" y="1"/>
                  </a:moveTo>
                  <a:lnTo>
                    <a:pt x="2981" y="73"/>
                  </a:lnTo>
                  <a:lnTo>
                    <a:pt x="1818" y="73"/>
                  </a:lnTo>
                  <a:lnTo>
                    <a:pt x="1854" y="2218"/>
                  </a:lnTo>
                  <a:lnTo>
                    <a:pt x="1818" y="4217"/>
                  </a:lnTo>
                  <a:lnTo>
                    <a:pt x="1709" y="5998"/>
                  </a:lnTo>
                  <a:lnTo>
                    <a:pt x="1563" y="7633"/>
                  </a:lnTo>
                  <a:lnTo>
                    <a:pt x="1382" y="9087"/>
                  </a:lnTo>
                  <a:lnTo>
                    <a:pt x="1164" y="10395"/>
                  </a:lnTo>
                  <a:lnTo>
                    <a:pt x="945" y="11559"/>
                  </a:lnTo>
                  <a:lnTo>
                    <a:pt x="691" y="12576"/>
                  </a:lnTo>
                  <a:lnTo>
                    <a:pt x="291" y="14175"/>
                  </a:lnTo>
                  <a:lnTo>
                    <a:pt x="146" y="14830"/>
                  </a:lnTo>
                  <a:lnTo>
                    <a:pt x="37" y="15339"/>
                  </a:lnTo>
                  <a:lnTo>
                    <a:pt x="0" y="15738"/>
                  </a:lnTo>
                  <a:lnTo>
                    <a:pt x="0" y="15884"/>
                  </a:lnTo>
                  <a:lnTo>
                    <a:pt x="37" y="16029"/>
                  </a:lnTo>
                  <a:lnTo>
                    <a:pt x="73" y="16138"/>
                  </a:lnTo>
                  <a:lnTo>
                    <a:pt x="146" y="16211"/>
                  </a:lnTo>
                  <a:lnTo>
                    <a:pt x="255" y="16283"/>
                  </a:lnTo>
                  <a:lnTo>
                    <a:pt x="364" y="16320"/>
                  </a:lnTo>
                  <a:lnTo>
                    <a:pt x="1054" y="16502"/>
                  </a:lnTo>
                  <a:lnTo>
                    <a:pt x="1890" y="16792"/>
                  </a:lnTo>
                  <a:lnTo>
                    <a:pt x="2872" y="17047"/>
                  </a:lnTo>
                  <a:lnTo>
                    <a:pt x="3381" y="17156"/>
                  </a:lnTo>
                  <a:lnTo>
                    <a:pt x="3926" y="17265"/>
                  </a:lnTo>
                  <a:lnTo>
                    <a:pt x="4435" y="17338"/>
                  </a:lnTo>
                  <a:lnTo>
                    <a:pt x="4907" y="17374"/>
                  </a:lnTo>
                  <a:lnTo>
                    <a:pt x="5380" y="17338"/>
                  </a:lnTo>
                  <a:lnTo>
                    <a:pt x="5816" y="17301"/>
                  </a:lnTo>
                  <a:lnTo>
                    <a:pt x="6216" y="17156"/>
                  </a:lnTo>
                  <a:lnTo>
                    <a:pt x="6397" y="17083"/>
                  </a:lnTo>
                  <a:lnTo>
                    <a:pt x="6543" y="16974"/>
                  </a:lnTo>
                  <a:lnTo>
                    <a:pt x="6724" y="16829"/>
                  </a:lnTo>
                  <a:lnTo>
                    <a:pt x="6833" y="16683"/>
                  </a:lnTo>
                  <a:lnTo>
                    <a:pt x="6943" y="16502"/>
                  </a:lnTo>
                  <a:lnTo>
                    <a:pt x="7052" y="16320"/>
                  </a:lnTo>
                  <a:lnTo>
                    <a:pt x="7633" y="15011"/>
                  </a:lnTo>
                  <a:lnTo>
                    <a:pt x="8469" y="12903"/>
                  </a:lnTo>
                  <a:lnTo>
                    <a:pt x="9487" y="10286"/>
                  </a:lnTo>
                  <a:lnTo>
                    <a:pt x="10032" y="8905"/>
                  </a:lnTo>
                  <a:lnTo>
                    <a:pt x="10504" y="7488"/>
                  </a:lnTo>
                  <a:lnTo>
                    <a:pt x="10977" y="6070"/>
                  </a:lnTo>
                  <a:lnTo>
                    <a:pt x="11377" y="4726"/>
                  </a:lnTo>
                  <a:lnTo>
                    <a:pt x="11704" y="3490"/>
                  </a:lnTo>
                  <a:lnTo>
                    <a:pt x="11922" y="2399"/>
                  </a:lnTo>
                  <a:lnTo>
                    <a:pt x="11995" y="1927"/>
                  </a:lnTo>
                  <a:lnTo>
                    <a:pt x="12031" y="1454"/>
                  </a:lnTo>
                  <a:lnTo>
                    <a:pt x="12031" y="1091"/>
                  </a:lnTo>
                  <a:lnTo>
                    <a:pt x="11995" y="764"/>
                  </a:lnTo>
                  <a:lnTo>
                    <a:pt x="11958" y="473"/>
                  </a:lnTo>
                  <a:lnTo>
                    <a:pt x="11849" y="291"/>
                  </a:lnTo>
                  <a:lnTo>
                    <a:pt x="11704" y="146"/>
                  </a:lnTo>
                  <a:lnTo>
                    <a:pt x="11595" y="110"/>
                  </a:lnTo>
                  <a:lnTo>
                    <a:pt x="11486" y="73"/>
                  </a:lnTo>
                  <a:lnTo>
                    <a:pt x="10432" y="37"/>
                  </a:lnTo>
                  <a:lnTo>
                    <a:pt x="9014" y="1"/>
                  </a:lnTo>
                  <a:close/>
                </a:path>
              </a:pathLst>
            </a:custGeom>
            <a:solidFill>
              <a:srgbClr val="9292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9" name="Google Shape;2608;p11">
              <a:extLst>
                <a:ext uri="{FF2B5EF4-FFF2-40B4-BE49-F238E27FC236}">
                  <a16:creationId xmlns:a16="http://schemas.microsoft.com/office/drawing/2014/main" id="{3436D2B3-B0F8-0A62-9465-004D50EB2372}"/>
                </a:ext>
              </a:extLst>
            </p:cNvPr>
            <p:cNvSpPr/>
            <p:nvPr/>
          </p:nvSpPr>
          <p:spPr>
            <a:xfrm>
              <a:off x="2949500" y="2637575"/>
              <a:ext cx="307150" cy="233550"/>
            </a:xfrm>
            <a:custGeom>
              <a:avLst/>
              <a:gdLst/>
              <a:ahLst/>
              <a:cxnLst/>
              <a:rect l="l" t="t" r="r" b="b"/>
              <a:pathLst>
                <a:path w="12286" h="9342" extrusionOk="0">
                  <a:moveTo>
                    <a:pt x="9414" y="1"/>
                  </a:moveTo>
                  <a:lnTo>
                    <a:pt x="9123" y="37"/>
                  </a:lnTo>
                  <a:lnTo>
                    <a:pt x="8796" y="110"/>
                  </a:lnTo>
                  <a:lnTo>
                    <a:pt x="8469" y="219"/>
                  </a:lnTo>
                  <a:lnTo>
                    <a:pt x="8178" y="364"/>
                  </a:lnTo>
                  <a:lnTo>
                    <a:pt x="7851" y="510"/>
                  </a:lnTo>
                  <a:lnTo>
                    <a:pt x="7270" y="909"/>
                  </a:lnTo>
                  <a:lnTo>
                    <a:pt x="6725" y="1346"/>
                  </a:lnTo>
                  <a:lnTo>
                    <a:pt x="6252" y="1818"/>
                  </a:lnTo>
                  <a:lnTo>
                    <a:pt x="5889" y="2218"/>
                  </a:lnTo>
                  <a:lnTo>
                    <a:pt x="5598" y="2618"/>
                  </a:lnTo>
                  <a:lnTo>
                    <a:pt x="5343" y="2945"/>
                  </a:lnTo>
                  <a:lnTo>
                    <a:pt x="5053" y="3236"/>
                  </a:lnTo>
                  <a:lnTo>
                    <a:pt x="4726" y="3454"/>
                  </a:lnTo>
                  <a:lnTo>
                    <a:pt x="4398" y="3672"/>
                  </a:lnTo>
                  <a:lnTo>
                    <a:pt x="3635" y="4035"/>
                  </a:lnTo>
                  <a:lnTo>
                    <a:pt x="2727" y="4471"/>
                  </a:lnTo>
                  <a:lnTo>
                    <a:pt x="1854" y="4980"/>
                  </a:lnTo>
                  <a:lnTo>
                    <a:pt x="1200" y="5453"/>
                  </a:lnTo>
                  <a:lnTo>
                    <a:pt x="1" y="6361"/>
                  </a:lnTo>
                  <a:lnTo>
                    <a:pt x="291" y="6870"/>
                  </a:lnTo>
                  <a:lnTo>
                    <a:pt x="946" y="7924"/>
                  </a:lnTo>
                  <a:lnTo>
                    <a:pt x="1345" y="8469"/>
                  </a:lnTo>
                  <a:lnTo>
                    <a:pt x="1709" y="8942"/>
                  </a:lnTo>
                  <a:lnTo>
                    <a:pt x="1891" y="9124"/>
                  </a:lnTo>
                  <a:lnTo>
                    <a:pt x="2072" y="9269"/>
                  </a:lnTo>
                  <a:lnTo>
                    <a:pt x="2218" y="9342"/>
                  </a:lnTo>
                  <a:lnTo>
                    <a:pt x="2363" y="9342"/>
                  </a:lnTo>
                  <a:lnTo>
                    <a:pt x="2618" y="9269"/>
                  </a:lnTo>
                  <a:lnTo>
                    <a:pt x="2945" y="9087"/>
                  </a:lnTo>
                  <a:lnTo>
                    <a:pt x="3308" y="8869"/>
                  </a:lnTo>
                  <a:lnTo>
                    <a:pt x="3708" y="8615"/>
                  </a:lnTo>
                  <a:lnTo>
                    <a:pt x="4144" y="8324"/>
                  </a:lnTo>
                  <a:lnTo>
                    <a:pt x="4544" y="7961"/>
                  </a:lnTo>
                  <a:lnTo>
                    <a:pt x="4944" y="7597"/>
                  </a:lnTo>
                  <a:lnTo>
                    <a:pt x="5307" y="7161"/>
                  </a:lnTo>
                  <a:lnTo>
                    <a:pt x="5452" y="7016"/>
                  </a:lnTo>
                  <a:lnTo>
                    <a:pt x="5598" y="6907"/>
                  </a:lnTo>
                  <a:lnTo>
                    <a:pt x="5889" y="6688"/>
                  </a:lnTo>
                  <a:lnTo>
                    <a:pt x="6252" y="6543"/>
                  </a:lnTo>
                  <a:lnTo>
                    <a:pt x="6652" y="6434"/>
                  </a:lnTo>
                  <a:lnTo>
                    <a:pt x="7088" y="6361"/>
                  </a:lnTo>
                  <a:lnTo>
                    <a:pt x="7524" y="6325"/>
                  </a:lnTo>
                  <a:lnTo>
                    <a:pt x="8396" y="6252"/>
                  </a:lnTo>
                  <a:lnTo>
                    <a:pt x="9196" y="6216"/>
                  </a:lnTo>
                  <a:lnTo>
                    <a:pt x="9523" y="6180"/>
                  </a:lnTo>
                  <a:lnTo>
                    <a:pt x="9850" y="6107"/>
                  </a:lnTo>
                  <a:lnTo>
                    <a:pt x="10068" y="6034"/>
                  </a:lnTo>
                  <a:lnTo>
                    <a:pt x="10250" y="5889"/>
                  </a:lnTo>
                  <a:lnTo>
                    <a:pt x="10323" y="5780"/>
                  </a:lnTo>
                  <a:lnTo>
                    <a:pt x="10359" y="5707"/>
                  </a:lnTo>
                  <a:lnTo>
                    <a:pt x="10359" y="5598"/>
                  </a:lnTo>
                  <a:lnTo>
                    <a:pt x="10359" y="5453"/>
                  </a:lnTo>
                  <a:lnTo>
                    <a:pt x="10323" y="5307"/>
                  </a:lnTo>
                  <a:lnTo>
                    <a:pt x="10250" y="5162"/>
                  </a:lnTo>
                  <a:lnTo>
                    <a:pt x="10105" y="4835"/>
                  </a:lnTo>
                  <a:lnTo>
                    <a:pt x="9996" y="4508"/>
                  </a:lnTo>
                  <a:lnTo>
                    <a:pt x="9959" y="4326"/>
                  </a:lnTo>
                  <a:lnTo>
                    <a:pt x="9959" y="4108"/>
                  </a:lnTo>
                  <a:lnTo>
                    <a:pt x="9996" y="3890"/>
                  </a:lnTo>
                  <a:lnTo>
                    <a:pt x="10068" y="3672"/>
                  </a:lnTo>
                  <a:lnTo>
                    <a:pt x="10214" y="3417"/>
                  </a:lnTo>
                  <a:lnTo>
                    <a:pt x="10432" y="3127"/>
                  </a:lnTo>
                  <a:lnTo>
                    <a:pt x="10723" y="2836"/>
                  </a:lnTo>
                  <a:lnTo>
                    <a:pt x="11086" y="2509"/>
                  </a:lnTo>
                  <a:lnTo>
                    <a:pt x="11559" y="2145"/>
                  </a:lnTo>
                  <a:lnTo>
                    <a:pt x="12140" y="1745"/>
                  </a:lnTo>
                  <a:lnTo>
                    <a:pt x="12249" y="1636"/>
                  </a:lnTo>
                  <a:lnTo>
                    <a:pt x="12285" y="1527"/>
                  </a:lnTo>
                  <a:lnTo>
                    <a:pt x="12285" y="1418"/>
                  </a:lnTo>
                  <a:lnTo>
                    <a:pt x="12249" y="1309"/>
                  </a:lnTo>
                  <a:lnTo>
                    <a:pt x="12176" y="1164"/>
                  </a:lnTo>
                  <a:lnTo>
                    <a:pt x="12067" y="1019"/>
                  </a:lnTo>
                  <a:lnTo>
                    <a:pt x="11740" y="764"/>
                  </a:lnTo>
                  <a:lnTo>
                    <a:pt x="11304" y="510"/>
                  </a:lnTo>
                  <a:lnTo>
                    <a:pt x="10795" y="255"/>
                  </a:lnTo>
                  <a:lnTo>
                    <a:pt x="10250" y="110"/>
                  </a:lnTo>
                  <a:lnTo>
                    <a:pt x="9741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0" name="Google Shape;2609;p11">
              <a:extLst>
                <a:ext uri="{FF2B5EF4-FFF2-40B4-BE49-F238E27FC236}">
                  <a16:creationId xmlns:a16="http://schemas.microsoft.com/office/drawing/2014/main" id="{4C8EC5C7-010C-041F-A1B4-71FB16C2F0FA}"/>
                </a:ext>
              </a:extLst>
            </p:cNvPr>
            <p:cNvSpPr/>
            <p:nvPr/>
          </p:nvSpPr>
          <p:spPr>
            <a:xfrm>
              <a:off x="2100825" y="2429500"/>
              <a:ext cx="185400" cy="313500"/>
            </a:xfrm>
            <a:custGeom>
              <a:avLst/>
              <a:gdLst/>
              <a:ahLst/>
              <a:cxnLst/>
              <a:rect l="l" t="t" r="r" b="b"/>
              <a:pathLst>
                <a:path w="7416" h="12540" extrusionOk="0">
                  <a:moveTo>
                    <a:pt x="4798" y="1"/>
                  </a:moveTo>
                  <a:lnTo>
                    <a:pt x="4435" y="291"/>
                  </a:lnTo>
                  <a:lnTo>
                    <a:pt x="4071" y="655"/>
                  </a:lnTo>
                  <a:lnTo>
                    <a:pt x="3635" y="1091"/>
                  </a:lnTo>
                  <a:lnTo>
                    <a:pt x="3163" y="1600"/>
                  </a:lnTo>
                  <a:lnTo>
                    <a:pt x="2763" y="2218"/>
                  </a:lnTo>
                  <a:lnTo>
                    <a:pt x="2581" y="2509"/>
                  </a:lnTo>
                  <a:lnTo>
                    <a:pt x="2436" y="2836"/>
                  </a:lnTo>
                  <a:lnTo>
                    <a:pt x="2290" y="3163"/>
                  </a:lnTo>
                  <a:lnTo>
                    <a:pt x="2218" y="3526"/>
                  </a:lnTo>
                  <a:lnTo>
                    <a:pt x="2145" y="3853"/>
                  </a:lnTo>
                  <a:lnTo>
                    <a:pt x="2036" y="4217"/>
                  </a:lnTo>
                  <a:lnTo>
                    <a:pt x="1745" y="5125"/>
                  </a:lnTo>
                  <a:lnTo>
                    <a:pt x="982" y="7124"/>
                  </a:lnTo>
                  <a:lnTo>
                    <a:pt x="619" y="8178"/>
                  </a:lnTo>
                  <a:lnTo>
                    <a:pt x="291" y="9196"/>
                  </a:lnTo>
                  <a:lnTo>
                    <a:pt x="146" y="9669"/>
                  </a:lnTo>
                  <a:lnTo>
                    <a:pt x="73" y="10141"/>
                  </a:lnTo>
                  <a:lnTo>
                    <a:pt x="1" y="10541"/>
                  </a:lnTo>
                  <a:lnTo>
                    <a:pt x="1" y="10904"/>
                  </a:lnTo>
                  <a:lnTo>
                    <a:pt x="4035" y="12031"/>
                  </a:lnTo>
                  <a:lnTo>
                    <a:pt x="4653" y="12213"/>
                  </a:lnTo>
                  <a:lnTo>
                    <a:pt x="5271" y="12322"/>
                  </a:lnTo>
                  <a:lnTo>
                    <a:pt x="5925" y="12467"/>
                  </a:lnTo>
                  <a:lnTo>
                    <a:pt x="6579" y="12540"/>
                  </a:lnTo>
                  <a:lnTo>
                    <a:pt x="7088" y="12540"/>
                  </a:lnTo>
                  <a:lnTo>
                    <a:pt x="7270" y="12504"/>
                  </a:lnTo>
                  <a:lnTo>
                    <a:pt x="7379" y="12395"/>
                  </a:lnTo>
                  <a:lnTo>
                    <a:pt x="7415" y="12358"/>
                  </a:lnTo>
                  <a:lnTo>
                    <a:pt x="7415" y="12286"/>
                  </a:lnTo>
                  <a:lnTo>
                    <a:pt x="7343" y="12140"/>
                  </a:lnTo>
                  <a:lnTo>
                    <a:pt x="7052" y="11668"/>
                  </a:lnTo>
                  <a:lnTo>
                    <a:pt x="6834" y="11195"/>
                  </a:lnTo>
                  <a:lnTo>
                    <a:pt x="6725" y="10759"/>
                  </a:lnTo>
                  <a:lnTo>
                    <a:pt x="6616" y="10323"/>
                  </a:lnTo>
                  <a:lnTo>
                    <a:pt x="6507" y="9487"/>
                  </a:lnTo>
                  <a:lnTo>
                    <a:pt x="6434" y="9123"/>
                  </a:lnTo>
                  <a:lnTo>
                    <a:pt x="6325" y="8796"/>
                  </a:lnTo>
                  <a:lnTo>
                    <a:pt x="6216" y="8506"/>
                  </a:lnTo>
                  <a:lnTo>
                    <a:pt x="6143" y="8178"/>
                  </a:lnTo>
                  <a:lnTo>
                    <a:pt x="6034" y="7452"/>
                  </a:lnTo>
                  <a:lnTo>
                    <a:pt x="5998" y="6688"/>
                  </a:lnTo>
                  <a:lnTo>
                    <a:pt x="5998" y="5925"/>
                  </a:lnTo>
                  <a:lnTo>
                    <a:pt x="6034" y="4689"/>
                  </a:lnTo>
                  <a:lnTo>
                    <a:pt x="6070" y="4144"/>
                  </a:lnTo>
                  <a:lnTo>
                    <a:pt x="6143" y="3853"/>
                  </a:lnTo>
                  <a:lnTo>
                    <a:pt x="4798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1" name="Google Shape;2610;p11">
              <a:extLst>
                <a:ext uri="{FF2B5EF4-FFF2-40B4-BE49-F238E27FC236}">
                  <a16:creationId xmlns:a16="http://schemas.microsoft.com/office/drawing/2014/main" id="{8A0669E6-A3ED-F38A-D33E-8A5F4BE23A4F}"/>
                </a:ext>
              </a:extLst>
            </p:cNvPr>
            <p:cNvSpPr/>
            <p:nvPr/>
          </p:nvSpPr>
          <p:spPr>
            <a:xfrm>
              <a:off x="2100825" y="2429500"/>
              <a:ext cx="185400" cy="313500"/>
            </a:xfrm>
            <a:custGeom>
              <a:avLst/>
              <a:gdLst/>
              <a:ahLst/>
              <a:cxnLst/>
              <a:rect l="l" t="t" r="r" b="b"/>
              <a:pathLst>
                <a:path w="7416" h="12540" fill="none" extrusionOk="0">
                  <a:moveTo>
                    <a:pt x="4035" y="12031"/>
                  </a:moveTo>
                  <a:lnTo>
                    <a:pt x="1" y="10904"/>
                  </a:lnTo>
                  <a:lnTo>
                    <a:pt x="1" y="10904"/>
                  </a:lnTo>
                  <a:lnTo>
                    <a:pt x="1" y="10541"/>
                  </a:lnTo>
                  <a:lnTo>
                    <a:pt x="73" y="10141"/>
                  </a:lnTo>
                  <a:lnTo>
                    <a:pt x="146" y="9669"/>
                  </a:lnTo>
                  <a:lnTo>
                    <a:pt x="291" y="9196"/>
                  </a:lnTo>
                  <a:lnTo>
                    <a:pt x="619" y="8178"/>
                  </a:lnTo>
                  <a:lnTo>
                    <a:pt x="982" y="7124"/>
                  </a:lnTo>
                  <a:lnTo>
                    <a:pt x="1745" y="5125"/>
                  </a:lnTo>
                  <a:lnTo>
                    <a:pt x="2036" y="4217"/>
                  </a:lnTo>
                  <a:lnTo>
                    <a:pt x="2145" y="3853"/>
                  </a:lnTo>
                  <a:lnTo>
                    <a:pt x="2218" y="3526"/>
                  </a:lnTo>
                  <a:lnTo>
                    <a:pt x="2218" y="3526"/>
                  </a:lnTo>
                  <a:lnTo>
                    <a:pt x="2290" y="3163"/>
                  </a:lnTo>
                  <a:lnTo>
                    <a:pt x="2436" y="2836"/>
                  </a:lnTo>
                  <a:lnTo>
                    <a:pt x="2581" y="2509"/>
                  </a:lnTo>
                  <a:lnTo>
                    <a:pt x="2763" y="2218"/>
                  </a:lnTo>
                  <a:lnTo>
                    <a:pt x="3163" y="1600"/>
                  </a:lnTo>
                  <a:lnTo>
                    <a:pt x="3635" y="1091"/>
                  </a:lnTo>
                  <a:lnTo>
                    <a:pt x="4071" y="655"/>
                  </a:lnTo>
                  <a:lnTo>
                    <a:pt x="4435" y="291"/>
                  </a:lnTo>
                  <a:lnTo>
                    <a:pt x="4798" y="1"/>
                  </a:lnTo>
                  <a:lnTo>
                    <a:pt x="6143" y="3853"/>
                  </a:lnTo>
                  <a:lnTo>
                    <a:pt x="6070" y="4144"/>
                  </a:lnTo>
                  <a:lnTo>
                    <a:pt x="6070" y="4144"/>
                  </a:lnTo>
                  <a:lnTo>
                    <a:pt x="6034" y="4689"/>
                  </a:lnTo>
                  <a:lnTo>
                    <a:pt x="5998" y="5925"/>
                  </a:lnTo>
                  <a:lnTo>
                    <a:pt x="5998" y="6688"/>
                  </a:lnTo>
                  <a:lnTo>
                    <a:pt x="6034" y="7452"/>
                  </a:lnTo>
                  <a:lnTo>
                    <a:pt x="6143" y="8178"/>
                  </a:lnTo>
                  <a:lnTo>
                    <a:pt x="6216" y="8506"/>
                  </a:lnTo>
                  <a:lnTo>
                    <a:pt x="6325" y="8796"/>
                  </a:lnTo>
                  <a:lnTo>
                    <a:pt x="6325" y="8796"/>
                  </a:lnTo>
                  <a:lnTo>
                    <a:pt x="6434" y="9123"/>
                  </a:lnTo>
                  <a:lnTo>
                    <a:pt x="6507" y="9487"/>
                  </a:lnTo>
                  <a:lnTo>
                    <a:pt x="6616" y="10323"/>
                  </a:lnTo>
                  <a:lnTo>
                    <a:pt x="6725" y="10759"/>
                  </a:lnTo>
                  <a:lnTo>
                    <a:pt x="6834" y="11195"/>
                  </a:lnTo>
                  <a:lnTo>
                    <a:pt x="7052" y="11668"/>
                  </a:lnTo>
                  <a:lnTo>
                    <a:pt x="7343" y="12140"/>
                  </a:lnTo>
                  <a:lnTo>
                    <a:pt x="7343" y="12140"/>
                  </a:lnTo>
                  <a:lnTo>
                    <a:pt x="7415" y="12286"/>
                  </a:lnTo>
                  <a:lnTo>
                    <a:pt x="7415" y="12358"/>
                  </a:lnTo>
                  <a:lnTo>
                    <a:pt x="7379" y="12395"/>
                  </a:lnTo>
                  <a:lnTo>
                    <a:pt x="7270" y="12504"/>
                  </a:lnTo>
                  <a:lnTo>
                    <a:pt x="7088" y="12540"/>
                  </a:lnTo>
                  <a:lnTo>
                    <a:pt x="6870" y="12540"/>
                  </a:lnTo>
                  <a:lnTo>
                    <a:pt x="6579" y="12540"/>
                  </a:lnTo>
                  <a:lnTo>
                    <a:pt x="5925" y="12467"/>
                  </a:lnTo>
                  <a:lnTo>
                    <a:pt x="5271" y="12322"/>
                  </a:lnTo>
                  <a:lnTo>
                    <a:pt x="4653" y="12213"/>
                  </a:lnTo>
                  <a:lnTo>
                    <a:pt x="4035" y="1203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2" name="Google Shape;2611;p11">
              <a:extLst>
                <a:ext uri="{FF2B5EF4-FFF2-40B4-BE49-F238E27FC236}">
                  <a16:creationId xmlns:a16="http://schemas.microsoft.com/office/drawing/2014/main" id="{4BBF42A0-36FA-4FD1-7991-3CE297088583}"/>
                </a:ext>
              </a:extLst>
            </p:cNvPr>
            <p:cNvSpPr/>
            <p:nvPr/>
          </p:nvSpPr>
          <p:spPr>
            <a:xfrm>
              <a:off x="2250750" y="2550350"/>
              <a:ext cx="950" cy="20025"/>
            </a:xfrm>
            <a:custGeom>
              <a:avLst/>
              <a:gdLst/>
              <a:ahLst/>
              <a:cxnLst/>
              <a:rect l="l" t="t" r="r" b="b"/>
              <a:pathLst>
                <a:path w="38" h="801" extrusionOk="0">
                  <a:moveTo>
                    <a:pt x="37" y="1"/>
                  </a:moveTo>
                  <a:lnTo>
                    <a:pt x="1" y="509"/>
                  </a:lnTo>
                  <a:lnTo>
                    <a:pt x="1" y="80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DFDF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3" name="Google Shape;2612;p11">
              <a:extLst>
                <a:ext uri="{FF2B5EF4-FFF2-40B4-BE49-F238E27FC236}">
                  <a16:creationId xmlns:a16="http://schemas.microsoft.com/office/drawing/2014/main" id="{F31FFA32-DF26-044B-5B7C-ED8CD73822AE}"/>
                </a:ext>
              </a:extLst>
            </p:cNvPr>
            <p:cNvSpPr/>
            <p:nvPr/>
          </p:nvSpPr>
          <p:spPr>
            <a:xfrm>
              <a:off x="2254400" y="26321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4" name="Google Shape;2613;p11">
              <a:extLst>
                <a:ext uri="{FF2B5EF4-FFF2-40B4-BE49-F238E27FC236}">
                  <a16:creationId xmlns:a16="http://schemas.microsoft.com/office/drawing/2014/main" id="{7164F66A-58FE-F3B2-727E-89B8E7F32D3B}"/>
                </a:ext>
              </a:extLst>
            </p:cNvPr>
            <p:cNvSpPr/>
            <p:nvPr/>
          </p:nvSpPr>
          <p:spPr>
            <a:xfrm>
              <a:off x="2250750" y="2550350"/>
              <a:ext cx="950" cy="42725"/>
            </a:xfrm>
            <a:custGeom>
              <a:avLst/>
              <a:gdLst/>
              <a:ahLst/>
              <a:cxnLst/>
              <a:rect l="l" t="t" r="r" b="b"/>
              <a:pathLst>
                <a:path w="38" h="1709" fill="none" extrusionOk="0">
                  <a:moveTo>
                    <a:pt x="37" y="1"/>
                  </a:moveTo>
                  <a:lnTo>
                    <a:pt x="37" y="1"/>
                  </a:lnTo>
                  <a:lnTo>
                    <a:pt x="1" y="800"/>
                  </a:lnTo>
                  <a:lnTo>
                    <a:pt x="1" y="1709"/>
                  </a:lnTo>
                  <a:lnTo>
                    <a:pt x="1" y="1709"/>
                  </a:lnTo>
                  <a:lnTo>
                    <a:pt x="1" y="1055"/>
                  </a:lnTo>
                  <a:lnTo>
                    <a:pt x="1" y="509"/>
                  </a:lnTo>
                  <a:lnTo>
                    <a:pt x="37" y="1"/>
                  </a:lnTo>
                  <a:lnTo>
                    <a:pt x="3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5" name="Google Shape;2614;p11">
              <a:extLst>
                <a:ext uri="{FF2B5EF4-FFF2-40B4-BE49-F238E27FC236}">
                  <a16:creationId xmlns:a16="http://schemas.microsoft.com/office/drawing/2014/main" id="{338D588B-6185-18D5-357B-18B88B309DCA}"/>
                </a:ext>
              </a:extLst>
            </p:cNvPr>
            <p:cNvSpPr/>
            <p:nvPr/>
          </p:nvSpPr>
          <p:spPr>
            <a:xfrm>
              <a:off x="2169875" y="2534900"/>
              <a:ext cx="84550" cy="103625"/>
            </a:xfrm>
            <a:custGeom>
              <a:avLst/>
              <a:gdLst/>
              <a:ahLst/>
              <a:cxnLst/>
              <a:rect l="l" t="t" r="r" b="b"/>
              <a:pathLst>
                <a:path w="3382" h="4145" extrusionOk="0">
                  <a:moveTo>
                    <a:pt x="2000" y="1"/>
                  </a:moveTo>
                  <a:lnTo>
                    <a:pt x="1237" y="546"/>
                  </a:lnTo>
                  <a:lnTo>
                    <a:pt x="619" y="1055"/>
                  </a:lnTo>
                  <a:lnTo>
                    <a:pt x="328" y="1273"/>
                  </a:lnTo>
                  <a:lnTo>
                    <a:pt x="146" y="1455"/>
                  </a:lnTo>
                  <a:lnTo>
                    <a:pt x="74" y="1600"/>
                  </a:lnTo>
                  <a:lnTo>
                    <a:pt x="1" y="1745"/>
                  </a:lnTo>
                  <a:lnTo>
                    <a:pt x="1" y="1927"/>
                  </a:lnTo>
                  <a:lnTo>
                    <a:pt x="1" y="2145"/>
                  </a:lnTo>
                  <a:lnTo>
                    <a:pt x="37" y="2363"/>
                  </a:lnTo>
                  <a:lnTo>
                    <a:pt x="110" y="2581"/>
                  </a:lnTo>
                  <a:lnTo>
                    <a:pt x="219" y="2799"/>
                  </a:lnTo>
                  <a:lnTo>
                    <a:pt x="328" y="3017"/>
                  </a:lnTo>
                  <a:lnTo>
                    <a:pt x="473" y="3272"/>
                  </a:lnTo>
                  <a:lnTo>
                    <a:pt x="655" y="3454"/>
                  </a:lnTo>
                  <a:lnTo>
                    <a:pt x="873" y="3635"/>
                  </a:lnTo>
                  <a:lnTo>
                    <a:pt x="1091" y="3817"/>
                  </a:lnTo>
                  <a:lnTo>
                    <a:pt x="1346" y="3962"/>
                  </a:lnTo>
                  <a:lnTo>
                    <a:pt x="1600" y="4071"/>
                  </a:lnTo>
                  <a:lnTo>
                    <a:pt x="1891" y="4144"/>
                  </a:lnTo>
                  <a:lnTo>
                    <a:pt x="2509" y="4144"/>
                  </a:lnTo>
                  <a:lnTo>
                    <a:pt x="2763" y="4108"/>
                  </a:lnTo>
                  <a:lnTo>
                    <a:pt x="3054" y="3999"/>
                  </a:lnTo>
                  <a:lnTo>
                    <a:pt x="3381" y="3890"/>
                  </a:lnTo>
                  <a:lnTo>
                    <a:pt x="3308" y="3526"/>
                  </a:lnTo>
                  <a:lnTo>
                    <a:pt x="3272" y="3127"/>
                  </a:lnTo>
                  <a:lnTo>
                    <a:pt x="3236" y="2327"/>
                  </a:lnTo>
                  <a:lnTo>
                    <a:pt x="3236" y="1418"/>
                  </a:lnTo>
                  <a:lnTo>
                    <a:pt x="3272" y="619"/>
                  </a:lnTo>
                  <a:lnTo>
                    <a:pt x="2000" y="1"/>
                  </a:lnTo>
                  <a:close/>
                </a:path>
              </a:pathLst>
            </a:custGeom>
            <a:solidFill>
              <a:srgbClr val="D29A9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6" name="Google Shape;2615;p11">
              <a:extLst>
                <a:ext uri="{FF2B5EF4-FFF2-40B4-BE49-F238E27FC236}">
                  <a16:creationId xmlns:a16="http://schemas.microsoft.com/office/drawing/2014/main" id="{38304C93-0715-CCC8-AB1B-F7FA3B8DD193}"/>
                </a:ext>
              </a:extLst>
            </p:cNvPr>
            <p:cNvSpPr/>
            <p:nvPr/>
          </p:nvSpPr>
          <p:spPr>
            <a:xfrm>
              <a:off x="2169875" y="2534900"/>
              <a:ext cx="84550" cy="103625"/>
            </a:xfrm>
            <a:custGeom>
              <a:avLst/>
              <a:gdLst/>
              <a:ahLst/>
              <a:cxnLst/>
              <a:rect l="l" t="t" r="r" b="b"/>
              <a:pathLst>
                <a:path w="3382" h="4145" fill="none" extrusionOk="0">
                  <a:moveTo>
                    <a:pt x="2000" y="1"/>
                  </a:moveTo>
                  <a:lnTo>
                    <a:pt x="2000" y="1"/>
                  </a:lnTo>
                  <a:lnTo>
                    <a:pt x="1237" y="546"/>
                  </a:lnTo>
                  <a:lnTo>
                    <a:pt x="619" y="1055"/>
                  </a:lnTo>
                  <a:lnTo>
                    <a:pt x="328" y="1273"/>
                  </a:lnTo>
                  <a:lnTo>
                    <a:pt x="146" y="1455"/>
                  </a:lnTo>
                  <a:lnTo>
                    <a:pt x="146" y="1455"/>
                  </a:lnTo>
                  <a:lnTo>
                    <a:pt x="74" y="1600"/>
                  </a:lnTo>
                  <a:lnTo>
                    <a:pt x="1" y="1745"/>
                  </a:lnTo>
                  <a:lnTo>
                    <a:pt x="1" y="1927"/>
                  </a:lnTo>
                  <a:lnTo>
                    <a:pt x="1" y="2145"/>
                  </a:lnTo>
                  <a:lnTo>
                    <a:pt x="37" y="2363"/>
                  </a:lnTo>
                  <a:lnTo>
                    <a:pt x="110" y="2581"/>
                  </a:lnTo>
                  <a:lnTo>
                    <a:pt x="219" y="2799"/>
                  </a:lnTo>
                  <a:lnTo>
                    <a:pt x="328" y="3017"/>
                  </a:lnTo>
                  <a:lnTo>
                    <a:pt x="473" y="3272"/>
                  </a:lnTo>
                  <a:lnTo>
                    <a:pt x="655" y="3454"/>
                  </a:lnTo>
                  <a:lnTo>
                    <a:pt x="873" y="3635"/>
                  </a:lnTo>
                  <a:lnTo>
                    <a:pt x="1091" y="3817"/>
                  </a:lnTo>
                  <a:lnTo>
                    <a:pt x="1346" y="3962"/>
                  </a:lnTo>
                  <a:lnTo>
                    <a:pt x="1600" y="4071"/>
                  </a:lnTo>
                  <a:lnTo>
                    <a:pt x="1891" y="4144"/>
                  </a:lnTo>
                  <a:lnTo>
                    <a:pt x="2218" y="4144"/>
                  </a:lnTo>
                  <a:lnTo>
                    <a:pt x="2218" y="4144"/>
                  </a:lnTo>
                  <a:lnTo>
                    <a:pt x="2509" y="4144"/>
                  </a:lnTo>
                  <a:lnTo>
                    <a:pt x="2763" y="4108"/>
                  </a:lnTo>
                  <a:lnTo>
                    <a:pt x="3054" y="3999"/>
                  </a:lnTo>
                  <a:lnTo>
                    <a:pt x="3381" y="3890"/>
                  </a:lnTo>
                  <a:lnTo>
                    <a:pt x="3381" y="3890"/>
                  </a:lnTo>
                  <a:lnTo>
                    <a:pt x="3381" y="3890"/>
                  </a:lnTo>
                  <a:lnTo>
                    <a:pt x="3381" y="3890"/>
                  </a:lnTo>
                  <a:lnTo>
                    <a:pt x="3308" y="3526"/>
                  </a:lnTo>
                  <a:lnTo>
                    <a:pt x="3272" y="3127"/>
                  </a:lnTo>
                  <a:lnTo>
                    <a:pt x="3236" y="2327"/>
                  </a:lnTo>
                  <a:lnTo>
                    <a:pt x="3236" y="2327"/>
                  </a:lnTo>
                  <a:lnTo>
                    <a:pt x="3236" y="1418"/>
                  </a:lnTo>
                  <a:lnTo>
                    <a:pt x="3272" y="619"/>
                  </a:lnTo>
                  <a:lnTo>
                    <a:pt x="200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7" name="Google Shape;2616;p11">
              <a:extLst>
                <a:ext uri="{FF2B5EF4-FFF2-40B4-BE49-F238E27FC236}">
                  <a16:creationId xmlns:a16="http://schemas.microsoft.com/office/drawing/2014/main" id="{329FE634-73C1-DA5C-ADBF-100336127A82}"/>
                </a:ext>
              </a:extLst>
            </p:cNvPr>
            <p:cNvSpPr/>
            <p:nvPr/>
          </p:nvSpPr>
          <p:spPr>
            <a:xfrm>
              <a:off x="2107200" y="2365000"/>
              <a:ext cx="227175" cy="199000"/>
            </a:xfrm>
            <a:custGeom>
              <a:avLst/>
              <a:gdLst/>
              <a:ahLst/>
              <a:cxnLst/>
              <a:rect l="l" t="t" r="r" b="b"/>
              <a:pathLst>
                <a:path w="9087" h="7960" extrusionOk="0">
                  <a:moveTo>
                    <a:pt x="5924" y="0"/>
                  </a:moveTo>
                  <a:lnTo>
                    <a:pt x="0" y="2435"/>
                  </a:lnTo>
                  <a:lnTo>
                    <a:pt x="218" y="2980"/>
                  </a:lnTo>
                  <a:lnTo>
                    <a:pt x="727" y="4289"/>
                  </a:lnTo>
                  <a:lnTo>
                    <a:pt x="1018" y="5052"/>
                  </a:lnTo>
                  <a:lnTo>
                    <a:pt x="1381" y="5779"/>
                  </a:lnTo>
                  <a:lnTo>
                    <a:pt x="1708" y="6433"/>
                  </a:lnTo>
                  <a:lnTo>
                    <a:pt x="2035" y="6942"/>
                  </a:lnTo>
                  <a:lnTo>
                    <a:pt x="2217" y="7124"/>
                  </a:lnTo>
                  <a:lnTo>
                    <a:pt x="2472" y="7306"/>
                  </a:lnTo>
                  <a:lnTo>
                    <a:pt x="2762" y="7451"/>
                  </a:lnTo>
                  <a:lnTo>
                    <a:pt x="3090" y="7596"/>
                  </a:lnTo>
                  <a:lnTo>
                    <a:pt x="3489" y="7705"/>
                  </a:lnTo>
                  <a:lnTo>
                    <a:pt x="3889" y="7814"/>
                  </a:lnTo>
                  <a:lnTo>
                    <a:pt x="4325" y="7887"/>
                  </a:lnTo>
                  <a:lnTo>
                    <a:pt x="4798" y="7923"/>
                  </a:lnTo>
                  <a:lnTo>
                    <a:pt x="5307" y="7960"/>
                  </a:lnTo>
                  <a:lnTo>
                    <a:pt x="5815" y="7923"/>
                  </a:lnTo>
                  <a:lnTo>
                    <a:pt x="6324" y="7923"/>
                  </a:lnTo>
                  <a:lnTo>
                    <a:pt x="6833" y="7851"/>
                  </a:lnTo>
                  <a:lnTo>
                    <a:pt x="7342" y="7742"/>
                  </a:lnTo>
                  <a:lnTo>
                    <a:pt x="7851" y="7633"/>
                  </a:lnTo>
                  <a:lnTo>
                    <a:pt x="8360" y="7451"/>
                  </a:lnTo>
                  <a:lnTo>
                    <a:pt x="8832" y="7269"/>
                  </a:lnTo>
                  <a:lnTo>
                    <a:pt x="8978" y="7160"/>
                  </a:lnTo>
                  <a:lnTo>
                    <a:pt x="9050" y="7015"/>
                  </a:lnTo>
                  <a:lnTo>
                    <a:pt x="9087" y="6833"/>
                  </a:lnTo>
                  <a:lnTo>
                    <a:pt x="9050" y="6615"/>
                  </a:lnTo>
                  <a:lnTo>
                    <a:pt x="8978" y="6361"/>
                  </a:lnTo>
                  <a:lnTo>
                    <a:pt x="8868" y="6106"/>
                  </a:lnTo>
                  <a:lnTo>
                    <a:pt x="8614" y="5561"/>
                  </a:lnTo>
                  <a:lnTo>
                    <a:pt x="8360" y="5016"/>
                  </a:lnTo>
                  <a:lnTo>
                    <a:pt x="8251" y="4761"/>
                  </a:lnTo>
                  <a:lnTo>
                    <a:pt x="8142" y="4507"/>
                  </a:lnTo>
                  <a:lnTo>
                    <a:pt x="8105" y="4289"/>
                  </a:lnTo>
                  <a:lnTo>
                    <a:pt x="8142" y="4107"/>
                  </a:lnTo>
                  <a:lnTo>
                    <a:pt x="8214" y="3962"/>
                  </a:lnTo>
                  <a:lnTo>
                    <a:pt x="8360" y="3889"/>
                  </a:lnTo>
                  <a:lnTo>
                    <a:pt x="8505" y="3780"/>
                  </a:lnTo>
                  <a:lnTo>
                    <a:pt x="8541" y="3635"/>
                  </a:lnTo>
                  <a:lnTo>
                    <a:pt x="8541" y="3489"/>
                  </a:lnTo>
                  <a:lnTo>
                    <a:pt x="8469" y="3308"/>
                  </a:lnTo>
                  <a:lnTo>
                    <a:pt x="8360" y="3090"/>
                  </a:lnTo>
                  <a:lnTo>
                    <a:pt x="8214" y="2835"/>
                  </a:lnTo>
                  <a:lnTo>
                    <a:pt x="7778" y="2290"/>
                  </a:lnTo>
                  <a:lnTo>
                    <a:pt x="6760" y="1127"/>
                  </a:lnTo>
                  <a:lnTo>
                    <a:pt x="6288" y="545"/>
                  </a:lnTo>
                  <a:lnTo>
                    <a:pt x="6106" y="255"/>
                  </a:lnTo>
                  <a:lnTo>
                    <a:pt x="5924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8" name="Google Shape;2617;p11">
              <a:extLst>
                <a:ext uri="{FF2B5EF4-FFF2-40B4-BE49-F238E27FC236}">
                  <a16:creationId xmlns:a16="http://schemas.microsoft.com/office/drawing/2014/main" id="{F7FF2300-29C6-11FE-0B00-39C574EED5ED}"/>
                </a:ext>
              </a:extLst>
            </p:cNvPr>
            <p:cNvSpPr/>
            <p:nvPr/>
          </p:nvSpPr>
          <p:spPr>
            <a:xfrm>
              <a:off x="2053575" y="2290475"/>
              <a:ext cx="233550" cy="253550"/>
            </a:xfrm>
            <a:custGeom>
              <a:avLst/>
              <a:gdLst/>
              <a:ahLst/>
              <a:cxnLst/>
              <a:rect l="l" t="t" r="r" b="b"/>
              <a:pathLst>
                <a:path w="9342" h="10142" extrusionOk="0">
                  <a:moveTo>
                    <a:pt x="8179" y="1"/>
                  </a:moveTo>
                  <a:lnTo>
                    <a:pt x="7997" y="37"/>
                  </a:lnTo>
                  <a:lnTo>
                    <a:pt x="7779" y="73"/>
                  </a:lnTo>
                  <a:lnTo>
                    <a:pt x="7597" y="110"/>
                  </a:lnTo>
                  <a:lnTo>
                    <a:pt x="7197" y="292"/>
                  </a:lnTo>
                  <a:lnTo>
                    <a:pt x="6834" y="546"/>
                  </a:lnTo>
                  <a:lnTo>
                    <a:pt x="6470" y="764"/>
                  </a:lnTo>
                  <a:lnTo>
                    <a:pt x="6361" y="800"/>
                  </a:lnTo>
                  <a:lnTo>
                    <a:pt x="6252" y="837"/>
                  </a:lnTo>
                  <a:lnTo>
                    <a:pt x="6143" y="837"/>
                  </a:lnTo>
                  <a:lnTo>
                    <a:pt x="6034" y="800"/>
                  </a:lnTo>
                  <a:lnTo>
                    <a:pt x="5780" y="691"/>
                  </a:lnTo>
                  <a:lnTo>
                    <a:pt x="5525" y="546"/>
                  </a:lnTo>
                  <a:lnTo>
                    <a:pt x="5198" y="401"/>
                  </a:lnTo>
                  <a:lnTo>
                    <a:pt x="4871" y="328"/>
                  </a:lnTo>
                  <a:lnTo>
                    <a:pt x="4689" y="292"/>
                  </a:lnTo>
                  <a:lnTo>
                    <a:pt x="4471" y="328"/>
                  </a:lnTo>
                  <a:lnTo>
                    <a:pt x="4290" y="364"/>
                  </a:lnTo>
                  <a:lnTo>
                    <a:pt x="4071" y="437"/>
                  </a:lnTo>
                  <a:lnTo>
                    <a:pt x="3781" y="619"/>
                  </a:lnTo>
                  <a:lnTo>
                    <a:pt x="3563" y="800"/>
                  </a:lnTo>
                  <a:lnTo>
                    <a:pt x="3417" y="982"/>
                  </a:lnTo>
                  <a:lnTo>
                    <a:pt x="3345" y="1127"/>
                  </a:lnTo>
                  <a:lnTo>
                    <a:pt x="3236" y="1309"/>
                  </a:lnTo>
                  <a:lnTo>
                    <a:pt x="3090" y="1491"/>
                  </a:lnTo>
                  <a:lnTo>
                    <a:pt x="2945" y="1673"/>
                  </a:lnTo>
                  <a:lnTo>
                    <a:pt x="2690" y="1818"/>
                  </a:lnTo>
                  <a:lnTo>
                    <a:pt x="2472" y="1891"/>
                  </a:lnTo>
                  <a:lnTo>
                    <a:pt x="2181" y="1927"/>
                  </a:lnTo>
                  <a:lnTo>
                    <a:pt x="1527" y="1963"/>
                  </a:lnTo>
                  <a:lnTo>
                    <a:pt x="1164" y="2000"/>
                  </a:lnTo>
                  <a:lnTo>
                    <a:pt x="837" y="2109"/>
                  </a:lnTo>
                  <a:lnTo>
                    <a:pt x="691" y="2182"/>
                  </a:lnTo>
                  <a:lnTo>
                    <a:pt x="546" y="2291"/>
                  </a:lnTo>
                  <a:lnTo>
                    <a:pt x="437" y="2436"/>
                  </a:lnTo>
                  <a:lnTo>
                    <a:pt x="328" y="2581"/>
                  </a:lnTo>
                  <a:lnTo>
                    <a:pt x="146" y="2908"/>
                  </a:lnTo>
                  <a:lnTo>
                    <a:pt x="73" y="3199"/>
                  </a:lnTo>
                  <a:lnTo>
                    <a:pt x="1" y="3490"/>
                  </a:lnTo>
                  <a:lnTo>
                    <a:pt x="1" y="3781"/>
                  </a:lnTo>
                  <a:lnTo>
                    <a:pt x="37" y="4035"/>
                  </a:lnTo>
                  <a:lnTo>
                    <a:pt x="73" y="4290"/>
                  </a:lnTo>
                  <a:lnTo>
                    <a:pt x="255" y="4762"/>
                  </a:lnTo>
                  <a:lnTo>
                    <a:pt x="401" y="5271"/>
                  </a:lnTo>
                  <a:lnTo>
                    <a:pt x="473" y="5525"/>
                  </a:lnTo>
                  <a:lnTo>
                    <a:pt x="546" y="5780"/>
                  </a:lnTo>
                  <a:lnTo>
                    <a:pt x="546" y="6034"/>
                  </a:lnTo>
                  <a:lnTo>
                    <a:pt x="546" y="6325"/>
                  </a:lnTo>
                  <a:lnTo>
                    <a:pt x="473" y="6616"/>
                  </a:lnTo>
                  <a:lnTo>
                    <a:pt x="364" y="6943"/>
                  </a:lnTo>
                  <a:lnTo>
                    <a:pt x="328" y="7125"/>
                  </a:lnTo>
                  <a:lnTo>
                    <a:pt x="292" y="7306"/>
                  </a:lnTo>
                  <a:lnTo>
                    <a:pt x="292" y="7488"/>
                  </a:lnTo>
                  <a:lnTo>
                    <a:pt x="292" y="7670"/>
                  </a:lnTo>
                  <a:lnTo>
                    <a:pt x="328" y="7851"/>
                  </a:lnTo>
                  <a:lnTo>
                    <a:pt x="401" y="7997"/>
                  </a:lnTo>
                  <a:lnTo>
                    <a:pt x="619" y="8360"/>
                  </a:lnTo>
                  <a:lnTo>
                    <a:pt x="873" y="8651"/>
                  </a:lnTo>
                  <a:lnTo>
                    <a:pt x="1200" y="8942"/>
                  </a:lnTo>
                  <a:lnTo>
                    <a:pt x="1564" y="9196"/>
                  </a:lnTo>
                  <a:lnTo>
                    <a:pt x="1927" y="9451"/>
                  </a:lnTo>
                  <a:lnTo>
                    <a:pt x="2327" y="9632"/>
                  </a:lnTo>
                  <a:lnTo>
                    <a:pt x="2727" y="9814"/>
                  </a:lnTo>
                  <a:lnTo>
                    <a:pt x="3126" y="9960"/>
                  </a:lnTo>
                  <a:lnTo>
                    <a:pt x="3454" y="10069"/>
                  </a:lnTo>
                  <a:lnTo>
                    <a:pt x="3781" y="10141"/>
                  </a:lnTo>
                  <a:lnTo>
                    <a:pt x="4217" y="10141"/>
                  </a:lnTo>
                  <a:lnTo>
                    <a:pt x="4253" y="10105"/>
                  </a:lnTo>
                  <a:lnTo>
                    <a:pt x="4290" y="10069"/>
                  </a:lnTo>
                  <a:lnTo>
                    <a:pt x="4326" y="9923"/>
                  </a:lnTo>
                  <a:lnTo>
                    <a:pt x="4326" y="9814"/>
                  </a:lnTo>
                  <a:lnTo>
                    <a:pt x="4253" y="9487"/>
                  </a:lnTo>
                  <a:lnTo>
                    <a:pt x="4108" y="9196"/>
                  </a:lnTo>
                  <a:lnTo>
                    <a:pt x="3926" y="8869"/>
                  </a:lnTo>
                  <a:lnTo>
                    <a:pt x="3781" y="8542"/>
                  </a:lnTo>
                  <a:lnTo>
                    <a:pt x="3635" y="8215"/>
                  </a:lnTo>
                  <a:lnTo>
                    <a:pt x="3563" y="7960"/>
                  </a:lnTo>
                  <a:lnTo>
                    <a:pt x="3563" y="7815"/>
                  </a:lnTo>
                  <a:lnTo>
                    <a:pt x="3635" y="7706"/>
                  </a:lnTo>
                  <a:lnTo>
                    <a:pt x="3781" y="7488"/>
                  </a:lnTo>
                  <a:lnTo>
                    <a:pt x="3962" y="7343"/>
                  </a:lnTo>
                  <a:lnTo>
                    <a:pt x="4108" y="7306"/>
                  </a:lnTo>
                  <a:lnTo>
                    <a:pt x="4290" y="7343"/>
                  </a:lnTo>
                  <a:lnTo>
                    <a:pt x="4471" y="7415"/>
                  </a:lnTo>
                  <a:lnTo>
                    <a:pt x="4689" y="7524"/>
                  </a:lnTo>
                  <a:lnTo>
                    <a:pt x="4907" y="7633"/>
                  </a:lnTo>
                  <a:lnTo>
                    <a:pt x="5198" y="7779"/>
                  </a:lnTo>
                  <a:lnTo>
                    <a:pt x="5525" y="7851"/>
                  </a:lnTo>
                  <a:lnTo>
                    <a:pt x="5852" y="7888"/>
                  </a:lnTo>
                  <a:lnTo>
                    <a:pt x="6143" y="7815"/>
                  </a:lnTo>
                  <a:lnTo>
                    <a:pt x="6361" y="7742"/>
                  </a:lnTo>
                  <a:lnTo>
                    <a:pt x="6434" y="7670"/>
                  </a:lnTo>
                  <a:lnTo>
                    <a:pt x="6507" y="7561"/>
                  </a:lnTo>
                  <a:lnTo>
                    <a:pt x="6507" y="7488"/>
                  </a:lnTo>
                  <a:lnTo>
                    <a:pt x="6507" y="7379"/>
                  </a:lnTo>
                  <a:lnTo>
                    <a:pt x="6434" y="7270"/>
                  </a:lnTo>
                  <a:lnTo>
                    <a:pt x="6361" y="7125"/>
                  </a:lnTo>
                  <a:lnTo>
                    <a:pt x="6216" y="6979"/>
                  </a:lnTo>
                  <a:lnTo>
                    <a:pt x="5998" y="6834"/>
                  </a:lnTo>
                  <a:lnTo>
                    <a:pt x="5634" y="6543"/>
                  </a:lnTo>
                  <a:lnTo>
                    <a:pt x="5416" y="6325"/>
                  </a:lnTo>
                  <a:lnTo>
                    <a:pt x="5344" y="6216"/>
                  </a:lnTo>
                  <a:lnTo>
                    <a:pt x="5307" y="6107"/>
                  </a:lnTo>
                  <a:lnTo>
                    <a:pt x="5307" y="5998"/>
                  </a:lnTo>
                  <a:lnTo>
                    <a:pt x="5307" y="5925"/>
                  </a:lnTo>
                  <a:lnTo>
                    <a:pt x="5416" y="5743"/>
                  </a:lnTo>
                  <a:lnTo>
                    <a:pt x="5598" y="5634"/>
                  </a:lnTo>
                  <a:lnTo>
                    <a:pt x="5816" y="5525"/>
                  </a:lnTo>
                  <a:lnTo>
                    <a:pt x="6070" y="5416"/>
                  </a:lnTo>
                  <a:lnTo>
                    <a:pt x="6579" y="5307"/>
                  </a:lnTo>
                  <a:lnTo>
                    <a:pt x="6906" y="5235"/>
                  </a:lnTo>
                  <a:lnTo>
                    <a:pt x="7052" y="5198"/>
                  </a:lnTo>
                  <a:lnTo>
                    <a:pt x="7161" y="5126"/>
                  </a:lnTo>
                  <a:lnTo>
                    <a:pt x="7306" y="5016"/>
                  </a:lnTo>
                  <a:lnTo>
                    <a:pt x="7452" y="4871"/>
                  </a:lnTo>
                  <a:lnTo>
                    <a:pt x="7524" y="4762"/>
                  </a:lnTo>
                  <a:lnTo>
                    <a:pt x="7524" y="4689"/>
                  </a:lnTo>
                  <a:lnTo>
                    <a:pt x="7524" y="4617"/>
                  </a:lnTo>
                  <a:lnTo>
                    <a:pt x="7524" y="4508"/>
                  </a:lnTo>
                  <a:lnTo>
                    <a:pt x="7415" y="4362"/>
                  </a:lnTo>
                  <a:lnTo>
                    <a:pt x="7306" y="4181"/>
                  </a:lnTo>
                  <a:lnTo>
                    <a:pt x="7234" y="3999"/>
                  </a:lnTo>
                  <a:lnTo>
                    <a:pt x="7234" y="3926"/>
                  </a:lnTo>
                  <a:lnTo>
                    <a:pt x="7234" y="3817"/>
                  </a:lnTo>
                  <a:lnTo>
                    <a:pt x="7270" y="3708"/>
                  </a:lnTo>
                  <a:lnTo>
                    <a:pt x="7306" y="3635"/>
                  </a:lnTo>
                  <a:lnTo>
                    <a:pt x="7415" y="3526"/>
                  </a:lnTo>
                  <a:lnTo>
                    <a:pt x="7597" y="3417"/>
                  </a:lnTo>
                  <a:lnTo>
                    <a:pt x="8288" y="2945"/>
                  </a:lnTo>
                  <a:lnTo>
                    <a:pt x="8651" y="2727"/>
                  </a:lnTo>
                  <a:lnTo>
                    <a:pt x="8942" y="2472"/>
                  </a:lnTo>
                  <a:lnTo>
                    <a:pt x="9160" y="2182"/>
                  </a:lnTo>
                  <a:lnTo>
                    <a:pt x="9233" y="2000"/>
                  </a:lnTo>
                  <a:lnTo>
                    <a:pt x="9305" y="1854"/>
                  </a:lnTo>
                  <a:lnTo>
                    <a:pt x="9342" y="1673"/>
                  </a:lnTo>
                  <a:lnTo>
                    <a:pt x="9342" y="1491"/>
                  </a:lnTo>
                  <a:lnTo>
                    <a:pt x="9342" y="1273"/>
                  </a:lnTo>
                  <a:lnTo>
                    <a:pt x="9269" y="1055"/>
                  </a:lnTo>
                  <a:lnTo>
                    <a:pt x="9160" y="728"/>
                  </a:lnTo>
                  <a:lnTo>
                    <a:pt x="9014" y="510"/>
                  </a:lnTo>
                  <a:lnTo>
                    <a:pt x="8869" y="328"/>
                  </a:lnTo>
                  <a:lnTo>
                    <a:pt x="8724" y="183"/>
                  </a:lnTo>
                  <a:lnTo>
                    <a:pt x="8542" y="73"/>
                  </a:lnTo>
                  <a:lnTo>
                    <a:pt x="8360" y="37"/>
                  </a:lnTo>
                  <a:lnTo>
                    <a:pt x="8179" y="1"/>
                  </a:lnTo>
                  <a:close/>
                </a:path>
              </a:pathLst>
            </a:custGeom>
            <a:solidFill>
              <a:srgbClr val="6A433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9" name="Google Shape;2618;p11">
              <a:extLst>
                <a:ext uri="{FF2B5EF4-FFF2-40B4-BE49-F238E27FC236}">
                  <a16:creationId xmlns:a16="http://schemas.microsoft.com/office/drawing/2014/main" id="{6A621FA1-54FD-3471-7CC5-F20AF4790BC5}"/>
                </a:ext>
              </a:extLst>
            </p:cNvPr>
            <p:cNvSpPr/>
            <p:nvPr/>
          </p:nvSpPr>
          <p:spPr>
            <a:xfrm>
              <a:off x="2349800" y="5113625"/>
              <a:ext cx="125425" cy="226275"/>
            </a:xfrm>
            <a:custGeom>
              <a:avLst/>
              <a:gdLst/>
              <a:ahLst/>
              <a:cxnLst/>
              <a:rect l="l" t="t" r="r" b="b"/>
              <a:pathLst>
                <a:path w="5017" h="9051" extrusionOk="0">
                  <a:moveTo>
                    <a:pt x="0" y="1"/>
                  </a:moveTo>
                  <a:lnTo>
                    <a:pt x="255" y="6870"/>
                  </a:lnTo>
                  <a:lnTo>
                    <a:pt x="3562" y="9051"/>
                  </a:lnTo>
                  <a:lnTo>
                    <a:pt x="4907" y="6543"/>
                  </a:lnTo>
                  <a:lnTo>
                    <a:pt x="4980" y="5780"/>
                  </a:lnTo>
                  <a:lnTo>
                    <a:pt x="5016" y="4799"/>
                  </a:lnTo>
                  <a:lnTo>
                    <a:pt x="5016" y="2690"/>
                  </a:lnTo>
                  <a:lnTo>
                    <a:pt x="4980" y="18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0" name="Google Shape;2619;p11">
              <a:extLst>
                <a:ext uri="{FF2B5EF4-FFF2-40B4-BE49-F238E27FC236}">
                  <a16:creationId xmlns:a16="http://schemas.microsoft.com/office/drawing/2014/main" id="{6FA6AA0C-162E-9630-301D-1B5E36AA7B4A}"/>
                </a:ext>
              </a:extLst>
            </p:cNvPr>
            <p:cNvSpPr/>
            <p:nvPr/>
          </p:nvSpPr>
          <p:spPr>
            <a:xfrm>
              <a:off x="2340700" y="5235400"/>
              <a:ext cx="368950" cy="162675"/>
            </a:xfrm>
            <a:custGeom>
              <a:avLst/>
              <a:gdLst/>
              <a:ahLst/>
              <a:cxnLst/>
              <a:rect l="l" t="t" r="r" b="b"/>
              <a:pathLst>
                <a:path w="14758" h="6507" extrusionOk="0">
                  <a:moveTo>
                    <a:pt x="510" y="0"/>
                  </a:moveTo>
                  <a:lnTo>
                    <a:pt x="364" y="37"/>
                  </a:lnTo>
                  <a:lnTo>
                    <a:pt x="292" y="182"/>
                  </a:lnTo>
                  <a:lnTo>
                    <a:pt x="183" y="400"/>
                  </a:lnTo>
                  <a:lnTo>
                    <a:pt x="110" y="654"/>
                  </a:lnTo>
                  <a:lnTo>
                    <a:pt x="37" y="1381"/>
                  </a:lnTo>
                  <a:lnTo>
                    <a:pt x="1" y="2217"/>
                  </a:lnTo>
                  <a:lnTo>
                    <a:pt x="1" y="3126"/>
                  </a:lnTo>
                  <a:lnTo>
                    <a:pt x="74" y="4071"/>
                  </a:lnTo>
                  <a:lnTo>
                    <a:pt x="146" y="4943"/>
                  </a:lnTo>
                  <a:lnTo>
                    <a:pt x="292" y="5634"/>
                  </a:lnTo>
                  <a:lnTo>
                    <a:pt x="364" y="5816"/>
                  </a:lnTo>
                  <a:lnTo>
                    <a:pt x="437" y="5961"/>
                  </a:lnTo>
                  <a:lnTo>
                    <a:pt x="546" y="6106"/>
                  </a:lnTo>
                  <a:lnTo>
                    <a:pt x="692" y="6215"/>
                  </a:lnTo>
                  <a:lnTo>
                    <a:pt x="837" y="6324"/>
                  </a:lnTo>
                  <a:lnTo>
                    <a:pt x="1019" y="6397"/>
                  </a:lnTo>
                  <a:lnTo>
                    <a:pt x="1200" y="6433"/>
                  </a:lnTo>
                  <a:lnTo>
                    <a:pt x="1382" y="6433"/>
                  </a:lnTo>
                  <a:lnTo>
                    <a:pt x="7270" y="6470"/>
                  </a:lnTo>
                  <a:lnTo>
                    <a:pt x="13013" y="6506"/>
                  </a:lnTo>
                  <a:lnTo>
                    <a:pt x="13449" y="6470"/>
                  </a:lnTo>
                  <a:lnTo>
                    <a:pt x="13812" y="6397"/>
                  </a:lnTo>
                  <a:lnTo>
                    <a:pt x="14103" y="6252"/>
                  </a:lnTo>
                  <a:lnTo>
                    <a:pt x="14358" y="6106"/>
                  </a:lnTo>
                  <a:lnTo>
                    <a:pt x="14539" y="5888"/>
                  </a:lnTo>
                  <a:lnTo>
                    <a:pt x="14648" y="5706"/>
                  </a:lnTo>
                  <a:lnTo>
                    <a:pt x="14721" y="5452"/>
                  </a:lnTo>
                  <a:lnTo>
                    <a:pt x="14757" y="5234"/>
                  </a:lnTo>
                  <a:lnTo>
                    <a:pt x="14757" y="4980"/>
                  </a:lnTo>
                  <a:lnTo>
                    <a:pt x="14721" y="4725"/>
                  </a:lnTo>
                  <a:lnTo>
                    <a:pt x="14685" y="4507"/>
                  </a:lnTo>
                  <a:lnTo>
                    <a:pt x="14612" y="4325"/>
                  </a:lnTo>
                  <a:lnTo>
                    <a:pt x="14539" y="4144"/>
                  </a:lnTo>
                  <a:lnTo>
                    <a:pt x="14430" y="3998"/>
                  </a:lnTo>
                  <a:lnTo>
                    <a:pt x="14321" y="3926"/>
                  </a:lnTo>
                  <a:lnTo>
                    <a:pt x="14212" y="3889"/>
                  </a:lnTo>
                  <a:lnTo>
                    <a:pt x="12795" y="3707"/>
                  </a:lnTo>
                  <a:lnTo>
                    <a:pt x="11704" y="3598"/>
                  </a:lnTo>
                  <a:lnTo>
                    <a:pt x="10541" y="3417"/>
                  </a:lnTo>
                  <a:lnTo>
                    <a:pt x="9960" y="3308"/>
                  </a:lnTo>
                  <a:lnTo>
                    <a:pt x="9378" y="3162"/>
                  </a:lnTo>
                  <a:lnTo>
                    <a:pt x="8869" y="2981"/>
                  </a:lnTo>
                  <a:lnTo>
                    <a:pt x="8360" y="2799"/>
                  </a:lnTo>
                  <a:lnTo>
                    <a:pt x="7961" y="2581"/>
                  </a:lnTo>
                  <a:lnTo>
                    <a:pt x="7634" y="2363"/>
                  </a:lnTo>
                  <a:lnTo>
                    <a:pt x="7488" y="2217"/>
                  </a:lnTo>
                  <a:lnTo>
                    <a:pt x="7379" y="2072"/>
                  </a:lnTo>
                  <a:lnTo>
                    <a:pt x="7306" y="1927"/>
                  </a:lnTo>
                  <a:lnTo>
                    <a:pt x="7234" y="1781"/>
                  </a:lnTo>
                  <a:lnTo>
                    <a:pt x="7125" y="1454"/>
                  </a:lnTo>
                  <a:lnTo>
                    <a:pt x="6979" y="1163"/>
                  </a:lnTo>
                  <a:lnTo>
                    <a:pt x="6761" y="836"/>
                  </a:lnTo>
                  <a:lnTo>
                    <a:pt x="6543" y="582"/>
                  </a:lnTo>
                  <a:lnTo>
                    <a:pt x="6325" y="364"/>
                  </a:lnTo>
                  <a:lnTo>
                    <a:pt x="6071" y="218"/>
                  </a:lnTo>
                  <a:lnTo>
                    <a:pt x="5962" y="146"/>
                  </a:lnTo>
                  <a:lnTo>
                    <a:pt x="5780" y="146"/>
                  </a:lnTo>
                  <a:lnTo>
                    <a:pt x="5707" y="218"/>
                  </a:lnTo>
                  <a:lnTo>
                    <a:pt x="5380" y="400"/>
                  </a:lnTo>
                  <a:lnTo>
                    <a:pt x="5053" y="545"/>
                  </a:lnTo>
                  <a:lnTo>
                    <a:pt x="4690" y="654"/>
                  </a:lnTo>
                  <a:lnTo>
                    <a:pt x="4326" y="727"/>
                  </a:lnTo>
                  <a:lnTo>
                    <a:pt x="3563" y="727"/>
                  </a:lnTo>
                  <a:lnTo>
                    <a:pt x="3199" y="691"/>
                  </a:lnTo>
                  <a:lnTo>
                    <a:pt x="2836" y="618"/>
                  </a:lnTo>
                  <a:lnTo>
                    <a:pt x="2109" y="473"/>
                  </a:lnTo>
                  <a:lnTo>
                    <a:pt x="1455" y="291"/>
                  </a:lnTo>
                  <a:lnTo>
                    <a:pt x="910" y="109"/>
                  </a:lnTo>
                  <a:lnTo>
                    <a:pt x="5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1" name="Google Shape;2620;p11">
              <a:extLst>
                <a:ext uri="{FF2B5EF4-FFF2-40B4-BE49-F238E27FC236}">
                  <a16:creationId xmlns:a16="http://schemas.microsoft.com/office/drawing/2014/main" id="{44CD8CAB-652D-1DDD-600F-65F4164218A7}"/>
                </a:ext>
              </a:extLst>
            </p:cNvPr>
            <p:cNvSpPr/>
            <p:nvPr/>
          </p:nvSpPr>
          <p:spPr>
            <a:xfrm>
              <a:off x="1871850" y="5113625"/>
              <a:ext cx="125425" cy="227200"/>
            </a:xfrm>
            <a:custGeom>
              <a:avLst/>
              <a:gdLst/>
              <a:ahLst/>
              <a:cxnLst/>
              <a:rect l="l" t="t" r="r" b="b"/>
              <a:pathLst>
                <a:path w="5017" h="9088" extrusionOk="0">
                  <a:moveTo>
                    <a:pt x="1" y="1"/>
                  </a:moveTo>
                  <a:lnTo>
                    <a:pt x="255" y="6870"/>
                  </a:lnTo>
                  <a:lnTo>
                    <a:pt x="3526" y="9087"/>
                  </a:lnTo>
                  <a:lnTo>
                    <a:pt x="4907" y="6579"/>
                  </a:lnTo>
                  <a:lnTo>
                    <a:pt x="4980" y="5780"/>
                  </a:lnTo>
                  <a:lnTo>
                    <a:pt x="5016" y="4835"/>
                  </a:lnTo>
                  <a:lnTo>
                    <a:pt x="5016" y="2727"/>
                  </a:lnTo>
                  <a:lnTo>
                    <a:pt x="4980" y="21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2" name="Google Shape;2621;p11">
              <a:extLst>
                <a:ext uri="{FF2B5EF4-FFF2-40B4-BE49-F238E27FC236}">
                  <a16:creationId xmlns:a16="http://schemas.microsoft.com/office/drawing/2014/main" id="{BD5A8DC3-EBE0-7372-5529-930DAEDDF914}"/>
                </a:ext>
              </a:extLst>
            </p:cNvPr>
            <p:cNvSpPr/>
            <p:nvPr/>
          </p:nvSpPr>
          <p:spPr>
            <a:xfrm>
              <a:off x="1860050" y="5218125"/>
              <a:ext cx="370750" cy="181750"/>
            </a:xfrm>
            <a:custGeom>
              <a:avLst/>
              <a:gdLst/>
              <a:ahLst/>
              <a:cxnLst/>
              <a:rect l="l" t="t" r="r" b="b"/>
              <a:pathLst>
                <a:path w="14830" h="7270" extrusionOk="0">
                  <a:moveTo>
                    <a:pt x="436" y="1"/>
                  </a:moveTo>
                  <a:lnTo>
                    <a:pt x="400" y="37"/>
                  </a:lnTo>
                  <a:lnTo>
                    <a:pt x="327" y="73"/>
                  </a:lnTo>
                  <a:lnTo>
                    <a:pt x="255" y="219"/>
                  </a:lnTo>
                  <a:lnTo>
                    <a:pt x="145" y="473"/>
                  </a:lnTo>
                  <a:lnTo>
                    <a:pt x="109" y="764"/>
                  </a:lnTo>
                  <a:lnTo>
                    <a:pt x="0" y="1600"/>
                  </a:lnTo>
                  <a:lnTo>
                    <a:pt x="0" y="2545"/>
                  </a:lnTo>
                  <a:lnTo>
                    <a:pt x="36" y="3599"/>
                  </a:lnTo>
                  <a:lnTo>
                    <a:pt x="109" y="4653"/>
                  </a:lnTo>
                  <a:lnTo>
                    <a:pt x="218" y="5598"/>
                  </a:lnTo>
                  <a:lnTo>
                    <a:pt x="364" y="6325"/>
                  </a:lnTo>
                  <a:lnTo>
                    <a:pt x="400" y="6507"/>
                  </a:lnTo>
                  <a:lnTo>
                    <a:pt x="509" y="6652"/>
                  </a:lnTo>
                  <a:lnTo>
                    <a:pt x="618" y="6797"/>
                  </a:lnTo>
                  <a:lnTo>
                    <a:pt x="727" y="6906"/>
                  </a:lnTo>
                  <a:lnTo>
                    <a:pt x="872" y="7015"/>
                  </a:lnTo>
                  <a:lnTo>
                    <a:pt x="1054" y="7088"/>
                  </a:lnTo>
                  <a:lnTo>
                    <a:pt x="1236" y="7124"/>
                  </a:lnTo>
                  <a:lnTo>
                    <a:pt x="1418" y="7161"/>
                  </a:lnTo>
                  <a:lnTo>
                    <a:pt x="7306" y="7233"/>
                  </a:lnTo>
                  <a:lnTo>
                    <a:pt x="13048" y="7270"/>
                  </a:lnTo>
                  <a:lnTo>
                    <a:pt x="13484" y="7270"/>
                  </a:lnTo>
                  <a:lnTo>
                    <a:pt x="13848" y="7197"/>
                  </a:lnTo>
                  <a:lnTo>
                    <a:pt x="14175" y="7052"/>
                  </a:lnTo>
                  <a:lnTo>
                    <a:pt x="14393" y="6906"/>
                  </a:lnTo>
                  <a:lnTo>
                    <a:pt x="14575" y="6725"/>
                  </a:lnTo>
                  <a:lnTo>
                    <a:pt x="14684" y="6507"/>
                  </a:lnTo>
                  <a:lnTo>
                    <a:pt x="14793" y="6252"/>
                  </a:lnTo>
                  <a:lnTo>
                    <a:pt x="14829" y="6034"/>
                  </a:lnTo>
                  <a:lnTo>
                    <a:pt x="14829" y="5780"/>
                  </a:lnTo>
                  <a:lnTo>
                    <a:pt x="14793" y="5562"/>
                  </a:lnTo>
                  <a:lnTo>
                    <a:pt x="14756" y="5343"/>
                  </a:lnTo>
                  <a:lnTo>
                    <a:pt x="14684" y="5125"/>
                  </a:lnTo>
                  <a:lnTo>
                    <a:pt x="14575" y="4944"/>
                  </a:lnTo>
                  <a:lnTo>
                    <a:pt x="14502" y="4798"/>
                  </a:lnTo>
                  <a:lnTo>
                    <a:pt x="14393" y="4726"/>
                  </a:lnTo>
                  <a:lnTo>
                    <a:pt x="14284" y="4689"/>
                  </a:lnTo>
                  <a:lnTo>
                    <a:pt x="13702" y="4580"/>
                  </a:lnTo>
                  <a:lnTo>
                    <a:pt x="12721" y="4362"/>
                  </a:lnTo>
                  <a:lnTo>
                    <a:pt x="11522" y="4108"/>
                  </a:lnTo>
                  <a:lnTo>
                    <a:pt x="10213" y="3744"/>
                  </a:lnTo>
                  <a:lnTo>
                    <a:pt x="9559" y="3563"/>
                  </a:lnTo>
                  <a:lnTo>
                    <a:pt x="8941" y="3344"/>
                  </a:lnTo>
                  <a:lnTo>
                    <a:pt x="8323" y="3090"/>
                  </a:lnTo>
                  <a:lnTo>
                    <a:pt x="7814" y="2836"/>
                  </a:lnTo>
                  <a:lnTo>
                    <a:pt x="7342" y="2545"/>
                  </a:lnTo>
                  <a:lnTo>
                    <a:pt x="6978" y="2290"/>
                  </a:lnTo>
                  <a:lnTo>
                    <a:pt x="6833" y="2109"/>
                  </a:lnTo>
                  <a:lnTo>
                    <a:pt x="6688" y="1963"/>
                  </a:lnTo>
                  <a:lnTo>
                    <a:pt x="6615" y="1818"/>
                  </a:lnTo>
                  <a:lnTo>
                    <a:pt x="6542" y="1636"/>
                  </a:lnTo>
                  <a:lnTo>
                    <a:pt x="6433" y="1127"/>
                  </a:lnTo>
                  <a:lnTo>
                    <a:pt x="6361" y="728"/>
                  </a:lnTo>
                  <a:lnTo>
                    <a:pt x="6324" y="582"/>
                  </a:lnTo>
                  <a:lnTo>
                    <a:pt x="6215" y="473"/>
                  </a:lnTo>
                  <a:lnTo>
                    <a:pt x="6106" y="400"/>
                  </a:lnTo>
                  <a:lnTo>
                    <a:pt x="5924" y="364"/>
                  </a:lnTo>
                  <a:lnTo>
                    <a:pt x="4180" y="255"/>
                  </a:lnTo>
                  <a:lnTo>
                    <a:pt x="2617" y="219"/>
                  </a:lnTo>
                  <a:lnTo>
                    <a:pt x="1345" y="110"/>
                  </a:lnTo>
                  <a:lnTo>
                    <a:pt x="836" y="73"/>
                  </a:lnTo>
                  <a:lnTo>
                    <a:pt x="436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3" name="Google Shape;2622;p11">
              <a:extLst>
                <a:ext uri="{FF2B5EF4-FFF2-40B4-BE49-F238E27FC236}">
                  <a16:creationId xmlns:a16="http://schemas.microsoft.com/office/drawing/2014/main" id="{D5960D27-899D-B4C4-E887-F2D72E5A82DC}"/>
                </a:ext>
              </a:extLst>
            </p:cNvPr>
            <p:cNvSpPr/>
            <p:nvPr/>
          </p:nvSpPr>
          <p:spPr>
            <a:xfrm>
              <a:off x="1812800" y="3365400"/>
              <a:ext cx="712400" cy="1857300"/>
            </a:xfrm>
            <a:custGeom>
              <a:avLst/>
              <a:gdLst/>
              <a:ahLst/>
              <a:cxnLst/>
              <a:rect l="l" t="t" r="r" b="b"/>
              <a:pathLst>
                <a:path w="28496" h="74292" extrusionOk="0">
                  <a:moveTo>
                    <a:pt x="9268" y="1"/>
                  </a:moveTo>
                  <a:lnTo>
                    <a:pt x="8287" y="37"/>
                  </a:lnTo>
                  <a:lnTo>
                    <a:pt x="7342" y="73"/>
                  </a:lnTo>
                  <a:lnTo>
                    <a:pt x="6433" y="146"/>
                  </a:lnTo>
                  <a:lnTo>
                    <a:pt x="5525" y="255"/>
                  </a:lnTo>
                  <a:lnTo>
                    <a:pt x="4689" y="437"/>
                  </a:lnTo>
                  <a:lnTo>
                    <a:pt x="3925" y="619"/>
                  </a:lnTo>
                  <a:lnTo>
                    <a:pt x="3162" y="837"/>
                  </a:lnTo>
                  <a:lnTo>
                    <a:pt x="2508" y="1127"/>
                  </a:lnTo>
                  <a:lnTo>
                    <a:pt x="1926" y="1455"/>
                  </a:lnTo>
                  <a:lnTo>
                    <a:pt x="1636" y="1673"/>
                  </a:lnTo>
                  <a:lnTo>
                    <a:pt x="1418" y="1854"/>
                  </a:lnTo>
                  <a:lnTo>
                    <a:pt x="1163" y="2072"/>
                  </a:lnTo>
                  <a:lnTo>
                    <a:pt x="981" y="2291"/>
                  </a:lnTo>
                  <a:lnTo>
                    <a:pt x="800" y="2545"/>
                  </a:lnTo>
                  <a:lnTo>
                    <a:pt x="654" y="2799"/>
                  </a:lnTo>
                  <a:lnTo>
                    <a:pt x="509" y="3090"/>
                  </a:lnTo>
                  <a:lnTo>
                    <a:pt x="400" y="3381"/>
                  </a:lnTo>
                  <a:lnTo>
                    <a:pt x="327" y="3672"/>
                  </a:lnTo>
                  <a:lnTo>
                    <a:pt x="291" y="3999"/>
                  </a:lnTo>
                  <a:lnTo>
                    <a:pt x="218" y="5380"/>
                  </a:lnTo>
                  <a:lnTo>
                    <a:pt x="182" y="6652"/>
                  </a:lnTo>
                  <a:lnTo>
                    <a:pt x="182" y="7452"/>
                  </a:lnTo>
                  <a:lnTo>
                    <a:pt x="182" y="8251"/>
                  </a:lnTo>
                  <a:lnTo>
                    <a:pt x="109" y="9887"/>
                  </a:lnTo>
                  <a:lnTo>
                    <a:pt x="36" y="11304"/>
                  </a:lnTo>
                  <a:lnTo>
                    <a:pt x="0" y="12903"/>
                  </a:lnTo>
                  <a:lnTo>
                    <a:pt x="36" y="14757"/>
                  </a:lnTo>
                  <a:lnTo>
                    <a:pt x="73" y="15811"/>
                  </a:lnTo>
                  <a:lnTo>
                    <a:pt x="146" y="16902"/>
                  </a:lnTo>
                  <a:lnTo>
                    <a:pt x="255" y="18210"/>
                  </a:lnTo>
                  <a:lnTo>
                    <a:pt x="400" y="19591"/>
                  </a:lnTo>
                  <a:lnTo>
                    <a:pt x="582" y="21336"/>
                  </a:lnTo>
                  <a:lnTo>
                    <a:pt x="800" y="23735"/>
                  </a:lnTo>
                  <a:lnTo>
                    <a:pt x="1018" y="26642"/>
                  </a:lnTo>
                  <a:lnTo>
                    <a:pt x="1200" y="29913"/>
                  </a:lnTo>
                  <a:lnTo>
                    <a:pt x="1381" y="33330"/>
                  </a:lnTo>
                  <a:lnTo>
                    <a:pt x="1490" y="36819"/>
                  </a:lnTo>
                  <a:lnTo>
                    <a:pt x="1563" y="40199"/>
                  </a:lnTo>
                  <a:lnTo>
                    <a:pt x="1563" y="41798"/>
                  </a:lnTo>
                  <a:lnTo>
                    <a:pt x="1527" y="43325"/>
                  </a:lnTo>
                  <a:lnTo>
                    <a:pt x="1490" y="44888"/>
                  </a:lnTo>
                  <a:lnTo>
                    <a:pt x="1490" y="46669"/>
                  </a:lnTo>
                  <a:lnTo>
                    <a:pt x="1490" y="50703"/>
                  </a:lnTo>
                  <a:lnTo>
                    <a:pt x="1563" y="55065"/>
                  </a:lnTo>
                  <a:lnTo>
                    <a:pt x="1672" y="59535"/>
                  </a:lnTo>
                  <a:lnTo>
                    <a:pt x="1890" y="67458"/>
                  </a:lnTo>
                  <a:lnTo>
                    <a:pt x="1963" y="70330"/>
                  </a:lnTo>
                  <a:lnTo>
                    <a:pt x="1999" y="72038"/>
                  </a:lnTo>
                  <a:lnTo>
                    <a:pt x="2399" y="72220"/>
                  </a:lnTo>
                  <a:lnTo>
                    <a:pt x="2835" y="72365"/>
                  </a:lnTo>
                  <a:lnTo>
                    <a:pt x="3235" y="72474"/>
                  </a:lnTo>
                  <a:lnTo>
                    <a:pt x="3635" y="72547"/>
                  </a:lnTo>
                  <a:lnTo>
                    <a:pt x="4034" y="72619"/>
                  </a:lnTo>
                  <a:lnTo>
                    <a:pt x="4398" y="72656"/>
                  </a:lnTo>
                  <a:lnTo>
                    <a:pt x="4798" y="72692"/>
                  </a:lnTo>
                  <a:lnTo>
                    <a:pt x="5198" y="72692"/>
                  </a:lnTo>
                  <a:lnTo>
                    <a:pt x="6034" y="72619"/>
                  </a:lnTo>
                  <a:lnTo>
                    <a:pt x="6942" y="72474"/>
                  </a:lnTo>
                  <a:lnTo>
                    <a:pt x="7996" y="72292"/>
                  </a:lnTo>
                  <a:lnTo>
                    <a:pt x="9159" y="72038"/>
                  </a:lnTo>
                  <a:lnTo>
                    <a:pt x="9559" y="62879"/>
                  </a:lnTo>
                  <a:lnTo>
                    <a:pt x="9959" y="53865"/>
                  </a:lnTo>
                  <a:lnTo>
                    <a:pt x="10431" y="43906"/>
                  </a:lnTo>
                  <a:lnTo>
                    <a:pt x="10613" y="40417"/>
                  </a:lnTo>
                  <a:lnTo>
                    <a:pt x="10795" y="37728"/>
                  </a:lnTo>
                  <a:lnTo>
                    <a:pt x="10977" y="35511"/>
                  </a:lnTo>
                  <a:lnTo>
                    <a:pt x="11231" y="33439"/>
                  </a:lnTo>
                  <a:lnTo>
                    <a:pt x="11522" y="31258"/>
                  </a:lnTo>
                  <a:lnTo>
                    <a:pt x="11922" y="28605"/>
                  </a:lnTo>
                  <a:lnTo>
                    <a:pt x="13085" y="20791"/>
                  </a:lnTo>
                  <a:lnTo>
                    <a:pt x="13448" y="21735"/>
                  </a:lnTo>
                  <a:lnTo>
                    <a:pt x="14284" y="24207"/>
                  </a:lnTo>
                  <a:lnTo>
                    <a:pt x="15556" y="27987"/>
                  </a:lnTo>
                  <a:lnTo>
                    <a:pt x="16247" y="30168"/>
                  </a:lnTo>
                  <a:lnTo>
                    <a:pt x="16974" y="32457"/>
                  </a:lnTo>
                  <a:lnTo>
                    <a:pt x="17664" y="34820"/>
                  </a:lnTo>
                  <a:lnTo>
                    <a:pt x="18355" y="37182"/>
                  </a:lnTo>
                  <a:lnTo>
                    <a:pt x="18936" y="39472"/>
                  </a:lnTo>
                  <a:lnTo>
                    <a:pt x="19445" y="41617"/>
                  </a:lnTo>
                  <a:lnTo>
                    <a:pt x="19590" y="42453"/>
                  </a:lnTo>
                  <a:lnTo>
                    <a:pt x="19736" y="43361"/>
                  </a:lnTo>
                  <a:lnTo>
                    <a:pt x="19881" y="44343"/>
                  </a:lnTo>
                  <a:lnTo>
                    <a:pt x="20027" y="45397"/>
                  </a:lnTo>
                  <a:lnTo>
                    <a:pt x="20208" y="47650"/>
                  </a:lnTo>
                  <a:lnTo>
                    <a:pt x="20354" y="50049"/>
                  </a:lnTo>
                  <a:lnTo>
                    <a:pt x="20499" y="52593"/>
                  </a:lnTo>
                  <a:lnTo>
                    <a:pt x="20572" y="55174"/>
                  </a:lnTo>
                  <a:lnTo>
                    <a:pt x="20681" y="60371"/>
                  </a:lnTo>
                  <a:lnTo>
                    <a:pt x="20717" y="65169"/>
                  </a:lnTo>
                  <a:lnTo>
                    <a:pt x="20790" y="69203"/>
                  </a:lnTo>
                  <a:lnTo>
                    <a:pt x="20826" y="70802"/>
                  </a:lnTo>
                  <a:lnTo>
                    <a:pt x="20899" y="72038"/>
                  </a:lnTo>
                  <a:lnTo>
                    <a:pt x="20972" y="72874"/>
                  </a:lnTo>
                  <a:lnTo>
                    <a:pt x="21044" y="73128"/>
                  </a:lnTo>
                  <a:lnTo>
                    <a:pt x="21117" y="73274"/>
                  </a:lnTo>
                  <a:lnTo>
                    <a:pt x="21553" y="73492"/>
                  </a:lnTo>
                  <a:lnTo>
                    <a:pt x="22026" y="73710"/>
                  </a:lnTo>
                  <a:lnTo>
                    <a:pt x="22534" y="73892"/>
                  </a:lnTo>
                  <a:lnTo>
                    <a:pt x="23080" y="74037"/>
                  </a:lnTo>
                  <a:lnTo>
                    <a:pt x="23588" y="74146"/>
                  </a:lnTo>
                  <a:lnTo>
                    <a:pt x="24134" y="74255"/>
                  </a:lnTo>
                  <a:lnTo>
                    <a:pt x="24679" y="74291"/>
                  </a:lnTo>
                  <a:lnTo>
                    <a:pt x="25224" y="74291"/>
                  </a:lnTo>
                  <a:lnTo>
                    <a:pt x="25733" y="74255"/>
                  </a:lnTo>
                  <a:lnTo>
                    <a:pt x="26205" y="74182"/>
                  </a:lnTo>
                  <a:lnTo>
                    <a:pt x="26678" y="74073"/>
                  </a:lnTo>
                  <a:lnTo>
                    <a:pt x="27114" y="73928"/>
                  </a:lnTo>
                  <a:lnTo>
                    <a:pt x="27514" y="73710"/>
                  </a:lnTo>
                  <a:lnTo>
                    <a:pt x="27841" y="73492"/>
                  </a:lnTo>
                  <a:lnTo>
                    <a:pt x="28132" y="73201"/>
                  </a:lnTo>
                  <a:lnTo>
                    <a:pt x="28386" y="72874"/>
                  </a:lnTo>
                  <a:lnTo>
                    <a:pt x="28422" y="68476"/>
                  </a:lnTo>
                  <a:lnTo>
                    <a:pt x="28459" y="63897"/>
                  </a:lnTo>
                  <a:lnTo>
                    <a:pt x="28495" y="58517"/>
                  </a:lnTo>
                  <a:lnTo>
                    <a:pt x="28459" y="52956"/>
                  </a:lnTo>
                  <a:lnTo>
                    <a:pt x="28386" y="47759"/>
                  </a:lnTo>
                  <a:lnTo>
                    <a:pt x="28350" y="45506"/>
                  </a:lnTo>
                  <a:lnTo>
                    <a:pt x="28241" y="43543"/>
                  </a:lnTo>
                  <a:lnTo>
                    <a:pt x="28132" y="42016"/>
                  </a:lnTo>
                  <a:lnTo>
                    <a:pt x="28059" y="41399"/>
                  </a:lnTo>
                  <a:lnTo>
                    <a:pt x="27986" y="40926"/>
                  </a:lnTo>
                  <a:lnTo>
                    <a:pt x="26932" y="34602"/>
                  </a:lnTo>
                  <a:lnTo>
                    <a:pt x="25006" y="22971"/>
                  </a:lnTo>
                  <a:lnTo>
                    <a:pt x="23043" y="10468"/>
                  </a:lnTo>
                  <a:lnTo>
                    <a:pt x="22244" y="5235"/>
                  </a:lnTo>
                  <a:lnTo>
                    <a:pt x="21662" y="1455"/>
                  </a:lnTo>
                  <a:lnTo>
                    <a:pt x="20790" y="1273"/>
                  </a:lnTo>
                  <a:lnTo>
                    <a:pt x="19772" y="1055"/>
                  </a:lnTo>
                  <a:lnTo>
                    <a:pt x="18427" y="837"/>
                  </a:lnTo>
                  <a:lnTo>
                    <a:pt x="16865" y="619"/>
                  </a:lnTo>
                  <a:lnTo>
                    <a:pt x="15084" y="401"/>
                  </a:lnTo>
                  <a:lnTo>
                    <a:pt x="13194" y="182"/>
                  </a:lnTo>
                  <a:lnTo>
                    <a:pt x="11231" y="73"/>
                  </a:lnTo>
                  <a:lnTo>
                    <a:pt x="10250" y="37"/>
                  </a:lnTo>
                  <a:lnTo>
                    <a:pt x="9268" y="1"/>
                  </a:ln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4" name="Google Shape;2623;p11">
              <a:extLst>
                <a:ext uri="{FF2B5EF4-FFF2-40B4-BE49-F238E27FC236}">
                  <a16:creationId xmlns:a16="http://schemas.microsoft.com/office/drawing/2014/main" id="{1F6CAC91-7704-D80C-D539-D4813D060A08}"/>
                </a:ext>
              </a:extLst>
            </p:cNvPr>
            <p:cNvSpPr/>
            <p:nvPr/>
          </p:nvSpPr>
          <p:spPr>
            <a:xfrm>
              <a:off x="1812800" y="3365400"/>
              <a:ext cx="712400" cy="1857300"/>
            </a:xfrm>
            <a:custGeom>
              <a:avLst/>
              <a:gdLst/>
              <a:ahLst/>
              <a:cxnLst/>
              <a:rect l="l" t="t" r="r" b="b"/>
              <a:pathLst>
                <a:path w="28496" h="74292" fill="none" extrusionOk="0">
                  <a:moveTo>
                    <a:pt x="146" y="16902"/>
                  </a:moveTo>
                  <a:lnTo>
                    <a:pt x="146" y="16902"/>
                  </a:lnTo>
                  <a:lnTo>
                    <a:pt x="255" y="18210"/>
                  </a:lnTo>
                  <a:lnTo>
                    <a:pt x="400" y="19591"/>
                  </a:lnTo>
                  <a:lnTo>
                    <a:pt x="400" y="19591"/>
                  </a:lnTo>
                  <a:lnTo>
                    <a:pt x="582" y="21336"/>
                  </a:lnTo>
                  <a:lnTo>
                    <a:pt x="800" y="23735"/>
                  </a:lnTo>
                  <a:lnTo>
                    <a:pt x="1018" y="26642"/>
                  </a:lnTo>
                  <a:lnTo>
                    <a:pt x="1200" y="29913"/>
                  </a:lnTo>
                  <a:lnTo>
                    <a:pt x="1381" y="33330"/>
                  </a:lnTo>
                  <a:lnTo>
                    <a:pt x="1490" y="36819"/>
                  </a:lnTo>
                  <a:lnTo>
                    <a:pt x="1563" y="40199"/>
                  </a:lnTo>
                  <a:lnTo>
                    <a:pt x="1563" y="41798"/>
                  </a:lnTo>
                  <a:lnTo>
                    <a:pt x="1527" y="43325"/>
                  </a:lnTo>
                  <a:lnTo>
                    <a:pt x="1527" y="43325"/>
                  </a:lnTo>
                  <a:lnTo>
                    <a:pt x="1490" y="44888"/>
                  </a:lnTo>
                  <a:lnTo>
                    <a:pt x="1490" y="46669"/>
                  </a:lnTo>
                  <a:lnTo>
                    <a:pt x="1490" y="50703"/>
                  </a:lnTo>
                  <a:lnTo>
                    <a:pt x="1563" y="55065"/>
                  </a:lnTo>
                  <a:lnTo>
                    <a:pt x="1672" y="59535"/>
                  </a:lnTo>
                  <a:lnTo>
                    <a:pt x="1890" y="67458"/>
                  </a:lnTo>
                  <a:lnTo>
                    <a:pt x="1963" y="70330"/>
                  </a:lnTo>
                  <a:lnTo>
                    <a:pt x="1999" y="72038"/>
                  </a:lnTo>
                  <a:lnTo>
                    <a:pt x="1999" y="72038"/>
                  </a:lnTo>
                  <a:lnTo>
                    <a:pt x="2399" y="72220"/>
                  </a:lnTo>
                  <a:lnTo>
                    <a:pt x="2835" y="72365"/>
                  </a:lnTo>
                  <a:lnTo>
                    <a:pt x="3235" y="72474"/>
                  </a:lnTo>
                  <a:lnTo>
                    <a:pt x="3635" y="72547"/>
                  </a:lnTo>
                  <a:lnTo>
                    <a:pt x="4034" y="72619"/>
                  </a:lnTo>
                  <a:lnTo>
                    <a:pt x="4398" y="72656"/>
                  </a:lnTo>
                  <a:lnTo>
                    <a:pt x="4798" y="72692"/>
                  </a:lnTo>
                  <a:lnTo>
                    <a:pt x="5198" y="72692"/>
                  </a:lnTo>
                  <a:lnTo>
                    <a:pt x="6034" y="72619"/>
                  </a:lnTo>
                  <a:lnTo>
                    <a:pt x="6942" y="72474"/>
                  </a:lnTo>
                  <a:lnTo>
                    <a:pt x="7996" y="72292"/>
                  </a:lnTo>
                  <a:lnTo>
                    <a:pt x="9159" y="72038"/>
                  </a:lnTo>
                  <a:lnTo>
                    <a:pt x="9159" y="72038"/>
                  </a:lnTo>
                  <a:lnTo>
                    <a:pt x="9559" y="62879"/>
                  </a:lnTo>
                  <a:lnTo>
                    <a:pt x="9959" y="53865"/>
                  </a:lnTo>
                  <a:lnTo>
                    <a:pt x="10431" y="43906"/>
                  </a:lnTo>
                  <a:lnTo>
                    <a:pt x="10431" y="43906"/>
                  </a:lnTo>
                  <a:lnTo>
                    <a:pt x="10613" y="40417"/>
                  </a:lnTo>
                  <a:lnTo>
                    <a:pt x="10795" y="37728"/>
                  </a:lnTo>
                  <a:lnTo>
                    <a:pt x="10977" y="35511"/>
                  </a:lnTo>
                  <a:lnTo>
                    <a:pt x="11231" y="33439"/>
                  </a:lnTo>
                  <a:lnTo>
                    <a:pt x="11522" y="31258"/>
                  </a:lnTo>
                  <a:lnTo>
                    <a:pt x="11922" y="28605"/>
                  </a:lnTo>
                  <a:lnTo>
                    <a:pt x="13085" y="20791"/>
                  </a:lnTo>
                  <a:lnTo>
                    <a:pt x="13085" y="20791"/>
                  </a:lnTo>
                  <a:lnTo>
                    <a:pt x="13085" y="20791"/>
                  </a:lnTo>
                  <a:lnTo>
                    <a:pt x="13448" y="21735"/>
                  </a:lnTo>
                  <a:lnTo>
                    <a:pt x="14284" y="24207"/>
                  </a:lnTo>
                  <a:lnTo>
                    <a:pt x="14284" y="24207"/>
                  </a:lnTo>
                  <a:lnTo>
                    <a:pt x="15556" y="27987"/>
                  </a:lnTo>
                  <a:lnTo>
                    <a:pt x="16247" y="30168"/>
                  </a:lnTo>
                  <a:lnTo>
                    <a:pt x="16974" y="32457"/>
                  </a:lnTo>
                  <a:lnTo>
                    <a:pt x="17664" y="34820"/>
                  </a:lnTo>
                  <a:lnTo>
                    <a:pt x="18355" y="37182"/>
                  </a:lnTo>
                  <a:lnTo>
                    <a:pt x="18936" y="39472"/>
                  </a:lnTo>
                  <a:lnTo>
                    <a:pt x="19445" y="41617"/>
                  </a:lnTo>
                  <a:lnTo>
                    <a:pt x="19445" y="41617"/>
                  </a:lnTo>
                  <a:lnTo>
                    <a:pt x="19590" y="42453"/>
                  </a:lnTo>
                  <a:lnTo>
                    <a:pt x="19736" y="43361"/>
                  </a:lnTo>
                  <a:lnTo>
                    <a:pt x="19881" y="44343"/>
                  </a:lnTo>
                  <a:lnTo>
                    <a:pt x="20027" y="45397"/>
                  </a:lnTo>
                  <a:lnTo>
                    <a:pt x="20208" y="47650"/>
                  </a:lnTo>
                  <a:lnTo>
                    <a:pt x="20354" y="50049"/>
                  </a:lnTo>
                  <a:lnTo>
                    <a:pt x="20499" y="52593"/>
                  </a:lnTo>
                  <a:lnTo>
                    <a:pt x="20572" y="55174"/>
                  </a:lnTo>
                  <a:lnTo>
                    <a:pt x="20681" y="60371"/>
                  </a:lnTo>
                  <a:lnTo>
                    <a:pt x="20717" y="65169"/>
                  </a:lnTo>
                  <a:lnTo>
                    <a:pt x="20790" y="69203"/>
                  </a:lnTo>
                  <a:lnTo>
                    <a:pt x="20826" y="70802"/>
                  </a:lnTo>
                  <a:lnTo>
                    <a:pt x="20899" y="72038"/>
                  </a:lnTo>
                  <a:lnTo>
                    <a:pt x="20972" y="72874"/>
                  </a:lnTo>
                  <a:lnTo>
                    <a:pt x="21044" y="73128"/>
                  </a:lnTo>
                  <a:lnTo>
                    <a:pt x="21117" y="73274"/>
                  </a:lnTo>
                  <a:lnTo>
                    <a:pt x="21117" y="73274"/>
                  </a:lnTo>
                  <a:lnTo>
                    <a:pt x="21553" y="73492"/>
                  </a:lnTo>
                  <a:lnTo>
                    <a:pt x="22026" y="73710"/>
                  </a:lnTo>
                  <a:lnTo>
                    <a:pt x="22534" y="73892"/>
                  </a:lnTo>
                  <a:lnTo>
                    <a:pt x="23080" y="74037"/>
                  </a:lnTo>
                  <a:lnTo>
                    <a:pt x="23588" y="74146"/>
                  </a:lnTo>
                  <a:lnTo>
                    <a:pt x="24134" y="74255"/>
                  </a:lnTo>
                  <a:lnTo>
                    <a:pt x="24679" y="74291"/>
                  </a:lnTo>
                  <a:lnTo>
                    <a:pt x="25224" y="74291"/>
                  </a:lnTo>
                  <a:lnTo>
                    <a:pt x="25733" y="74255"/>
                  </a:lnTo>
                  <a:lnTo>
                    <a:pt x="26205" y="74182"/>
                  </a:lnTo>
                  <a:lnTo>
                    <a:pt x="26678" y="74073"/>
                  </a:lnTo>
                  <a:lnTo>
                    <a:pt x="27114" y="73928"/>
                  </a:lnTo>
                  <a:lnTo>
                    <a:pt x="27514" y="73710"/>
                  </a:lnTo>
                  <a:lnTo>
                    <a:pt x="27841" y="73492"/>
                  </a:lnTo>
                  <a:lnTo>
                    <a:pt x="28132" y="73201"/>
                  </a:lnTo>
                  <a:lnTo>
                    <a:pt x="28386" y="72874"/>
                  </a:lnTo>
                  <a:lnTo>
                    <a:pt x="28386" y="72874"/>
                  </a:lnTo>
                  <a:lnTo>
                    <a:pt x="28422" y="68476"/>
                  </a:lnTo>
                  <a:lnTo>
                    <a:pt x="28459" y="63897"/>
                  </a:lnTo>
                  <a:lnTo>
                    <a:pt x="28495" y="58517"/>
                  </a:lnTo>
                  <a:lnTo>
                    <a:pt x="28459" y="52956"/>
                  </a:lnTo>
                  <a:lnTo>
                    <a:pt x="28386" y="47759"/>
                  </a:lnTo>
                  <a:lnTo>
                    <a:pt x="28350" y="45506"/>
                  </a:lnTo>
                  <a:lnTo>
                    <a:pt x="28241" y="43543"/>
                  </a:lnTo>
                  <a:lnTo>
                    <a:pt x="28132" y="42016"/>
                  </a:lnTo>
                  <a:lnTo>
                    <a:pt x="28059" y="41399"/>
                  </a:lnTo>
                  <a:lnTo>
                    <a:pt x="27986" y="40926"/>
                  </a:lnTo>
                  <a:lnTo>
                    <a:pt x="27986" y="40926"/>
                  </a:lnTo>
                  <a:lnTo>
                    <a:pt x="26932" y="34602"/>
                  </a:lnTo>
                  <a:lnTo>
                    <a:pt x="25006" y="22971"/>
                  </a:lnTo>
                  <a:lnTo>
                    <a:pt x="23043" y="10468"/>
                  </a:lnTo>
                  <a:lnTo>
                    <a:pt x="22244" y="5235"/>
                  </a:lnTo>
                  <a:lnTo>
                    <a:pt x="21662" y="1455"/>
                  </a:lnTo>
                  <a:lnTo>
                    <a:pt x="21662" y="1455"/>
                  </a:lnTo>
                  <a:lnTo>
                    <a:pt x="20790" y="1273"/>
                  </a:lnTo>
                  <a:lnTo>
                    <a:pt x="19772" y="1055"/>
                  </a:lnTo>
                  <a:lnTo>
                    <a:pt x="18427" y="837"/>
                  </a:lnTo>
                  <a:lnTo>
                    <a:pt x="16865" y="619"/>
                  </a:lnTo>
                  <a:lnTo>
                    <a:pt x="15084" y="401"/>
                  </a:lnTo>
                  <a:lnTo>
                    <a:pt x="13194" y="182"/>
                  </a:lnTo>
                  <a:lnTo>
                    <a:pt x="11231" y="73"/>
                  </a:lnTo>
                  <a:lnTo>
                    <a:pt x="10250" y="37"/>
                  </a:lnTo>
                  <a:lnTo>
                    <a:pt x="9268" y="1"/>
                  </a:lnTo>
                  <a:lnTo>
                    <a:pt x="8287" y="37"/>
                  </a:lnTo>
                  <a:lnTo>
                    <a:pt x="7342" y="73"/>
                  </a:lnTo>
                  <a:lnTo>
                    <a:pt x="6433" y="146"/>
                  </a:lnTo>
                  <a:lnTo>
                    <a:pt x="5525" y="255"/>
                  </a:lnTo>
                  <a:lnTo>
                    <a:pt x="4689" y="437"/>
                  </a:lnTo>
                  <a:lnTo>
                    <a:pt x="3925" y="619"/>
                  </a:lnTo>
                  <a:lnTo>
                    <a:pt x="3162" y="837"/>
                  </a:lnTo>
                  <a:lnTo>
                    <a:pt x="2508" y="1127"/>
                  </a:lnTo>
                  <a:lnTo>
                    <a:pt x="1926" y="1455"/>
                  </a:lnTo>
                  <a:lnTo>
                    <a:pt x="1636" y="1673"/>
                  </a:lnTo>
                  <a:lnTo>
                    <a:pt x="1418" y="1854"/>
                  </a:lnTo>
                  <a:lnTo>
                    <a:pt x="1163" y="2072"/>
                  </a:lnTo>
                  <a:lnTo>
                    <a:pt x="981" y="2291"/>
                  </a:lnTo>
                  <a:lnTo>
                    <a:pt x="800" y="2545"/>
                  </a:lnTo>
                  <a:lnTo>
                    <a:pt x="654" y="2799"/>
                  </a:lnTo>
                  <a:lnTo>
                    <a:pt x="509" y="3090"/>
                  </a:lnTo>
                  <a:lnTo>
                    <a:pt x="400" y="3381"/>
                  </a:lnTo>
                  <a:lnTo>
                    <a:pt x="327" y="3672"/>
                  </a:lnTo>
                  <a:lnTo>
                    <a:pt x="291" y="3999"/>
                  </a:lnTo>
                  <a:lnTo>
                    <a:pt x="291" y="3999"/>
                  </a:lnTo>
                  <a:lnTo>
                    <a:pt x="218" y="5380"/>
                  </a:lnTo>
                  <a:lnTo>
                    <a:pt x="182" y="6652"/>
                  </a:lnTo>
                  <a:lnTo>
                    <a:pt x="182" y="6652"/>
                  </a:lnTo>
                  <a:lnTo>
                    <a:pt x="182" y="7452"/>
                  </a:lnTo>
                  <a:lnTo>
                    <a:pt x="182" y="8251"/>
                  </a:lnTo>
                  <a:lnTo>
                    <a:pt x="109" y="9887"/>
                  </a:lnTo>
                  <a:lnTo>
                    <a:pt x="109" y="9887"/>
                  </a:lnTo>
                  <a:lnTo>
                    <a:pt x="36" y="11304"/>
                  </a:lnTo>
                  <a:lnTo>
                    <a:pt x="0" y="12903"/>
                  </a:lnTo>
                  <a:lnTo>
                    <a:pt x="36" y="14757"/>
                  </a:lnTo>
                  <a:lnTo>
                    <a:pt x="73" y="15811"/>
                  </a:lnTo>
                  <a:lnTo>
                    <a:pt x="146" y="1690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5" name="Google Shape;2624;p11">
              <a:extLst>
                <a:ext uri="{FF2B5EF4-FFF2-40B4-BE49-F238E27FC236}">
                  <a16:creationId xmlns:a16="http://schemas.microsoft.com/office/drawing/2014/main" id="{FA092011-278E-F86F-A222-F8E6F4489C2A}"/>
                </a:ext>
              </a:extLst>
            </p:cNvPr>
            <p:cNvSpPr/>
            <p:nvPr/>
          </p:nvSpPr>
          <p:spPr>
            <a:xfrm>
              <a:off x="2094475" y="3787025"/>
              <a:ext cx="925" cy="925"/>
            </a:xfrm>
            <a:custGeom>
              <a:avLst/>
              <a:gdLst/>
              <a:ahLst/>
              <a:cxnLst/>
              <a:rect l="l" t="t" r="r" b="b"/>
              <a:pathLst>
                <a:path w="37" h="37" extrusionOk="0">
                  <a:moveTo>
                    <a:pt x="0" y="0"/>
                  </a:moveTo>
                  <a:lnTo>
                    <a:pt x="0" y="37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2F2F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6" name="Google Shape;2625;p11">
              <a:extLst>
                <a:ext uri="{FF2B5EF4-FFF2-40B4-BE49-F238E27FC236}">
                  <a16:creationId xmlns:a16="http://schemas.microsoft.com/office/drawing/2014/main" id="{9C3DA252-6978-B9A2-2360-2A4ADA905212}"/>
                </a:ext>
              </a:extLst>
            </p:cNvPr>
            <p:cNvSpPr/>
            <p:nvPr/>
          </p:nvSpPr>
          <p:spPr>
            <a:xfrm>
              <a:off x="2094475" y="3787025"/>
              <a:ext cx="925" cy="925"/>
            </a:xfrm>
            <a:custGeom>
              <a:avLst/>
              <a:gdLst/>
              <a:ahLst/>
              <a:cxnLst/>
              <a:rect l="l" t="t" r="r" b="b"/>
              <a:pathLst>
                <a:path w="37" h="37" fill="none" extrusionOk="0">
                  <a:moveTo>
                    <a:pt x="37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3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7" name="Google Shape;2626;p11">
              <a:extLst>
                <a:ext uri="{FF2B5EF4-FFF2-40B4-BE49-F238E27FC236}">
                  <a16:creationId xmlns:a16="http://schemas.microsoft.com/office/drawing/2014/main" id="{961A28BA-9FA5-BB00-BF3D-FA0CEF073065}"/>
                </a:ext>
              </a:extLst>
            </p:cNvPr>
            <p:cNvSpPr/>
            <p:nvPr/>
          </p:nvSpPr>
          <p:spPr>
            <a:xfrm>
              <a:off x="2139900" y="3885150"/>
              <a:ext cx="18200" cy="50000"/>
            </a:xfrm>
            <a:custGeom>
              <a:avLst/>
              <a:gdLst/>
              <a:ahLst/>
              <a:cxnLst/>
              <a:rect l="l" t="t" r="r" b="b"/>
              <a:pathLst>
                <a:path w="728" h="2000" extrusionOk="0">
                  <a:moveTo>
                    <a:pt x="1" y="1"/>
                  </a:moveTo>
                  <a:lnTo>
                    <a:pt x="1" y="1"/>
                  </a:lnTo>
                  <a:lnTo>
                    <a:pt x="727" y="2000"/>
                  </a:lnTo>
                  <a:lnTo>
                    <a:pt x="727" y="200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8686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8" name="Google Shape;2627;p11">
              <a:extLst>
                <a:ext uri="{FF2B5EF4-FFF2-40B4-BE49-F238E27FC236}">
                  <a16:creationId xmlns:a16="http://schemas.microsoft.com/office/drawing/2014/main" id="{99312E50-3DBD-E49A-ECD5-35B961D8BBD1}"/>
                </a:ext>
              </a:extLst>
            </p:cNvPr>
            <p:cNvSpPr/>
            <p:nvPr/>
          </p:nvSpPr>
          <p:spPr>
            <a:xfrm>
              <a:off x="2139900" y="3885150"/>
              <a:ext cx="18200" cy="50000"/>
            </a:xfrm>
            <a:custGeom>
              <a:avLst/>
              <a:gdLst/>
              <a:ahLst/>
              <a:cxnLst/>
              <a:rect l="l" t="t" r="r" b="b"/>
              <a:pathLst>
                <a:path w="728" h="2000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727" y="2000"/>
                  </a:lnTo>
                  <a:lnTo>
                    <a:pt x="727" y="2000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9" name="Google Shape;2628;p11">
              <a:extLst>
                <a:ext uri="{FF2B5EF4-FFF2-40B4-BE49-F238E27FC236}">
                  <a16:creationId xmlns:a16="http://schemas.microsoft.com/office/drawing/2014/main" id="{CD450AD1-E7D8-09AF-9982-DA02202B3D49}"/>
                </a:ext>
              </a:extLst>
            </p:cNvPr>
            <p:cNvSpPr/>
            <p:nvPr/>
          </p:nvSpPr>
          <p:spPr>
            <a:xfrm>
              <a:off x="2139900" y="3796100"/>
              <a:ext cx="40925" cy="205375"/>
            </a:xfrm>
            <a:custGeom>
              <a:avLst/>
              <a:gdLst/>
              <a:ahLst/>
              <a:cxnLst/>
              <a:rect l="l" t="t" r="r" b="b"/>
              <a:pathLst>
                <a:path w="1637" h="8215" extrusionOk="0">
                  <a:moveTo>
                    <a:pt x="800" y="1"/>
                  </a:moveTo>
                  <a:lnTo>
                    <a:pt x="800" y="146"/>
                  </a:lnTo>
                  <a:lnTo>
                    <a:pt x="727" y="619"/>
                  </a:lnTo>
                  <a:lnTo>
                    <a:pt x="473" y="1709"/>
                  </a:lnTo>
                  <a:lnTo>
                    <a:pt x="1" y="3563"/>
                  </a:lnTo>
                  <a:lnTo>
                    <a:pt x="727" y="5562"/>
                  </a:lnTo>
                  <a:lnTo>
                    <a:pt x="1636" y="8215"/>
                  </a:lnTo>
                  <a:lnTo>
                    <a:pt x="800" y="1"/>
                  </a:lnTo>
                  <a:close/>
                </a:path>
              </a:pathLst>
            </a:custGeom>
            <a:solidFill>
              <a:srgbClr val="2C2C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0" name="Google Shape;2629;p11">
              <a:extLst>
                <a:ext uri="{FF2B5EF4-FFF2-40B4-BE49-F238E27FC236}">
                  <a16:creationId xmlns:a16="http://schemas.microsoft.com/office/drawing/2014/main" id="{20510463-1615-9792-49F8-0D84FEAC5D90}"/>
                </a:ext>
              </a:extLst>
            </p:cNvPr>
            <p:cNvSpPr/>
            <p:nvPr/>
          </p:nvSpPr>
          <p:spPr>
            <a:xfrm>
              <a:off x="2139900" y="3796100"/>
              <a:ext cx="40925" cy="205375"/>
            </a:xfrm>
            <a:custGeom>
              <a:avLst/>
              <a:gdLst/>
              <a:ahLst/>
              <a:cxnLst/>
              <a:rect l="l" t="t" r="r" b="b"/>
              <a:pathLst>
                <a:path w="1637" h="8215" fill="none" extrusionOk="0">
                  <a:moveTo>
                    <a:pt x="800" y="1"/>
                  </a:moveTo>
                  <a:lnTo>
                    <a:pt x="800" y="1"/>
                  </a:lnTo>
                  <a:lnTo>
                    <a:pt x="800" y="146"/>
                  </a:lnTo>
                  <a:lnTo>
                    <a:pt x="727" y="619"/>
                  </a:lnTo>
                  <a:lnTo>
                    <a:pt x="473" y="1709"/>
                  </a:lnTo>
                  <a:lnTo>
                    <a:pt x="1" y="3563"/>
                  </a:lnTo>
                  <a:lnTo>
                    <a:pt x="1" y="3563"/>
                  </a:lnTo>
                  <a:lnTo>
                    <a:pt x="1" y="3563"/>
                  </a:lnTo>
                  <a:lnTo>
                    <a:pt x="1" y="3563"/>
                  </a:lnTo>
                  <a:lnTo>
                    <a:pt x="727" y="5562"/>
                  </a:lnTo>
                  <a:lnTo>
                    <a:pt x="727" y="5562"/>
                  </a:lnTo>
                  <a:lnTo>
                    <a:pt x="1636" y="8215"/>
                  </a:lnTo>
                  <a:lnTo>
                    <a:pt x="80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1" name="Google Shape;2630;p11">
              <a:extLst>
                <a:ext uri="{FF2B5EF4-FFF2-40B4-BE49-F238E27FC236}">
                  <a16:creationId xmlns:a16="http://schemas.microsoft.com/office/drawing/2014/main" id="{61A836B5-9CF9-CE46-9BDD-61FDE56ED47B}"/>
                </a:ext>
              </a:extLst>
            </p:cNvPr>
            <p:cNvSpPr/>
            <p:nvPr/>
          </p:nvSpPr>
          <p:spPr>
            <a:xfrm>
              <a:off x="1812800" y="3690700"/>
              <a:ext cx="925" cy="44550"/>
            </a:xfrm>
            <a:custGeom>
              <a:avLst/>
              <a:gdLst/>
              <a:ahLst/>
              <a:cxnLst/>
              <a:rect l="l" t="t" r="r" b="b"/>
              <a:pathLst>
                <a:path w="37" h="1782" extrusionOk="0">
                  <a:moveTo>
                    <a:pt x="0" y="1"/>
                  </a:moveTo>
                  <a:lnTo>
                    <a:pt x="0" y="982"/>
                  </a:lnTo>
                  <a:lnTo>
                    <a:pt x="36" y="178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B1B1B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2" name="Google Shape;2631;p11">
              <a:extLst>
                <a:ext uri="{FF2B5EF4-FFF2-40B4-BE49-F238E27FC236}">
                  <a16:creationId xmlns:a16="http://schemas.microsoft.com/office/drawing/2014/main" id="{913AC8F4-ED49-9EED-7C3D-EBBABCE09A72}"/>
                </a:ext>
              </a:extLst>
            </p:cNvPr>
            <p:cNvSpPr/>
            <p:nvPr/>
          </p:nvSpPr>
          <p:spPr>
            <a:xfrm>
              <a:off x="1812800" y="3690700"/>
              <a:ext cx="925" cy="44550"/>
            </a:xfrm>
            <a:custGeom>
              <a:avLst/>
              <a:gdLst/>
              <a:ahLst/>
              <a:cxnLst/>
              <a:rect l="l" t="t" r="r" b="b"/>
              <a:pathLst>
                <a:path w="37" h="1782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982"/>
                  </a:lnTo>
                  <a:lnTo>
                    <a:pt x="36" y="1781"/>
                  </a:lnTo>
                  <a:lnTo>
                    <a:pt x="36" y="178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3" name="Google Shape;2632;p11">
              <a:extLst>
                <a:ext uri="{FF2B5EF4-FFF2-40B4-BE49-F238E27FC236}">
                  <a16:creationId xmlns:a16="http://schemas.microsoft.com/office/drawing/2014/main" id="{A0310066-6459-86A8-52BE-844033813714}"/>
                </a:ext>
              </a:extLst>
            </p:cNvPr>
            <p:cNvSpPr/>
            <p:nvPr/>
          </p:nvSpPr>
          <p:spPr>
            <a:xfrm>
              <a:off x="1812800" y="3591650"/>
              <a:ext cx="231725" cy="143600"/>
            </a:xfrm>
            <a:custGeom>
              <a:avLst/>
              <a:gdLst/>
              <a:ahLst/>
              <a:cxnLst/>
              <a:rect l="l" t="t" r="r" b="b"/>
              <a:pathLst>
                <a:path w="9269" h="5744" extrusionOk="0">
                  <a:moveTo>
                    <a:pt x="9268" y="1"/>
                  </a:moveTo>
                  <a:lnTo>
                    <a:pt x="9123" y="292"/>
                  </a:lnTo>
                  <a:lnTo>
                    <a:pt x="8978" y="619"/>
                  </a:lnTo>
                  <a:lnTo>
                    <a:pt x="8759" y="909"/>
                  </a:lnTo>
                  <a:lnTo>
                    <a:pt x="8541" y="1200"/>
                  </a:lnTo>
                  <a:lnTo>
                    <a:pt x="8142" y="1564"/>
                  </a:lnTo>
                  <a:lnTo>
                    <a:pt x="7742" y="1891"/>
                  </a:lnTo>
                  <a:lnTo>
                    <a:pt x="7306" y="2218"/>
                  </a:lnTo>
                  <a:lnTo>
                    <a:pt x="6869" y="2472"/>
                  </a:lnTo>
                  <a:lnTo>
                    <a:pt x="6433" y="2690"/>
                  </a:lnTo>
                  <a:lnTo>
                    <a:pt x="5997" y="2872"/>
                  </a:lnTo>
                  <a:lnTo>
                    <a:pt x="5525" y="3018"/>
                  </a:lnTo>
                  <a:lnTo>
                    <a:pt x="5052" y="3127"/>
                  </a:lnTo>
                  <a:lnTo>
                    <a:pt x="5379" y="3817"/>
                  </a:lnTo>
                  <a:lnTo>
                    <a:pt x="4798" y="4144"/>
                  </a:lnTo>
                  <a:lnTo>
                    <a:pt x="4798" y="4144"/>
                  </a:lnTo>
                  <a:lnTo>
                    <a:pt x="5561" y="3744"/>
                  </a:lnTo>
                  <a:lnTo>
                    <a:pt x="6288" y="3345"/>
                  </a:lnTo>
                  <a:lnTo>
                    <a:pt x="6979" y="2908"/>
                  </a:lnTo>
                  <a:lnTo>
                    <a:pt x="7596" y="2400"/>
                  </a:lnTo>
                  <a:lnTo>
                    <a:pt x="7887" y="2145"/>
                  </a:lnTo>
                  <a:lnTo>
                    <a:pt x="8178" y="1854"/>
                  </a:lnTo>
                  <a:lnTo>
                    <a:pt x="8432" y="1600"/>
                  </a:lnTo>
                  <a:lnTo>
                    <a:pt x="8650" y="1273"/>
                  </a:lnTo>
                  <a:lnTo>
                    <a:pt x="8832" y="982"/>
                  </a:lnTo>
                  <a:lnTo>
                    <a:pt x="9014" y="655"/>
                  </a:lnTo>
                  <a:lnTo>
                    <a:pt x="9159" y="328"/>
                  </a:lnTo>
                  <a:lnTo>
                    <a:pt x="9268" y="1"/>
                  </a:lnTo>
                  <a:close/>
                  <a:moveTo>
                    <a:pt x="0" y="3963"/>
                  </a:moveTo>
                  <a:lnTo>
                    <a:pt x="36" y="5743"/>
                  </a:lnTo>
                  <a:lnTo>
                    <a:pt x="945" y="5525"/>
                  </a:lnTo>
                  <a:lnTo>
                    <a:pt x="836" y="5489"/>
                  </a:lnTo>
                  <a:lnTo>
                    <a:pt x="800" y="5416"/>
                  </a:lnTo>
                  <a:lnTo>
                    <a:pt x="0" y="3963"/>
                  </a:lnTo>
                  <a:close/>
                </a:path>
              </a:pathLst>
            </a:custGeom>
            <a:solidFill>
              <a:srgbClr val="3232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4" name="Google Shape;2633;p11">
              <a:extLst>
                <a:ext uri="{FF2B5EF4-FFF2-40B4-BE49-F238E27FC236}">
                  <a16:creationId xmlns:a16="http://schemas.microsoft.com/office/drawing/2014/main" id="{915747C2-6DC5-B232-1EDC-242CE166E784}"/>
                </a:ext>
              </a:extLst>
            </p:cNvPr>
            <p:cNvSpPr/>
            <p:nvPr/>
          </p:nvSpPr>
          <p:spPr>
            <a:xfrm>
              <a:off x="1812800" y="3690700"/>
              <a:ext cx="23650" cy="44550"/>
            </a:xfrm>
            <a:custGeom>
              <a:avLst/>
              <a:gdLst/>
              <a:ahLst/>
              <a:cxnLst/>
              <a:rect l="l" t="t" r="r" b="b"/>
              <a:pathLst>
                <a:path w="946" h="1782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36" y="1781"/>
                  </a:lnTo>
                  <a:lnTo>
                    <a:pt x="36" y="1781"/>
                  </a:lnTo>
                  <a:lnTo>
                    <a:pt x="36" y="1781"/>
                  </a:lnTo>
                  <a:lnTo>
                    <a:pt x="36" y="1781"/>
                  </a:lnTo>
                  <a:lnTo>
                    <a:pt x="945" y="1563"/>
                  </a:lnTo>
                  <a:lnTo>
                    <a:pt x="945" y="1563"/>
                  </a:lnTo>
                  <a:lnTo>
                    <a:pt x="836" y="1527"/>
                  </a:lnTo>
                  <a:lnTo>
                    <a:pt x="800" y="1454"/>
                  </a:lnTo>
                  <a:lnTo>
                    <a:pt x="800" y="1454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5" name="Google Shape;2634;p11">
              <a:extLst>
                <a:ext uri="{FF2B5EF4-FFF2-40B4-BE49-F238E27FC236}">
                  <a16:creationId xmlns:a16="http://schemas.microsoft.com/office/drawing/2014/main" id="{0B3A34B8-813C-9A55-AC25-6604DDABD6FF}"/>
                </a:ext>
              </a:extLst>
            </p:cNvPr>
            <p:cNvSpPr/>
            <p:nvPr/>
          </p:nvSpPr>
          <p:spPr>
            <a:xfrm>
              <a:off x="1932725" y="3591650"/>
              <a:ext cx="111800" cy="103625"/>
            </a:xfrm>
            <a:custGeom>
              <a:avLst/>
              <a:gdLst/>
              <a:ahLst/>
              <a:cxnLst/>
              <a:rect l="l" t="t" r="r" b="b"/>
              <a:pathLst>
                <a:path w="4472" h="4145" fill="none" extrusionOk="0">
                  <a:moveTo>
                    <a:pt x="4471" y="1"/>
                  </a:moveTo>
                  <a:lnTo>
                    <a:pt x="4471" y="1"/>
                  </a:lnTo>
                  <a:lnTo>
                    <a:pt x="4326" y="292"/>
                  </a:lnTo>
                  <a:lnTo>
                    <a:pt x="4181" y="619"/>
                  </a:lnTo>
                  <a:lnTo>
                    <a:pt x="3962" y="909"/>
                  </a:lnTo>
                  <a:lnTo>
                    <a:pt x="3744" y="1200"/>
                  </a:lnTo>
                  <a:lnTo>
                    <a:pt x="3744" y="1200"/>
                  </a:lnTo>
                  <a:lnTo>
                    <a:pt x="3345" y="1564"/>
                  </a:lnTo>
                  <a:lnTo>
                    <a:pt x="2945" y="1891"/>
                  </a:lnTo>
                  <a:lnTo>
                    <a:pt x="2509" y="2218"/>
                  </a:lnTo>
                  <a:lnTo>
                    <a:pt x="2072" y="2472"/>
                  </a:lnTo>
                  <a:lnTo>
                    <a:pt x="1636" y="2690"/>
                  </a:lnTo>
                  <a:lnTo>
                    <a:pt x="1200" y="2872"/>
                  </a:lnTo>
                  <a:lnTo>
                    <a:pt x="728" y="3018"/>
                  </a:lnTo>
                  <a:lnTo>
                    <a:pt x="255" y="3127"/>
                  </a:lnTo>
                  <a:lnTo>
                    <a:pt x="255" y="3127"/>
                  </a:lnTo>
                  <a:lnTo>
                    <a:pt x="582" y="3817"/>
                  </a:lnTo>
                  <a:lnTo>
                    <a:pt x="582" y="3817"/>
                  </a:lnTo>
                  <a:lnTo>
                    <a:pt x="1" y="4144"/>
                  </a:lnTo>
                  <a:lnTo>
                    <a:pt x="1" y="4144"/>
                  </a:lnTo>
                  <a:lnTo>
                    <a:pt x="764" y="3744"/>
                  </a:lnTo>
                  <a:lnTo>
                    <a:pt x="1491" y="3345"/>
                  </a:lnTo>
                  <a:lnTo>
                    <a:pt x="2182" y="2908"/>
                  </a:lnTo>
                  <a:lnTo>
                    <a:pt x="2799" y="2400"/>
                  </a:lnTo>
                  <a:lnTo>
                    <a:pt x="3090" y="2145"/>
                  </a:lnTo>
                  <a:lnTo>
                    <a:pt x="3381" y="1854"/>
                  </a:lnTo>
                  <a:lnTo>
                    <a:pt x="3635" y="1600"/>
                  </a:lnTo>
                  <a:lnTo>
                    <a:pt x="3853" y="1273"/>
                  </a:lnTo>
                  <a:lnTo>
                    <a:pt x="4035" y="982"/>
                  </a:lnTo>
                  <a:lnTo>
                    <a:pt x="4217" y="655"/>
                  </a:lnTo>
                  <a:lnTo>
                    <a:pt x="4362" y="328"/>
                  </a:lnTo>
                  <a:lnTo>
                    <a:pt x="447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6" name="Google Shape;2635;p11">
              <a:extLst>
                <a:ext uri="{FF2B5EF4-FFF2-40B4-BE49-F238E27FC236}">
                  <a16:creationId xmlns:a16="http://schemas.microsoft.com/office/drawing/2014/main" id="{DEB71BE5-2149-B23F-A4E3-B22A53E51B4F}"/>
                </a:ext>
              </a:extLst>
            </p:cNvPr>
            <p:cNvSpPr/>
            <p:nvPr/>
          </p:nvSpPr>
          <p:spPr>
            <a:xfrm>
              <a:off x="1858225" y="2610325"/>
              <a:ext cx="513400" cy="975000"/>
            </a:xfrm>
            <a:custGeom>
              <a:avLst/>
              <a:gdLst/>
              <a:ahLst/>
              <a:cxnLst/>
              <a:rect l="l" t="t" r="r" b="b"/>
              <a:pathLst>
                <a:path w="20536" h="39000" extrusionOk="0">
                  <a:moveTo>
                    <a:pt x="10977" y="0"/>
                  </a:moveTo>
                  <a:lnTo>
                    <a:pt x="10650" y="37"/>
                  </a:lnTo>
                  <a:lnTo>
                    <a:pt x="9559" y="982"/>
                  </a:lnTo>
                  <a:lnTo>
                    <a:pt x="8469" y="1818"/>
                  </a:lnTo>
                  <a:lnTo>
                    <a:pt x="7415" y="2545"/>
                  </a:lnTo>
                  <a:lnTo>
                    <a:pt x="6470" y="3199"/>
                  </a:lnTo>
                  <a:lnTo>
                    <a:pt x="5670" y="3671"/>
                  </a:lnTo>
                  <a:lnTo>
                    <a:pt x="5016" y="4071"/>
                  </a:lnTo>
                  <a:lnTo>
                    <a:pt x="4471" y="4362"/>
                  </a:lnTo>
                  <a:lnTo>
                    <a:pt x="2327" y="16029"/>
                  </a:lnTo>
                  <a:lnTo>
                    <a:pt x="836" y="24316"/>
                  </a:lnTo>
                  <a:lnTo>
                    <a:pt x="73" y="28714"/>
                  </a:lnTo>
                  <a:lnTo>
                    <a:pt x="0" y="29440"/>
                  </a:lnTo>
                  <a:lnTo>
                    <a:pt x="0" y="29986"/>
                  </a:lnTo>
                  <a:lnTo>
                    <a:pt x="0" y="30604"/>
                  </a:lnTo>
                  <a:lnTo>
                    <a:pt x="37" y="31294"/>
                  </a:lnTo>
                  <a:lnTo>
                    <a:pt x="146" y="32057"/>
                  </a:lnTo>
                  <a:lnTo>
                    <a:pt x="291" y="32821"/>
                  </a:lnTo>
                  <a:lnTo>
                    <a:pt x="509" y="33620"/>
                  </a:lnTo>
                  <a:lnTo>
                    <a:pt x="836" y="34420"/>
                  </a:lnTo>
                  <a:lnTo>
                    <a:pt x="1018" y="34820"/>
                  </a:lnTo>
                  <a:lnTo>
                    <a:pt x="1200" y="35219"/>
                  </a:lnTo>
                  <a:lnTo>
                    <a:pt x="1454" y="35583"/>
                  </a:lnTo>
                  <a:lnTo>
                    <a:pt x="1709" y="35983"/>
                  </a:lnTo>
                  <a:lnTo>
                    <a:pt x="1999" y="36310"/>
                  </a:lnTo>
                  <a:lnTo>
                    <a:pt x="2290" y="36673"/>
                  </a:lnTo>
                  <a:lnTo>
                    <a:pt x="2654" y="37000"/>
                  </a:lnTo>
                  <a:lnTo>
                    <a:pt x="3017" y="37328"/>
                  </a:lnTo>
                  <a:lnTo>
                    <a:pt x="3417" y="37618"/>
                  </a:lnTo>
                  <a:lnTo>
                    <a:pt x="3853" y="37873"/>
                  </a:lnTo>
                  <a:lnTo>
                    <a:pt x="4362" y="38127"/>
                  </a:lnTo>
                  <a:lnTo>
                    <a:pt x="4871" y="38345"/>
                  </a:lnTo>
                  <a:lnTo>
                    <a:pt x="5416" y="38563"/>
                  </a:lnTo>
                  <a:lnTo>
                    <a:pt x="5997" y="38709"/>
                  </a:lnTo>
                  <a:lnTo>
                    <a:pt x="6470" y="38818"/>
                  </a:lnTo>
                  <a:lnTo>
                    <a:pt x="6906" y="38890"/>
                  </a:lnTo>
                  <a:lnTo>
                    <a:pt x="7415" y="38927"/>
                  </a:lnTo>
                  <a:lnTo>
                    <a:pt x="7887" y="38963"/>
                  </a:lnTo>
                  <a:lnTo>
                    <a:pt x="8905" y="38999"/>
                  </a:lnTo>
                  <a:lnTo>
                    <a:pt x="9923" y="38927"/>
                  </a:lnTo>
                  <a:lnTo>
                    <a:pt x="10940" y="38781"/>
                  </a:lnTo>
                  <a:lnTo>
                    <a:pt x="11922" y="38600"/>
                  </a:lnTo>
                  <a:lnTo>
                    <a:pt x="12903" y="38382"/>
                  </a:lnTo>
                  <a:lnTo>
                    <a:pt x="13812" y="38127"/>
                  </a:lnTo>
                  <a:lnTo>
                    <a:pt x="14684" y="37836"/>
                  </a:lnTo>
                  <a:lnTo>
                    <a:pt x="15447" y="37509"/>
                  </a:lnTo>
                  <a:lnTo>
                    <a:pt x="16102" y="37218"/>
                  </a:lnTo>
                  <a:lnTo>
                    <a:pt x="16683" y="36891"/>
                  </a:lnTo>
                  <a:lnTo>
                    <a:pt x="17083" y="36564"/>
                  </a:lnTo>
                  <a:lnTo>
                    <a:pt x="17228" y="36383"/>
                  </a:lnTo>
                  <a:lnTo>
                    <a:pt x="17374" y="36237"/>
                  </a:lnTo>
                  <a:lnTo>
                    <a:pt x="17446" y="36092"/>
                  </a:lnTo>
                  <a:lnTo>
                    <a:pt x="17446" y="35946"/>
                  </a:lnTo>
                  <a:lnTo>
                    <a:pt x="17446" y="35801"/>
                  </a:lnTo>
                  <a:lnTo>
                    <a:pt x="17374" y="35692"/>
                  </a:lnTo>
                  <a:lnTo>
                    <a:pt x="17337" y="35583"/>
                  </a:lnTo>
                  <a:lnTo>
                    <a:pt x="17301" y="35474"/>
                  </a:lnTo>
                  <a:lnTo>
                    <a:pt x="17301" y="35147"/>
                  </a:lnTo>
                  <a:lnTo>
                    <a:pt x="17301" y="34674"/>
                  </a:lnTo>
                  <a:lnTo>
                    <a:pt x="17410" y="34129"/>
                  </a:lnTo>
                  <a:lnTo>
                    <a:pt x="17664" y="32748"/>
                  </a:lnTo>
                  <a:lnTo>
                    <a:pt x="18028" y="31003"/>
                  </a:lnTo>
                  <a:lnTo>
                    <a:pt x="18500" y="28932"/>
                  </a:lnTo>
                  <a:lnTo>
                    <a:pt x="19009" y="26642"/>
                  </a:lnTo>
                  <a:lnTo>
                    <a:pt x="19482" y="24170"/>
                  </a:lnTo>
                  <a:lnTo>
                    <a:pt x="19700" y="22862"/>
                  </a:lnTo>
                  <a:lnTo>
                    <a:pt x="19918" y="21553"/>
                  </a:lnTo>
                  <a:lnTo>
                    <a:pt x="20100" y="20209"/>
                  </a:lnTo>
                  <a:lnTo>
                    <a:pt x="20281" y="18828"/>
                  </a:lnTo>
                  <a:lnTo>
                    <a:pt x="20390" y="17483"/>
                  </a:lnTo>
                  <a:lnTo>
                    <a:pt x="20499" y="16102"/>
                  </a:lnTo>
                  <a:lnTo>
                    <a:pt x="20536" y="14720"/>
                  </a:lnTo>
                  <a:lnTo>
                    <a:pt x="20536" y="13376"/>
                  </a:lnTo>
                  <a:lnTo>
                    <a:pt x="20463" y="12031"/>
                  </a:lnTo>
                  <a:lnTo>
                    <a:pt x="20354" y="10722"/>
                  </a:lnTo>
                  <a:lnTo>
                    <a:pt x="20172" y="9414"/>
                  </a:lnTo>
                  <a:lnTo>
                    <a:pt x="19918" y="8178"/>
                  </a:lnTo>
                  <a:lnTo>
                    <a:pt x="19772" y="7560"/>
                  </a:lnTo>
                  <a:lnTo>
                    <a:pt x="19591" y="6943"/>
                  </a:lnTo>
                  <a:lnTo>
                    <a:pt x="19373" y="6361"/>
                  </a:lnTo>
                  <a:lnTo>
                    <a:pt x="19155" y="5779"/>
                  </a:lnTo>
                  <a:lnTo>
                    <a:pt x="18937" y="5234"/>
                  </a:lnTo>
                  <a:lnTo>
                    <a:pt x="18682" y="4689"/>
                  </a:lnTo>
                  <a:lnTo>
                    <a:pt x="18391" y="4144"/>
                  </a:lnTo>
                  <a:lnTo>
                    <a:pt x="18101" y="3635"/>
                  </a:lnTo>
                  <a:lnTo>
                    <a:pt x="17773" y="3126"/>
                  </a:lnTo>
                  <a:lnTo>
                    <a:pt x="17410" y="2654"/>
                  </a:lnTo>
                  <a:lnTo>
                    <a:pt x="17010" y="2218"/>
                  </a:lnTo>
                  <a:lnTo>
                    <a:pt x="16610" y="1745"/>
                  </a:lnTo>
                  <a:lnTo>
                    <a:pt x="16465" y="1636"/>
                  </a:lnTo>
                  <a:lnTo>
                    <a:pt x="16320" y="1563"/>
                  </a:lnTo>
                  <a:lnTo>
                    <a:pt x="16174" y="1527"/>
                  </a:lnTo>
                  <a:lnTo>
                    <a:pt x="16065" y="1563"/>
                  </a:lnTo>
                  <a:lnTo>
                    <a:pt x="15956" y="1600"/>
                  </a:lnTo>
                  <a:lnTo>
                    <a:pt x="15847" y="1672"/>
                  </a:lnTo>
                  <a:lnTo>
                    <a:pt x="15629" y="1890"/>
                  </a:lnTo>
                  <a:lnTo>
                    <a:pt x="15484" y="2036"/>
                  </a:lnTo>
                  <a:lnTo>
                    <a:pt x="15411" y="2218"/>
                  </a:lnTo>
                  <a:lnTo>
                    <a:pt x="15229" y="2472"/>
                  </a:lnTo>
                  <a:lnTo>
                    <a:pt x="15120" y="2581"/>
                  </a:lnTo>
                  <a:lnTo>
                    <a:pt x="14975" y="2654"/>
                  </a:lnTo>
                  <a:lnTo>
                    <a:pt x="14757" y="2690"/>
                  </a:lnTo>
                  <a:lnTo>
                    <a:pt x="14430" y="2654"/>
                  </a:lnTo>
                  <a:lnTo>
                    <a:pt x="14139" y="2617"/>
                  </a:lnTo>
                  <a:lnTo>
                    <a:pt x="13848" y="2508"/>
                  </a:lnTo>
                  <a:lnTo>
                    <a:pt x="13557" y="2327"/>
                  </a:lnTo>
                  <a:lnTo>
                    <a:pt x="13339" y="2145"/>
                  </a:lnTo>
                  <a:lnTo>
                    <a:pt x="13121" y="1890"/>
                  </a:lnTo>
                  <a:lnTo>
                    <a:pt x="12939" y="1636"/>
                  </a:lnTo>
                  <a:lnTo>
                    <a:pt x="12540" y="1127"/>
                  </a:lnTo>
                  <a:lnTo>
                    <a:pt x="12176" y="618"/>
                  </a:lnTo>
                  <a:lnTo>
                    <a:pt x="11958" y="400"/>
                  </a:lnTo>
                  <a:lnTo>
                    <a:pt x="11740" y="219"/>
                  </a:lnTo>
                  <a:lnTo>
                    <a:pt x="11522" y="110"/>
                  </a:lnTo>
                  <a:lnTo>
                    <a:pt x="1126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7" name="Google Shape;2636;p11">
              <a:extLst>
                <a:ext uri="{FF2B5EF4-FFF2-40B4-BE49-F238E27FC236}">
                  <a16:creationId xmlns:a16="http://schemas.microsoft.com/office/drawing/2014/main" id="{10BDF48E-5F34-84A0-9277-25E39253FE3C}"/>
                </a:ext>
              </a:extLst>
            </p:cNvPr>
            <p:cNvSpPr/>
            <p:nvPr/>
          </p:nvSpPr>
          <p:spPr>
            <a:xfrm>
              <a:off x="1858225" y="2610325"/>
              <a:ext cx="513400" cy="975000"/>
            </a:xfrm>
            <a:custGeom>
              <a:avLst/>
              <a:gdLst/>
              <a:ahLst/>
              <a:cxnLst/>
              <a:rect l="l" t="t" r="r" b="b"/>
              <a:pathLst>
                <a:path w="20536" h="39000" fill="none" extrusionOk="0">
                  <a:moveTo>
                    <a:pt x="10650" y="37"/>
                  </a:moveTo>
                  <a:lnTo>
                    <a:pt x="10650" y="37"/>
                  </a:lnTo>
                  <a:lnTo>
                    <a:pt x="10977" y="0"/>
                  </a:lnTo>
                  <a:lnTo>
                    <a:pt x="11268" y="0"/>
                  </a:lnTo>
                  <a:lnTo>
                    <a:pt x="11522" y="110"/>
                  </a:lnTo>
                  <a:lnTo>
                    <a:pt x="11740" y="219"/>
                  </a:lnTo>
                  <a:lnTo>
                    <a:pt x="11958" y="400"/>
                  </a:lnTo>
                  <a:lnTo>
                    <a:pt x="12176" y="618"/>
                  </a:lnTo>
                  <a:lnTo>
                    <a:pt x="12540" y="1127"/>
                  </a:lnTo>
                  <a:lnTo>
                    <a:pt x="12939" y="1636"/>
                  </a:lnTo>
                  <a:lnTo>
                    <a:pt x="13121" y="1890"/>
                  </a:lnTo>
                  <a:lnTo>
                    <a:pt x="13339" y="2145"/>
                  </a:lnTo>
                  <a:lnTo>
                    <a:pt x="13557" y="2327"/>
                  </a:lnTo>
                  <a:lnTo>
                    <a:pt x="13848" y="2508"/>
                  </a:lnTo>
                  <a:lnTo>
                    <a:pt x="14139" y="2617"/>
                  </a:lnTo>
                  <a:lnTo>
                    <a:pt x="14430" y="2654"/>
                  </a:lnTo>
                  <a:lnTo>
                    <a:pt x="14430" y="2654"/>
                  </a:lnTo>
                  <a:lnTo>
                    <a:pt x="14757" y="2690"/>
                  </a:lnTo>
                  <a:lnTo>
                    <a:pt x="14975" y="2654"/>
                  </a:lnTo>
                  <a:lnTo>
                    <a:pt x="15120" y="2581"/>
                  </a:lnTo>
                  <a:lnTo>
                    <a:pt x="15229" y="2472"/>
                  </a:lnTo>
                  <a:lnTo>
                    <a:pt x="15411" y="2218"/>
                  </a:lnTo>
                  <a:lnTo>
                    <a:pt x="15484" y="2036"/>
                  </a:lnTo>
                  <a:lnTo>
                    <a:pt x="15629" y="1890"/>
                  </a:lnTo>
                  <a:lnTo>
                    <a:pt x="15629" y="1890"/>
                  </a:lnTo>
                  <a:lnTo>
                    <a:pt x="15847" y="1672"/>
                  </a:lnTo>
                  <a:lnTo>
                    <a:pt x="15956" y="1600"/>
                  </a:lnTo>
                  <a:lnTo>
                    <a:pt x="16065" y="1563"/>
                  </a:lnTo>
                  <a:lnTo>
                    <a:pt x="16174" y="1527"/>
                  </a:lnTo>
                  <a:lnTo>
                    <a:pt x="16320" y="1563"/>
                  </a:lnTo>
                  <a:lnTo>
                    <a:pt x="16465" y="1636"/>
                  </a:lnTo>
                  <a:lnTo>
                    <a:pt x="16610" y="1745"/>
                  </a:lnTo>
                  <a:lnTo>
                    <a:pt x="16610" y="1745"/>
                  </a:lnTo>
                  <a:lnTo>
                    <a:pt x="17010" y="2218"/>
                  </a:lnTo>
                  <a:lnTo>
                    <a:pt x="17410" y="2654"/>
                  </a:lnTo>
                  <a:lnTo>
                    <a:pt x="17773" y="3126"/>
                  </a:lnTo>
                  <a:lnTo>
                    <a:pt x="18101" y="3635"/>
                  </a:lnTo>
                  <a:lnTo>
                    <a:pt x="18391" y="4144"/>
                  </a:lnTo>
                  <a:lnTo>
                    <a:pt x="18682" y="4689"/>
                  </a:lnTo>
                  <a:lnTo>
                    <a:pt x="18937" y="5234"/>
                  </a:lnTo>
                  <a:lnTo>
                    <a:pt x="19155" y="5779"/>
                  </a:lnTo>
                  <a:lnTo>
                    <a:pt x="19373" y="6361"/>
                  </a:lnTo>
                  <a:lnTo>
                    <a:pt x="19591" y="6943"/>
                  </a:lnTo>
                  <a:lnTo>
                    <a:pt x="19772" y="7560"/>
                  </a:lnTo>
                  <a:lnTo>
                    <a:pt x="19918" y="8178"/>
                  </a:lnTo>
                  <a:lnTo>
                    <a:pt x="20172" y="9414"/>
                  </a:lnTo>
                  <a:lnTo>
                    <a:pt x="20354" y="10722"/>
                  </a:lnTo>
                  <a:lnTo>
                    <a:pt x="20463" y="12031"/>
                  </a:lnTo>
                  <a:lnTo>
                    <a:pt x="20536" y="13376"/>
                  </a:lnTo>
                  <a:lnTo>
                    <a:pt x="20536" y="14720"/>
                  </a:lnTo>
                  <a:lnTo>
                    <a:pt x="20499" y="16102"/>
                  </a:lnTo>
                  <a:lnTo>
                    <a:pt x="20390" y="17483"/>
                  </a:lnTo>
                  <a:lnTo>
                    <a:pt x="20281" y="18828"/>
                  </a:lnTo>
                  <a:lnTo>
                    <a:pt x="20100" y="20209"/>
                  </a:lnTo>
                  <a:lnTo>
                    <a:pt x="19918" y="21553"/>
                  </a:lnTo>
                  <a:lnTo>
                    <a:pt x="19700" y="22862"/>
                  </a:lnTo>
                  <a:lnTo>
                    <a:pt x="19482" y="24170"/>
                  </a:lnTo>
                  <a:lnTo>
                    <a:pt x="19009" y="26642"/>
                  </a:lnTo>
                  <a:lnTo>
                    <a:pt x="18500" y="28932"/>
                  </a:lnTo>
                  <a:lnTo>
                    <a:pt x="18028" y="31003"/>
                  </a:lnTo>
                  <a:lnTo>
                    <a:pt x="17664" y="32748"/>
                  </a:lnTo>
                  <a:lnTo>
                    <a:pt x="17410" y="34129"/>
                  </a:lnTo>
                  <a:lnTo>
                    <a:pt x="17301" y="34674"/>
                  </a:lnTo>
                  <a:lnTo>
                    <a:pt x="17301" y="35147"/>
                  </a:lnTo>
                  <a:lnTo>
                    <a:pt x="17301" y="35474"/>
                  </a:lnTo>
                  <a:lnTo>
                    <a:pt x="17337" y="35583"/>
                  </a:lnTo>
                  <a:lnTo>
                    <a:pt x="17374" y="35692"/>
                  </a:lnTo>
                  <a:lnTo>
                    <a:pt x="17374" y="35692"/>
                  </a:lnTo>
                  <a:lnTo>
                    <a:pt x="17446" y="35801"/>
                  </a:lnTo>
                  <a:lnTo>
                    <a:pt x="17446" y="35946"/>
                  </a:lnTo>
                  <a:lnTo>
                    <a:pt x="17446" y="36092"/>
                  </a:lnTo>
                  <a:lnTo>
                    <a:pt x="17374" y="36237"/>
                  </a:lnTo>
                  <a:lnTo>
                    <a:pt x="17228" y="36383"/>
                  </a:lnTo>
                  <a:lnTo>
                    <a:pt x="17083" y="36564"/>
                  </a:lnTo>
                  <a:lnTo>
                    <a:pt x="16683" y="36891"/>
                  </a:lnTo>
                  <a:lnTo>
                    <a:pt x="16102" y="37218"/>
                  </a:lnTo>
                  <a:lnTo>
                    <a:pt x="15447" y="37509"/>
                  </a:lnTo>
                  <a:lnTo>
                    <a:pt x="14684" y="37836"/>
                  </a:lnTo>
                  <a:lnTo>
                    <a:pt x="13812" y="38127"/>
                  </a:lnTo>
                  <a:lnTo>
                    <a:pt x="12903" y="38382"/>
                  </a:lnTo>
                  <a:lnTo>
                    <a:pt x="11922" y="38600"/>
                  </a:lnTo>
                  <a:lnTo>
                    <a:pt x="10940" y="38781"/>
                  </a:lnTo>
                  <a:lnTo>
                    <a:pt x="9923" y="38927"/>
                  </a:lnTo>
                  <a:lnTo>
                    <a:pt x="8905" y="38999"/>
                  </a:lnTo>
                  <a:lnTo>
                    <a:pt x="7887" y="38963"/>
                  </a:lnTo>
                  <a:lnTo>
                    <a:pt x="7415" y="38927"/>
                  </a:lnTo>
                  <a:lnTo>
                    <a:pt x="6906" y="38890"/>
                  </a:lnTo>
                  <a:lnTo>
                    <a:pt x="6470" y="38818"/>
                  </a:lnTo>
                  <a:lnTo>
                    <a:pt x="5997" y="38709"/>
                  </a:lnTo>
                  <a:lnTo>
                    <a:pt x="5997" y="38709"/>
                  </a:lnTo>
                  <a:lnTo>
                    <a:pt x="5416" y="38563"/>
                  </a:lnTo>
                  <a:lnTo>
                    <a:pt x="4871" y="38345"/>
                  </a:lnTo>
                  <a:lnTo>
                    <a:pt x="4362" y="38127"/>
                  </a:lnTo>
                  <a:lnTo>
                    <a:pt x="3853" y="37873"/>
                  </a:lnTo>
                  <a:lnTo>
                    <a:pt x="3417" y="37618"/>
                  </a:lnTo>
                  <a:lnTo>
                    <a:pt x="3017" y="37328"/>
                  </a:lnTo>
                  <a:lnTo>
                    <a:pt x="2654" y="37000"/>
                  </a:lnTo>
                  <a:lnTo>
                    <a:pt x="2290" y="36673"/>
                  </a:lnTo>
                  <a:lnTo>
                    <a:pt x="1999" y="36310"/>
                  </a:lnTo>
                  <a:lnTo>
                    <a:pt x="1709" y="35983"/>
                  </a:lnTo>
                  <a:lnTo>
                    <a:pt x="1454" y="35583"/>
                  </a:lnTo>
                  <a:lnTo>
                    <a:pt x="1200" y="35219"/>
                  </a:lnTo>
                  <a:lnTo>
                    <a:pt x="1018" y="34820"/>
                  </a:lnTo>
                  <a:lnTo>
                    <a:pt x="836" y="34420"/>
                  </a:lnTo>
                  <a:lnTo>
                    <a:pt x="509" y="33620"/>
                  </a:lnTo>
                  <a:lnTo>
                    <a:pt x="291" y="32821"/>
                  </a:lnTo>
                  <a:lnTo>
                    <a:pt x="146" y="32057"/>
                  </a:lnTo>
                  <a:lnTo>
                    <a:pt x="37" y="31294"/>
                  </a:lnTo>
                  <a:lnTo>
                    <a:pt x="0" y="30604"/>
                  </a:lnTo>
                  <a:lnTo>
                    <a:pt x="0" y="29986"/>
                  </a:lnTo>
                  <a:lnTo>
                    <a:pt x="0" y="29440"/>
                  </a:lnTo>
                  <a:lnTo>
                    <a:pt x="73" y="28714"/>
                  </a:lnTo>
                  <a:lnTo>
                    <a:pt x="73" y="28714"/>
                  </a:lnTo>
                  <a:lnTo>
                    <a:pt x="836" y="24316"/>
                  </a:lnTo>
                  <a:lnTo>
                    <a:pt x="2327" y="16029"/>
                  </a:lnTo>
                  <a:lnTo>
                    <a:pt x="4471" y="4362"/>
                  </a:lnTo>
                  <a:lnTo>
                    <a:pt x="4471" y="4362"/>
                  </a:lnTo>
                  <a:lnTo>
                    <a:pt x="5016" y="4071"/>
                  </a:lnTo>
                  <a:lnTo>
                    <a:pt x="5670" y="3671"/>
                  </a:lnTo>
                  <a:lnTo>
                    <a:pt x="6470" y="3199"/>
                  </a:lnTo>
                  <a:lnTo>
                    <a:pt x="7415" y="2545"/>
                  </a:lnTo>
                  <a:lnTo>
                    <a:pt x="8469" y="1818"/>
                  </a:lnTo>
                  <a:lnTo>
                    <a:pt x="9559" y="982"/>
                  </a:lnTo>
                  <a:lnTo>
                    <a:pt x="10650" y="3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8" name="Google Shape;2637;p11">
              <a:extLst>
                <a:ext uri="{FF2B5EF4-FFF2-40B4-BE49-F238E27FC236}">
                  <a16:creationId xmlns:a16="http://schemas.microsoft.com/office/drawing/2014/main" id="{83B0DA03-863E-3AD9-E445-9F740DFFFA93}"/>
                </a:ext>
              </a:extLst>
            </p:cNvPr>
            <p:cNvSpPr/>
            <p:nvPr/>
          </p:nvSpPr>
          <p:spPr>
            <a:xfrm>
              <a:off x="2235300" y="2653950"/>
              <a:ext cx="829625" cy="1010425"/>
            </a:xfrm>
            <a:custGeom>
              <a:avLst/>
              <a:gdLst/>
              <a:ahLst/>
              <a:cxnLst/>
              <a:rect l="l" t="t" r="r" b="b"/>
              <a:pathLst>
                <a:path w="33185" h="40417" extrusionOk="0">
                  <a:moveTo>
                    <a:pt x="1527" y="0"/>
                  </a:moveTo>
                  <a:lnTo>
                    <a:pt x="1491" y="327"/>
                  </a:lnTo>
                  <a:lnTo>
                    <a:pt x="1491" y="1272"/>
                  </a:lnTo>
                  <a:lnTo>
                    <a:pt x="1527" y="2035"/>
                  </a:lnTo>
                  <a:lnTo>
                    <a:pt x="1564" y="3017"/>
                  </a:lnTo>
                  <a:lnTo>
                    <a:pt x="1673" y="4180"/>
                  </a:lnTo>
                  <a:lnTo>
                    <a:pt x="1818" y="5561"/>
                  </a:lnTo>
                  <a:lnTo>
                    <a:pt x="1927" y="6542"/>
                  </a:lnTo>
                  <a:lnTo>
                    <a:pt x="1927" y="7487"/>
                  </a:lnTo>
                  <a:lnTo>
                    <a:pt x="1891" y="8396"/>
                  </a:lnTo>
                  <a:lnTo>
                    <a:pt x="1782" y="9305"/>
                  </a:lnTo>
                  <a:lnTo>
                    <a:pt x="1636" y="10213"/>
                  </a:lnTo>
                  <a:lnTo>
                    <a:pt x="1455" y="11086"/>
                  </a:lnTo>
                  <a:lnTo>
                    <a:pt x="1019" y="12866"/>
                  </a:lnTo>
                  <a:lnTo>
                    <a:pt x="582" y="14720"/>
                  </a:lnTo>
                  <a:lnTo>
                    <a:pt x="401" y="15665"/>
                  </a:lnTo>
                  <a:lnTo>
                    <a:pt x="255" y="16646"/>
                  </a:lnTo>
                  <a:lnTo>
                    <a:pt x="146" y="17664"/>
                  </a:lnTo>
                  <a:lnTo>
                    <a:pt x="74" y="18718"/>
                  </a:lnTo>
                  <a:lnTo>
                    <a:pt x="74" y="19845"/>
                  </a:lnTo>
                  <a:lnTo>
                    <a:pt x="146" y="21008"/>
                  </a:lnTo>
                  <a:lnTo>
                    <a:pt x="255" y="22571"/>
                  </a:lnTo>
                  <a:lnTo>
                    <a:pt x="328" y="24097"/>
                  </a:lnTo>
                  <a:lnTo>
                    <a:pt x="328" y="25660"/>
                  </a:lnTo>
                  <a:lnTo>
                    <a:pt x="292" y="27150"/>
                  </a:lnTo>
                  <a:lnTo>
                    <a:pt x="183" y="30058"/>
                  </a:lnTo>
                  <a:lnTo>
                    <a:pt x="74" y="32711"/>
                  </a:lnTo>
                  <a:lnTo>
                    <a:pt x="1" y="33947"/>
                  </a:lnTo>
                  <a:lnTo>
                    <a:pt x="1" y="35110"/>
                  </a:lnTo>
                  <a:lnTo>
                    <a:pt x="1" y="36128"/>
                  </a:lnTo>
                  <a:lnTo>
                    <a:pt x="37" y="37073"/>
                  </a:lnTo>
                  <a:lnTo>
                    <a:pt x="146" y="37909"/>
                  </a:lnTo>
                  <a:lnTo>
                    <a:pt x="255" y="38272"/>
                  </a:lnTo>
                  <a:lnTo>
                    <a:pt x="328" y="38636"/>
                  </a:lnTo>
                  <a:lnTo>
                    <a:pt x="437" y="38926"/>
                  </a:lnTo>
                  <a:lnTo>
                    <a:pt x="582" y="39181"/>
                  </a:lnTo>
                  <a:lnTo>
                    <a:pt x="728" y="39435"/>
                  </a:lnTo>
                  <a:lnTo>
                    <a:pt x="910" y="39617"/>
                  </a:lnTo>
                  <a:lnTo>
                    <a:pt x="1164" y="39799"/>
                  </a:lnTo>
                  <a:lnTo>
                    <a:pt x="1382" y="39980"/>
                  </a:lnTo>
                  <a:lnTo>
                    <a:pt x="1636" y="40126"/>
                  </a:lnTo>
                  <a:lnTo>
                    <a:pt x="1891" y="40235"/>
                  </a:lnTo>
                  <a:lnTo>
                    <a:pt x="2182" y="40344"/>
                  </a:lnTo>
                  <a:lnTo>
                    <a:pt x="2436" y="40380"/>
                  </a:lnTo>
                  <a:lnTo>
                    <a:pt x="2727" y="40416"/>
                  </a:lnTo>
                  <a:lnTo>
                    <a:pt x="3018" y="40416"/>
                  </a:lnTo>
                  <a:lnTo>
                    <a:pt x="3345" y="40380"/>
                  </a:lnTo>
                  <a:lnTo>
                    <a:pt x="3672" y="40271"/>
                  </a:lnTo>
                  <a:lnTo>
                    <a:pt x="3999" y="40162"/>
                  </a:lnTo>
                  <a:lnTo>
                    <a:pt x="4326" y="39980"/>
                  </a:lnTo>
                  <a:lnTo>
                    <a:pt x="4653" y="39799"/>
                  </a:lnTo>
                  <a:lnTo>
                    <a:pt x="5017" y="39508"/>
                  </a:lnTo>
                  <a:lnTo>
                    <a:pt x="5380" y="39217"/>
                  </a:lnTo>
                  <a:lnTo>
                    <a:pt x="5744" y="38854"/>
                  </a:lnTo>
                  <a:lnTo>
                    <a:pt x="6034" y="38527"/>
                  </a:lnTo>
                  <a:lnTo>
                    <a:pt x="6289" y="38163"/>
                  </a:lnTo>
                  <a:lnTo>
                    <a:pt x="6507" y="37763"/>
                  </a:lnTo>
                  <a:lnTo>
                    <a:pt x="6688" y="37327"/>
                  </a:lnTo>
                  <a:lnTo>
                    <a:pt x="6870" y="36855"/>
                  </a:lnTo>
                  <a:lnTo>
                    <a:pt x="7016" y="36346"/>
                  </a:lnTo>
                  <a:lnTo>
                    <a:pt x="7125" y="35801"/>
                  </a:lnTo>
                  <a:lnTo>
                    <a:pt x="7234" y="35255"/>
                  </a:lnTo>
                  <a:lnTo>
                    <a:pt x="7379" y="34092"/>
                  </a:lnTo>
                  <a:lnTo>
                    <a:pt x="7452" y="32893"/>
                  </a:lnTo>
                  <a:lnTo>
                    <a:pt x="7452" y="31621"/>
                  </a:lnTo>
                  <a:lnTo>
                    <a:pt x="7415" y="30349"/>
                  </a:lnTo>
                  <a:lnTo>
                    <a:pt x="7343" y="29113"/>
                  </a:lnTo>
                  <a:lnTo>
                    <a:pt x="7234" y="27877"/>
                  </a:lnTo>
                  <a:lnTo>
                    <a:pt x="6979" y="25587"/>
                  </a:lnTo>
                  <a:lnTo>
                    <a:pt x="6725" y="23697"/>
                  </a:lnTo>
                  <a:lnTo>
                    <a:pt x="6543" y="22425"/>
                  </a:lnTo>
                  <a:lnTo>
                    <a:pt x="6434" y="21626"/>
                  </a:lnTo>
                  <a:lnTo>
                    <a:pt x="6289" y="20717"/>
                  </a:lnTo>
                  <a:lnTo>
                    <a:pt x="5962" y="18718"/>
                  </a:lnTo>
                  <a:lnTo>
                    <a:pt x="5744" y="17410"/>
                  </a:lnTo>
                  <a:lnTo>
                    <a:pt x="5671" y="16755"/>
                  </a:lnTo>
                  <a:lnTo>
                    <a:pt x="5598" y="16138"/>
                  </a:lnTo>
                  <a:lnTo>
                    <a:pt x="5598" y="15556"/>
                  </a:lnTo>
                  <a:lnTo>
                    <a:pt x="5598" y="15302"/>
                  </a:lnTo>
                  <a:lnTo>
                    <a:pt x="5671" y="15047"/>
                  </a:lnTo>
                  <a:lnTo>
                    <a:pt x="5707" y="14829"/>
                  </a:lnTo>
                  <a:lnTo>
                    <a:pt x="5816" y="14647"/>
                  </a:lnTo>
                  <a:lnTo>
                    <a:pt x="5925" y="14466"/>
                  </a:lnTo>
                  <a:lnTo>
                    <a:pt x="6071" y="14357"/>
                  </a:lnTo>
                  <a:lnTo>
                    <a:pt x="6107" y="14357"/>
                  </a:lnTo>
                  <a:lnTo>
                    <a:pt x="6180" y="14393"/>
                  </a:lnTo>
                  <a:lnTo>
                    <a:pt x="6398" y="14538"/>
                  </a:lnTo>
                  <a:lnTo>
                    <a:pt x="7088" y="15193"/>
                  </a:lnTo>
                  <a:lnTo>
                    <a:pt x="8070" y="16138"/>
                  </a:lnTo>
                  <a:lnTo>
                    <a:pt x="8688" y="16683"/>
                  </a:lnTo>
                  <a:lnTo>
                    <a:pt x="9342" y="17228"/>
                  </a:lnTo>
                  <a:lnTo>
                    <a:pt x="10032" y="17809"/>
                  </a:lnTo>
                  <a:lnTo>
                    <a:pt x="10759" y="18355"/>
                  </a:lnTo>
                  <a:lnTo>
                    <a:pt x="11522" y="18863"/>
                  </a:lnTo>
                  <a:lnTo>
                    <a:pt x="12286" y="19300"/>
                  </a:lnTo>
                  <a:lnTo>
                    <a:pt x="13085" y="19699"/>
                  </a:lnTo>
                  <a:lnTo>
                    <a:pt x="13485" y="19845"/>
                  </a:lnTo>
                  <a:lnTo>
                    <a:pt x="13885" y="19990"/>
                  </a:lnTo>
                  <a:lnTo>
                    <a:pt x="14285" y="20099"/>
                  </a:lnTo>
                  <a:lnTo>
                    <a:pt x="14648" y="20172"/>
                  </a:lnTo>
                  <a:lnTo>
                    <a:pt x="15048" y="20208"/>
                  </a:lnTo>
                  <a:lnTo>
                    <a:pt x="15411" y="20208"/>
                  </a:lnTo>
                  <a:lnTo>
                    <a:pt x="15739" y="20172"/>
                  </a:lnTo>
                  <a:lnTo>
                    <a:pt x="16102" y="20099"/>
                  </a:lnTo>
                  <a:lnTo>
                    <a:pt x="16538" y="19918"/>
                  </a:lnTo>
                  <a:lnTo>
                    <a:pt x="17011" y="19736"/>
                  </a:lnTo>
                  <a:lnTo>
                    <a:pt x="18101" y="19191"/>
                  </a:lnTo>
                  <a:lnTo>
                    <a:pt x="19337" y="18464"/>
                  </a:lnTo>
                  <a:lnTo>
                    <a:pt x="20682" y="17628"/>
                  </a:lnTo>
                  <a:lnTo>
                    <a:pt x="22063" y="16683"/>
                  </a:lnTo>
                  <a:lnTo>
                    <a:pt x="23517" y="15665"/>
                  </a:lnTo>
                  <a:lnTo>
                    <a:pt x="25007" y="14611"/>
                  </a:lnTo>
                  <a:lnTo>
                    <a:pt x="27805" y="12539"/>
                  </a:lnTo>
                  <a:lnTo>
                    <a:pt x="30168" y="10686"/>
                  </a:lnTo>
                  <a:lnTo>
                    <a:pt x="31876" y="9341"/>
                  </a:lnTo>
                  <a:lnTo>
                    <a:pt x="32639" y="8687"/>
                  </a:lnTo>
                  <a:lnTo>
                    <a:pt x="32748" y="8541"/>
                  </a:lnTo>
                  <a:lnTo>
                    <a:pt x="32821" y="8396"/>
                  </a:lnTo>
                  <a:lnTo>
                    <a:pt x="32966" y="7996"/>
                  </a:lnTo>
                  <a:lnTo>
                    <a:pt x="33075" y="7560"/>
                  </a:lnTo>
                  <a:lnTo>
                    <a:pt x="33148" y="7087"/>
                  </a:lnTo>
                  <a:lnTo>
                    <a:pt x="33185" y="6542"/>
                  </a:lnTo>
                  <a:lnTo>
                    <a:pt x="33148" y="5997"/>
                  </a:lnTo>
                  <a:lnTo>
                    <a:pt x="33075" y="4870"/>
                  </a:lnTo>
                  <a:lnTo>
                    <a:pt x="32930" y="3780"/>
                  </a:lnTo>
                  <a:lnTo>
                    <a:pt x="32785" y="2908"/>
                  </a:lnTo>
                  <a:lnTo>
                    <a:pt x="32603" y="2072"/>
                  </a:lnTo>
                  <a:lnTo>
                    <a:pt x="32567" y="2035"/>
                  </a:lnTo>
                  <a:lnTo>
                    <a:pt x="32494" y="1999"/>
                  </a:lnTo>
                  <a:lnTo>
                    <a:pt x="32312" y="2035"/>
                  </a:lnTo>
                  <a:lnTo>
                    <a:pt x="32058" y="2108"/>
                  </a:lnTo>
                  <a:lnTo>
                    <a:pt x="31767" y="2290"/>
                  </a:lnTo>
                  <a:lnTo>
                    <a:pt x="30967" y="2799"/>
                  </a:lnTo>
                  <a:lnTo>
                    <a:pt x="29950" y="3526"/>
                  </a:lnTo>
                  <a:lnTo>
                    <a:pt x="28787" y="4434"/>
                  </a:lnTo>
                  <a:lnTo>
                    <a:pt x="27478" y="5488"/>
                  </a:lnTo>
                  <a:lnTo>
                    <a:pt x="24643" y="7778"/>
                  </a:lnTo>
                  <a:lnTo>
                    <a:pt x="23189" y="8905"/>
                  </a:lnTo>
                  <a:lnTo>
                    <a:pt x="21772" y="10031"/>
                  </a:lnTo>
                  <a:lnTo>
                    <a:pt x="20391" y="11049"/>
                  </a:lnTo>
                  <a:lnTo>
                    <a:pt x="19119" y="11921"/>
                  </a:lnTo>
                  <a:lnTo>
                    <a:pt x="18537" y="12321"/>
                  </a:lnTo>
                  <a:lnTo>
                    <a:pt x="17956" y="12648"/>
                  </a:lnTo>
                  <a:lnTo>
                    <a:pt x="17447" y="12903"/>
                  </a:lnTo>
                  <a:lnTo>
                    <a:pt x="17011" y="13121"/>
                  </a:lnTo>
                  <a:lnTo>
                    <a:pt x="16575" y="13266"/>
                  </a:lnTo>
                  <a:lnTo>
                    <a:pt x="16247" y="13339"/>
                  </a:lnTo>
                  <a:lnTo>
                    <a:pt x="15957" y="13339"/>
                  </a:lnTo>
                  <a:lnTo>
                    <a:pt x="15811" y="13303"/>
                  </a:lnTo>
                  <a:lnTo>
                    <a:pt x="15702" y="13266"/>
                  </a:lnTo>
                  <a:lnTo>
                    <a:pt x="15375" y="13012"/>
                  </a:lnTo>
                  <a:lnTo>
                    <a:pt x="15048" y="12721"/>
                  </a:lnTo>
                  <a:lnTo>
                    <a:pt x="14394" y="12067"/>
                  </a:lnTo>
                  <a:lnTo>
                    <a:pt x="13703" y="11304"/>
                  </a:lnTo>
                  <a:lnTo>
                    <a:pt x="13013" y="10468"/>
                  </a:lnTo>
                  <a:lnTo>
                    <a:pt x="11559" y="8578"/>
                  </a:lnTo>
                  <a:lnTo>
                    <a:pt x="10796" y="7560"/>
                  </a:lnTo>
                  <a:lnTo>
                    <a:pt x="9996" y="6542"/>
                  </a:lnTo>
                  <a:lnTo>
                    <a:pt x="9160" y="5525"/>
                  </a:lnTo>
                  <a:lnTo>
                    <a:pt x="8251" y="4507"/>
                  </a:lnTo>
                  <a:lnTo>
                    <a:pt x="7306" y="3562"/>
                  </a:lnTo>
                  <a:lnTo>
                    <a:pt x="6798" y="3089"/>
                  </a:lnTo>
                  <a:lnTo>
                    <a:pt x="6289" y="2653"/>
                  </a:lnTo>
                  <a:lnTo>
                    <a:pt x="5780" y="2217"/>
                  </a:lnTo>
                  <a:lnTo>
                    <a:pt x="5235" y="1817"/>
                  </a:lnTo>
                  <a:lnTo>
                    <a:pt x="4653" y="1454"/>
                  </a:lnTo>
                  <a:lnTo>
                    <a:pt x="4072" y="1090"/>
                  </a:lnTo>
                  <a:lnTo>
                    <a:pt x="3454" y="800"/>
                  </a:lnTo>
                  <a:lnTo>
                    <a:pt x="2836" y="509"/>
                  </a:lnTo>
                  <a:lnTo>
                    <a:pt x="2218" y="254"/>
                  </a:lnTo>
                  <a:lnTo>
                    <a:pt x="1527" y="0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9" name="Google Shape;2638;p11">
              <a:extLst>
                <a:ext uri="{FF2B5EF4-FFF2-40B4-BE49-F238E27FC236}">
                  <a16:creationId xmlns:a16="http://schemas.microsoft.com/office/drawing/2014/main" id="{26B715E1-B892-45AE-D1E5-D4ABCEE89AD1}"/>
                </a:ext>
              </a:extLst>
            </p:cNvPr>
            <p:cNvSpPr/>
            <p:nvPr/>
          </p:nvSpPr>
          <p:spPr>
            <a:xfrm>
              <a:off x="1835500" y="3685250"/>
              <a:ext cx="117250" cy="57275"/>
            </a:xfrm>
            <a:custGeom>
              <a:avLst/>
              <a:gdLst/>
              <a:ahLst/>
              <a:cxnLst/>
              <a:rect l="l" t="t" r="r" b="b"/>
              <a:pathLst>
                <a:path w="4690" h="2291" extrusionOk="0">
                  <a:moveTo>
                    <a:pt x="4181" y="0"/>
                  </a:moveTo>
                  <a:lnTo>
                    <a:pt x="1" y="836"/>
                  </a:lnTo>
                  <a:lnTo>
                    <a:pt x="37" y="945"/>
                  </a:lnTo>
                  <a:lnTo>
                    <a:pt x="73" y="1200"/>
                  </a:lnTo>
                  <a:lnTo>
                    <a:pt x="182" y="1563"/>
                  </a:lnTo>
                  <a:lnTo>
                    <a:pt x="292" y="1781"/>
                  </a:lnTo>
                  <a:lnTo>
                    <a:pt x="401" y="1963"/>
                  </a:lnTo>
                  <a:lnTo>
                    <a:pt x="546" y="2145"/>
                  </a:lnTo>
                  <a:lnTo>
                    <a:pt x="655" y="2254"/>
                  </a:lnTo>
                  <a:lnTo>
                    <a:pt x="800" y="2290"/>
                  </a:lnTo>
                  <a:lnTo>
                    <a:pt x="982" y="2290"/>
                  </a:lnTo>
                  <a:lnTo>
                    <a:pt x="1055" y="2254"/>
                  </a:lnTo>
                  <a:lnTo>
                    <a:pt x="1091" y="2181"/>
                  </a:lnTo>
                  <a:lnTo>
                    <a:pt x="2763" y="1454"/>
                  </a:lnTo>
                  <a:lnTo>
                    <a:pt x="3962" y="873"/>
                  </a:lnTo>
                  <a:lnTo>
                    <a:pt x="4399" y="655"/>
                  </a:lnTo>
                  <a:lnTo>
                    <a:pt x="4653" y="546"/>
                  </a:lnTo>
                  <a:lnTo>
                    <a:pt x="4689" y="473"/>
                  </a:lnTo>
                  <a:lnTo>
                    <a:pt x="4689" y="400"/>
                  </a:lnTo>
                  <a:lnTo>
                    <a:pt x="4653" y="364"/>
                  </a:lnTo>
                  <a:lnTo>
                    <a:pt x="4580" y="291"/>
                  </a:lnTo>
                  <a:lnTo>
                    <a:pt x="4362" y="182"/>
                  </a:lnTo>
                  <a:lnTo>
                    <a:pt x="4290" y="109"/>
                  </a:lnTo>
                  <a:lnTo>
                    <a:pt x="4181" y="0"/>
                  </a:lnTo>
                  <a:close/>
                </a:path>
              </a:pathLst>
            </a:custGeom>
            <a:solidFill>
              <a:srgbClr val="E79E9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0" name="Google Shape;2639;p11">
              <a:extLst>
                <a:ext uri="{FF2B5EF4-FFF2-40B4-BE49-F238E27FC236}">
                  <a16:creationId xmlns:a16="http://schemas.microsoft.com/office/drawing/2014/main" id="{80B5CFDF-2907-F7A9-0262-6D8CFA3E6A12}"/>
                </a:ext>
              </a:extLst>
            </p:cNvPr>
            <p:cNvSpPr/>
            <p:nvPr/>
          </p:nvSpPr>
          <p:spPr>
            <a:xfrm>
              <a:off x="1781900" y="2611225"/>
              <a:ext cx="350750" cy="1062225"/>
            </a:xfrm>
            <a:custGeom>
              <a:avLst/>
              <a:gdLst/>
              <a:ahLst/>
              <a:cxnLst/>
              <a:rect l="l" t="t" r="r" b="b"/>
              <a:pathLst>
                <a:path w="14030" h="42489" extrusionOk="0">
                  <a:moveTo>
                    <a:pt x="13703" y="1"/>
                  </a:moveTo>
                  <a:lnTo>
                    <a:pt x="13521" y="37"/>
                  </a:lnTo>
                  <a:lnTo>
                    <a:pt x="12939" y="74"/>
                  </a:lnTo>
                  <a:lnTo>
                    <a:pt x="12067" y="255"/>
                  </a:lnTo>
                  <a:lnTo>
                    <a:pt x="11558" y="364"/>
                  </a:lnTo>
                  <a:lnTo>
                    <a:pt x="10977" y="546"/>
                  </a:lnTo>
                  <a:lnTo>
                    <a:pt x="10359" y="764"/>
                  </a:lnTo>
                  <a:lnTo>
                    <a:pt x="9705" y="1018"/>
                  </a:lnTo>
                  <a:lnTo>
                    <a:pt x="9014" y="1346"/>
                  </a:lnTo>
                  <a:lnTo>
                    <a:pt x="8324" y="1745"/>
                  </a:lnTo>
                  <a:lnTo>
                    <a:pt x="7597" y="2182"/>
                  </a:lnTo>
                  <a:lnTo>
                    <a:pt x="6906" y="2727"/>
                  </a:lnTo>
                  <a:lnTo>
                    <a:pt x="6179" y="3308"/>
                  </a:lnTo>
                  <a:lnTo>
                    <a:pt x="5452" y="3999"/>
                  </a:lnTo>
                  <a:lnTo>
                    <a:pt x="5198" y="4326"/>
                  </a:lnTo>
                  <a:lnTo>
                    <a:pt x="4907" y="4726"/>
                  </a:lnTo>
                  <a:lnTo>
                    <a:pt x="4653" y="5198"/>
                  </a:lnTo>
                  <a:lnTo>
                    <a:pt x="4398" y="5707"/>
                  </a:lnTo>
                  <a:lnTo>
                    <a:pt x="4180" y="6289"/>
                  </a:lnTo>
                  <a:lnTo>
                    <a:pt x="3962" y="6907"/>
                  </a:lnTo>
                  <a:lnTo>
                    <a:pt x="3780" y="7524"/>
                  </a:lnTo>
                  <a:lnTo>
                    <a:pt x="3599" y="8215"/>
                  </a:lnTo>
                  <a:lnTo>
                    <a:pt x="3271" y="9596"/>
                  </a:lnTo>
                  <a:lnTo>
                    <a:pt x="3017" y="11014"/>
                  </a:lnTo>
                  <a:lnTo>
                    <a:pt x="2872" y="12431"/>
                  </a:lnTo>
                  <a:lnTo>
                    <a:pt x="2763" y="13776"/>
                  </a:lnTo>
                  <a:lnTo>
                    <a:pt x="2654" y="16574"/>
                  </a:lnTo>
                  <a:lnTo>
                    <a:pt x="2654" y="17665"/>
                  </a:lnTo>
                  <a:lnTo>
                    <a:pt x="2654" y="18573"/>
                  </a:lnTo>
                  <a:lnTo>
                    <a:pt x="2726" y="20173"/>
                  </a:lnTo>
                  <a:lnTo>
                    <a:pt x="2763" y="21554"/>
                  </a:lnTo>
                  <a:lnTo>
                    <a:pt x="2835" y="23516"/>
                  </a:lnTo>
                  <a:lnTo>
                    <a:pt x="2835" y="24025"/>
                  </a:lnTo>
                  <a:lnTo>
                    <a:pt x="2763" y="24607"/>
                  </a:lnTo>
                  <a:lnTo>
                    <a:pt x="2690" y="25261"/>
                  </a:lnTo>
                  <a:lnTo>
                    <a:pt x="2581" y="25952"/>
                  </a:lnTo>
                  <a:lnTo>
                    <a:pt x="2290" y="27478"/>
                  </a:lnTo>
                  <a:lnTo>
                    <a:pt x="1890" y="29150"/>
                  </a:lnTo>
                  <a:lnTo>
                    <a:pt x="982" y="33039"/>
                  </a:lnTo>
                  <a:lnTo>
                    <a:pt x="582" y="34929"/>
                  </a:lnTo>
                  <a:lnTo>
                    <a:pt x="255" y="36710"/>
                  </a:lnTo>
                  <a:lnTo>
                    <a:pt x="146" y="37546"/>
                  </a:lnTo>
                  <a:lnTo>
                    <a:pt x="37" y="38309"/>
                  </a:lnTo>
                  <a:lnTo>
                    <a:pt x="0" y="39000"/>
                  </a:lnTo>
                  <a:lnTo>
                    <a:pt x="0" y="39618"/>
                  </a:lnTo>
                  <a:lnTo>
                    <a:pt x="73" y="40163"/>
                  </a:lnTo>
                  <a:lnTo>
                    <a:pt x="182" y="40635"/>
                  </a:lnTo>
                  <a:lnTo>
                    <a:pt x="255" y="40817"/>
                  </a:lnTo>
                  <a:lnTo>
                    <a:pt x="364" y="40962"/>
                  </a:lnTo>
                  <a:lnTo>
                    <a:pt x="473" y="41108"/>
                  </a:lnTo>
                  <a:lnTo>
                    <a:pt x="618" y="41217"/>
                  </a:lnTo>
                  <a:lnTo>
                    <a:pt x="1163" y="41544"/>
                  </a:lnTo>
                  <a:lnTo>
                    <a:pt x="1709" y="41798"/>
                  </a:lnTo>
                  <a:lnTo>
                    <a:pt x="2290" y="42016"/>
                  </a:lnTo>
                  <a:lnTo>
                    <a:pt x="2908" y="42198"/>
                  </a:lnTo>
                  <a:lnTo>
                    <a:pt x="3490" y="42344"/>
                  </a:lnTo>
                  <a:lnTo>
                    <a:pt x="4107" y="42453"/>
                  </a:lnTo>
                  <a:lnTo>
                    <a:pt x="4725" y="42489"/>
                  </a:lnTo>
                  <a:lnTo>
                    <a:pt x="5307" y="42453"/>
                  </a:lnTo>
                  <a:lnTo>
                    <a:pt x="5925" y="42416"/>
                  </a:lnTo>
                  <a:lnTo>
                    <a:pt x="6506" y="42307"/>
                  </a:lnTo>
                  <a:lnTo>
                    <a:pt x="7088" y="42125"/>
                  </a:lnTo>
                  <a:lnTo>
                    <a:pt x="7669" y="41907"/>
                  </a:lnTo>
                  <a:lnTo>
                    <a:pt x="8215" y="41617"/>
                  </a:lnTo>
                  <a:lnTo>
                    <a:pt x="8760" y="41290"/>
                  </a:lnTo>
                  <a:lnTo>
                    <a:pt x="9269" y="40890"/>
                  </a:lnTo>
                  <a:lnTo>
                    <a:pt x="9777" y="40417"/>
                  </a:lnTo>
                  <a:lnTo>
                    <a:pt x="10104" y="39981"/>
                  </a:lnTo>
                  <a:lnTo>
                    <a:pt x="10359" y="39545"/>
                  </a:lnTo>
                  <a:lnTo>
                    <a:pt x="10541" y="39109"/>
                  </a:lnTo>
                  <a:lnTo>
                    <a:pt x="10650" y="38636"/>
                  </a:lnTo>
                  <a:lnTo>
                    <a:pt x="10722" y="38127"/>
                  </a:lnTo>
                  <a:lnTo>
                    <a:pt x="10759" y="37582"/>
                  </a:lnTo>
                  <a:lnTo>
                    <a:pt x="10722" y="36419"/>
                  </a:lnTo>
                  <a:lnTo>
                    <a:pt x="10686" y="35147"/>
                  </a:lnTo>
                  <a:lnTo>
                    <a:pt x="10650" y="34457"/>
                  </a:lnTo>
                  <a:lnTo>
                    <a:pt x="10686" y="33693"/>
                  </a:lnTo>
                  <a:lnTo>
                    <a:pt x="10759" y="32930"/>
                  </a:lnTo>
                  <a:lnTo>
                    <a:pt x="10868" y="32094"/>
                  </a:lnTo>
                  <a:lnTo>
                    <a:pt x="11013" y="31222"/>
                  </a:lnTo>
                  <a:lnTo>
                    <a:pt x="11268" y="30277"/>
                  </a:lnTo>
                  <a:lnTo>
                    <a:pt x="11994" y="27805"/>
                  </a:lnTo>
                  <a:lnTo>
                    <a:pt x="12358" y="26351"/>
                  </a:lnTo>
                  <a:lnTo>
                    <a:pt x="12721" y="24825"/>
                  </a:lnTo>
                  <a:lnTo>
                    <a:pt x="13048" y="23262"/>
                  </a:lnTo>
                  <a:lnTo>
                    <a:pt x="13339" y="21699"/>
                  </a:lnTo>
                  <a:lnTo>
                    <a:pt x="13594" y="20209"/>
                  </a:lnTo>
                  <a:lnTo>
                    <a:pt x="13739" y="18828"/>
                  </a:lnTo>
                  <a:lnTo>
                    <a:pt x="13848" y="17410"/>
                  </a:lnTo>
                  <a:lnTo>
                    <a:pt x="13921" y="15957"/>
                  </a:lnTo>
                  <a:lnTo>
                    <a:pt x="14030" y="13013"/>
                  </a:lnTo>
                  <a:lnTo>
                    <a:pt x="14030" y="10141"/>
                  </a:lnTo>
                  <a:lnTo>
                    <a:pt x="14030" y="7415"/>
                  </a:lnTo>
                  <a:lnTo>
                    <a:pt x="13957" y="4907"/>
                  </a:lnTo>
                  <a:lnTo>
                    <a:pt x="13884" y="2799"/>
                  </a:lnTo>
                  <a:lnTo>
                    <a:pt x="13775" y="1128"/>
                  </a:lnTo>
                  <a:lnTo>
                    <a:pt x="13703" y="1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1" name="Google Shape;2640;p11">
              <a:extLst>
                <a:ext uri="{FF2B5EF4-FFF2-40B4-BE49-F238E27FC236}">
                  <a16:creationId xmlns:a16="http://schemas.microsoft.com/office/drawing/2014/main" id="{43F7F564-5597-C874-0FD7-2FAD1517DFE1}"/>
                </a:ext>
              </a:extLst>
            </p:cNvPr>
            <p:cNvSpPr/>
            <p:nvPr/>
          </p:nvSpPr>
          <p:spPr>
            <a:xfrm>
              <a:off x="1781900" y="2611225"/>
              <a:ext cx="350750" cy="1062225"/>
            </a:xfrm>
            <a:custGeom>
              <a:avLst/>
              <a:gdLst/>
              <a:ahLst/>
              <a:cxnLst/>
              <a:rect l="l" t="t" r="r" b="b"/>
              <a:pathLst>
                <a:path w="14030" h="42489" fill="none" extrusionOk="0">
                  <a:moveTo>
                    <a:pt x="618" y="41217"/>
                  </a:moveTo>
                  <a:lnTo>
                    <a:pt x="618" y="41217"/>
                  </a:lnTo>
                  <a:lnTo>
                    <a:pt x="1163" y="41544"/>
                  </a:lnTo>
                  <a:lnTo>
                    <a:pt x="1709" y="41798"/>
                  </a:lnTo>
                  <a:lnTo>
                    <a:pt x="2290" y="42016"/>
                  </a:lnTo>
                  <a:lnTo>
                    <a:pt x="2908" y="42198"/>
                  </a:lnTo>
                  <a:lnTo>
                    <a:pt x="3490" y="42344"/>
                  </a:lnTo>
                  <a:lnTo>
                    <a:pt x="4107" y="42453"/>
                  </a:lnTo>
                  <a:lnTo>
                    <a:pt x="4725" y="42489"/>
                  </a:lnTo>
                  <a:lnTo>
                    <a:pt x="5307" y="42453"/>
                  </a:lnTo>
                  <a:lnTo>
                    <a:pt x="5925" y="42416"/>
                  </a:lnTo>
                  <a:lnTo>
                    <a:pt x="6506" y="42307"/>
                  </a:lnTo>
                  <a:lnTo>
                    <a:pt x="7088" y="42125"/>
                  </a:lnTo>
                  <a:lnTo>
                    <a:pt x="7669" y="41907"/>
                  </a:lnTo>
                  <a:lnTo>
                    <a:pt x="8215" y="41617"/>
                  </a:lnTo>
                  <a:lnTo>
                    <a:pt x="8760" y="41290"/>
                  </a:lnTo>
                  <a:lnTo>
                    <a:pt x="9269" y="40890"/>
                  </a:lnTo>
                  <a:lnTo>
                    <a:pt x="9777" y="40417"/>
                  </a:lnTo>
                  <a:lnTo>
                    <a:pt x="9777" y="40417"/>
                  </a:lnTo>
                  <a:lnTo>
                    <a:pt x="10104" y="39981"/>
                  </a:lnTo>
                  <a:lnTo>
                    <a:pt x="10359" y="39545"/>
                  </a:lnTo>
                  <a:lnTo>
                    <a:pt x="10541" y="39109"/>
                  </a:lnTo>
                  <a:lnTo>
                    <a:pt x="10650" y="38636"/>
                  </a:lnTo>
                  <a:lnTo>
                    <a:pt x="10722" y="38127"/>
                  </a:lnTo>
                  <a:lnTo>
                    <a:pt x="10759" y="37582"/>
                  </a:lnTo>
                  <a:lnTo>
                    <a:pt x="10722" y="36419"/>
                  </a:lnTo>
                  <a:lnTo>
                    <a:pt x="10686" y="35147"/>
                  </a:lnTo>
                  <a:lnTo>
                    <a:pt x="10650" y="34457"/>
                  </a:lnTo>
                  <a:lnTo>
                    <a:pt x="10686" y="33693"/>
                  </a:lnTo>
                  <a:lnTo>
                    <a:pt x="10759" y="32930"/>
                  </a:lnTo>
                  <a:lnTo>
                    <a:pt x="10868" y="32094"/>
                  </a:lnTo>
                  <a:lnTo>
                    <a:pt x="11013" y="31222"/>
                  </a:lnTo>
                  <a:lnTo>
                    <a:pt x="11268" y="30277"/>
                  </a:lnTo>
                  <a:lnTo>
                    <a:pt x="11268" y="30277"/>
                  </a:lnTo>
                  <a:lnTo>
                    <a:pt x="11994" y="27805"/>
                  </a:lnTo>
                  <a:lnTo>
                    <a:pt x="12358" y="26351"/>
                  </a:lnTo>
                  <a:lnTo>
                    <a:pt x="12721" y="24825"/>
                  </a:lnTo>
                  <a:lnTo>
                    <a:pt x="13048" y="23262"/>
                  </a:lnTo>
                  <a:lnTo>
                    <a:pt x="13339" y="21699"/>
                  </a:lnTo>
                  <a:lnTo>
                    <a:pt x="13594" y="20209"/>
                  </a:lnTo>
                  <a:lnTo>
                    <a:pt x="13739" y="18828"/>
                  </a:lnTo>
                  <a:lnTo>
                    <a:pt x="13739" y="18828"/>
                  </a:lnTo>
                  <a:lnTo>
                    <a:pt x="13848" y="17410"/>
                  </a:lnTo>
                  <a:lnTo>
                    <a:pt x="13921" y="15957"/>
                  </a:lnTo>
                  <a:lnTo>
                    <a:pt x="14030" y="13013"/>
                  </a:lnTo>
                  <a:lnTo>
                    <a:pt x="14030" y="10141"/>
                  </a:lnTo>
                  <a:lnTo>
                    <a:pt x="14030" y="7415"/>
                  </a:lnTo>
                  <a:lnTo>
                    <a:pt x="13957" y="4907"/>
                  </a:lnTo>
                  <a:lnTo>
                    <a:pt x="13884" y="2799"/>
                  </a:lnTo>
                  <a:lnTo>
                    <a:pt x="13775" y="1128"/>
                  </a:lnTo>
                  <a:lnTo>
                    <a:pt x="13703" y="1"/>
                  </a:lnTo>
                  <a:lnTo>
                    <a:pt x="13703" y="1"/>
                  </a:lnTo>
                  <a:lnTo>
                    <a:pt x="13521" y="37"/>
                  </a:lnTo>
                  <a:lnTo>
                    <a:pt x="12939" y="74"/>
                  </a:lnTo>
                  <a:lnTo>
                    <a:pt x="12067" y="255"/>
                  </a:lnTo>
                  <a:lnTo>
                    <a:pt x="11558" y="364"/>
                  </a:lnTo>
                  <a:lnTo>
                    <a:pt x="10977" y="546"/>
                  </a:lnTo>
                  <a:lnTo>
                    <a:pt x="10359" y="764"/>
                  </a:lnTo>
                  <a:lnTo>
                    <a:pt x="9705" y="1018"/>
                  </a:lnTo>
                  <a:lnTo>
                    <a:pt x="9014" y="1346"/>
                  </a:lnTo>
                  <a:lnTo>
                    <a:pt x="8324" y="1745"/>
                  </a:lnTo>
                  <a:lnTo>
                    <a:pt x="7597" y="2182"/>
                  </a:lnTo>
                  <a:lnTo>
                    <a:pt x="6906" y="2727"/>
                  </a:lnTo>
                  <a:lnTo>
                    <a:pt x="6179" y="3308"/>
                  </a:lnTo>
                  <a:lnTo>
                    <a:pt x="5452" y="3999"/>
                  </a:lnTo>
                  <a:lnTo>
                    <a:pt x="5452" y="3999"/>
                  </a:lnTo>
                  <a:lnTo>
                    <a:pt x="5198" y="4326"/>
                  </a:lnTo>
                  <a:lnTo>
                    <a:pt x="4907" y="4726"/>
                  </a:lnTo>
                  <a:lnTo>
                    <a:pt x="4653" y="5198"/>
                  </a:lnTo>
                  <a:lnTo>
                    <a:pt x="4398" y="5707"/>
                  </a:lnTo>
                  <a:lnTo>
                    <a:pt x="4180" y="6289"/>
                  </a:lnTo>
                  <a:lnTo>
                    <a:pt x="3962" y="6907"/>
                  </a:lnTo>
                  <a:lnTo>
                    <a:pt x="3780" y="7524"/>
                  </a:lnTo>
                  <a:lnTo>
                    <a:pt x="3599" y="8215"/>
                  </a:lnTo>
                  <a:lnTo>
                    <a:pt x="3271" y="9596"/>
                  </a:lnTo>
                  <a:lnTo>
                    <a:pt x="3017" y="11014"/>
                  </a:lnTo>
                  <a:lnTo>
                    <a:pt x="2872" y="12431"/>
                  </a:lnTo>
                  <a:lnTo>
                    <a:pt x="2763" y="13776"/>
                  </a:lnTo>
                  <a:lnTo>
                    <a:pt x="2763" y="13776"/>
                  </a:lnTo>
                  <a:lnTo>
                    <a:pt x="2654" y="16574"/>
                  </a:lnTo>
                  <a:lnTo>
                    <a:pt x="2654" y="16574"/>
                  </a:lnTo>
                  <a:lnTo>
                    <a:pt x="2654" y="17665"/>
                  </a:lnTo>
                  <a:lnTo>
                    <a:pt x="2654" y="18573"/>
                  </a:lnTo>
                  <a:lnTo>
                    <a:pt x="2726" y="20173"/>
                  </a:lnTo>
                  <a:lnTo>
                    <a:pt x="2726" y="20173"/>
                  </a:lnTo>
                  <a:lnTo>
                    <a:pt x="2763" y="21554"/>
                  </a:lnTo>
                  <a:lnTo>
                    <a:pt x="2763" y="21554"/>
                  </a:lnTo>
                  <a:lnTo>
                    <a:pt x="2763" y="21554"/>
                  </a:lnTo>
                  <a:lnTo>
                    <a:pt x="2835" y="23516"/>
                  </a:lnTo>
                  <a:lnTo>
                    <a:pt x="2835" y="23516"/>
                  </a:lnTo>
                  <a:lnTo>
                    <a:pt x="2835" y="24025"/>
                  </a:lnTo>
                  <a:lnTo>
                    <a:pt x="2763" y="24607"/>
                  </a:lnTo>
                  <a:lnTo>
                    <a:pt x="2690" y="25261"/>
                  </a:lnTo>
                  <a:lnTo>
                    <a:pt x="2581" y="25952"/>
                  </a:lnTo>
                  <a:lnTo>
                    <a:pt x="2290" y="27478"/>
                  </a:lnTo>
                  <a:lnTo>
                    <a:pt x="1890" y="29150"/>
                  </a:lnTo>
                  <a:lnTo>
                    <a:pt x="1890" y="29150"/>
                  </a:lnTo>
                  <a:lnTo>
                    <a:pt x="1890" y="29150"/>
                  </a:lnTo>
                  <a:lnTo>
                    <a:pt x="982" y="33039"/>
                  </a:lnTo>
                  <a:lnTo>
                    <a:pt x="582" y="34929"/>
                  </a:lnTo>
                  <a:lnTo>
                    <a:pt x="255" y="36710"/>
                  </a:lnTo>
                  <a:lnTo>
                    <a:pt x="146" y="37546"/>
                  </a:lnTo>
                  <a:lnTo>
                    <a:pt x="37" y="38309"/>
                  </a:lnTo>
                  <a:lnTo>
                    <a:pt x="0" y="39000"/>
                  </a:lnTo>
                  <a:lnTo>
                    <a:pt x="0" y="39618"/>
                  </a:lnTo>
                  <a:lnTo>
                    <a:pt x="73" y="40163"/>
                  </a:lnTo>
                  <a:lnTo>
                    <a:pt x="182" y="40635"/>
                  </a:lnTo>
                  <a:lnTo>
                    <a:pt x="255" y="40817"/>
                  </a:lnTo>
                  <a:lnTo>
                    <a:pt x="364" y="40962"/>
                  </a:lnTo>
                  <a:lnTo>
                    <a:pt x="473" y="41108"/>
                  </a:lnTo>
                  <a:lnTo>
                    <a:pt x="618" y="4121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2" name="Google Shape;2641;p11">
              <a:extLst>
                <a:ext uri="{FF2B5EF4-FFF2-40B4-BE49-F238E27FC236}">
                  <a16:creationId xmlns:a16="http://schemas.microsoft.com/office/drawing/2014/main" id="{9EFBCC36-F495-71FE-2728-39A919AD461A}"/>
                </a:ext>
              </a:extLst>
            </p:cNvPr>
            <p:cNvSpPr/>
            <p:nvPr/>
          </p:nvSpPr>
          <p:spPr>
            <a:xfrm>
              <a:off x="1609250" y="2679375"/>
              <a:ext cx="477075" cy="1051325"/>
            </a:xfrm>
            <a:custGeom>
              <a:avLst/>
              <a:gdLst/>
              <a:ahLst/>
              <a:cxnLst/>
              <a:rect l="l" t="t" r="r" b="b"/>
              <a:pathLst>
                <a:path w="19083" h="42053" extrusionOk="0">
                  <a:moveTo>
                    <a:pt x="16247" y="1"/>
                  </a:moveTo>
                  <a:lnTo>
                    <a:pt x="15666" y="37"/>
                  </a:lnTo>
                  <a:lnTo>
                    <a:pt x="15084" y="110"/>
                  </a:lnTo>
                  <a:lnTo>
                    <a:pt x="14539" y="219"/>
                  </a:lnTo>
                  <a:lnTo>
                    <a:pt x="13994" y="364"/>
                  </a:lnTo>
                  <a:lnTo>
                    <a:pt x="13485" y="546"/>
                  </a:lnTo>
                  <a:lnTo>
                    <a:pt x="13049" y="764"/>
                  </a:lnTo>
                  <a:lnTo>
                    <a:pt x="12685" y="982"/>
                  </a:lnTo>
                  <a:lnTo>
                    <a:pt x="12395" y="1273"/>
                  </a:lnTo>
                  <a:lnTo>
                    <a:pt x="11522" y="2400"/>
                  </a:lnTo>
                  <a:lnTo>
                    <a:pt x="9996" y="4508"/>
                  </a:lnTo>
                  <a:lnTo>
                    <a:pt x="8033" y="7306"/>
                  </a:lnTo>
                  <a:lnTo>
                    <a:pt x="5889" y="10505"/>
                  </a:lnTo>
                  <a:lnTo>
                    <a:pt x="4798" y="12140"/>
                  </a:lnTo>
                  <a:lnTo>
                    <a:pt x="3781" y="13776"/>
                  </a:lnTo>
                  <a:lnTo>
                    <a:pt x="2799" y="15411"/>
                  </a:lnTo>
                  <a:lnTo>
                    <a:pt x="1927" y="16901"/>
                  </a:lnTo>
                  <a:lnTo>
                    <a:pt x="1200" y="18319"/>
                  </a:lnTo>
                  <a:lnTo>
                    <a:pt x="619" y="19591"/>
                  </a:lnTo>
                  <a:lnTo>
                    <a:pt x="400" y="20136"/>
                  </a:lnTo>
                  <a:lnTo>
                    <a:pt x="219" y="20645"/>
                  </a:lnTo>
                  <a:lnTo>
                    <a:pt x="73" y="21118"/>
                  </a:lnTo>
                  <a:lnTo>
                    <a:pt x="37" y="21481"/>
                  </a:lnTo>
                  <a:lnTo>
                    <a:pt x="1" y="21845"/>
                  </a:lnTo>
                  <a:lnTo>
                    <a:pt x="73" y="22281"/>
                  </a:lnTo>
                  <a:lnTo>
                    <a:pt x="146" y="22790"/>
                  </a:lnTo>
                  <a:lnTo>
                    <a:pt x="291" y="23335"/>
                  </a:lnTo>
                  <a:lnTo>
                    <a:pt x="473" y="23953"/>
                  </a:lnTo>
                  <a:lnTo>
                    <a:pt x="691" y="24607"/>
                  </a:lnTo>
                  <a:lnTo>
                    <a:pt x="1200" y="26061"/>
                  </a:lnTo>
                  <a:lnTo>
                    <a:pt x="1854" y="27623"/>
                  </a:lnTo>
                  <a:lnTo>
                    <a:pt x="2581" y="29295"/>
                  </a:lnTo>
                  <a:lnTo>
                    <a:pt x="3344" y="31004"/>
                  </a:lnTo>
                  <a:lnTo>
                    <a:pt x="4180" y="32748"/>
                  </a:lnTo>
                  <a:lnTo>
                    <a:pt x="5816" y="36056"/>
                  </a:lnTo>
                  <a:lnTo>
                    <a:pt x="7306" y="38927"/>
                  </a:lnTo>
                  <a:lnTo>
                    <a:pt x="8397" y="40962"/>
                  </a:lnTo>
                  <a:lnTo>
                    <a:pt x="8942" y="41907"/>
                  </a:lnTo>
                  <a:lnTo>
                    <a:pt x="8978" y="41980"/>
                  </a:lnTo>
                  <a:lnTo>
                    <a:pt x="9051" y="42016"/>
                  </a:lnTo>
                  <a:lnTo>
                    <a:pt x="9269" y="42053"/>
                  </a:lnTo>
                  <a:lnTo>
                    <a:pt x="9523" y="42016"/>
                  </a:lnTo>
                  <a:lnTo>
                    <a:pt x="9850" y="41944"/>
                  </a:lnTo>
                  <a:lnTo>
                    <a:pt x="10214" y="41871"/>
                  </a:lnTo>
                  <a:lnTo>
                    <a:pt x="10577" y="41726"/>
                  </a:lnTo>
                  <a:lnTo>
                    <a:pt x="11413" y="41362"/>
                  </a:lnTo>
                  <a:lnTo>
                    <a:pt x="12176" y="40999"/>
                  </a:lnTo>
                  <a:lnTo>
                    <a:pt x="12867" y="40672"/>
                  </a:lnTo>
                  <a:lnTo>
                    <a:pt x="13521" y="40308"/>
                  </a:lnTo>
                  <a:lnTo>
                    <a:pt x="12431" y="38018"/>
                  </a:lnTo>
                  <a:lnTo>
                    <a:pt x="11341" y="35583"/>
                  </a:lnTo>
                  <a:lnTo>
                    <a:pt x="10105" y="32748"/>
                  </a:lnTo>
                  <a:lnTo>
                    <a:pt x="8905" y="29732"/>
                  </a:lnTo>
                  <a:lnTo>
                    <a:pt x="8324" y="28314"/>
                  </a:lnTo>
                  <a:lnTo>
                    <a:pt x="7851" y="26933"/>
                  </a:lnTo>
                  <a:lnTo>
                    <a:pt x="7415" y="25697"/>
                  </a:lnTo>
                  <a:lnTo>
                    <a:pt x="7124" y="24643"/>
                  </a:lnTo>
                  <a:lnTo>
                    <a:pt x="7015" y="24171"/>
                  </a:lnTo>
                  <a:lnTo>
                    <a:pt x="6943" y="23771"/>
                  </a:lnTo>
                  <a:lnTo>
                    <a:pt x="6906" y="23407"/>
                  </a:lnTo>
                  <a:lnTo>
                    <a:pt x="6906" y="23117"/>
                  </a:lnTo>
                  <a:lnTo>
                    <a:pt x="6943" y="22680"/>
                  </a:lnTo>
                  <a:lnTo>
                    <a:pt x="7015" y="22317"/>
                  </a:lnTo>
                  <a:lnTo>
                    <a:pt x="7124" y="21990"/>
                  </a:lnTo>
                  <a:lnTo>
                    <a:pt x="7306" y="21663"/>
                  </a:lnTo>
                  <a:lnTo>
                    <a:pt x="7524" y="21336"/>
                  </a:lnTo>
                  <a:lnTo>
                    <a:pt x="7779" y="20936"/>
                  </a:lnTo>
                  <a:lnTo>
                    <a:pt x="8651" y="19809"/>
                  </a:lnTo>
                  <a:lnTo>
                    <a:pt x="9959" y="18065"/>
                  </a:lnTo>
                  <a:lnTo>
                    <a:pt x="10832" y="16865"/>
                  </a:lnTo>
                  <a:lnTo>
                    <a:pt x="11813" y="15411"/>
                  </a:lnTo>
                  <a:lnTo>
                    <a:pt x="13012" y="13667"/>
                  </a:lnTo>
                  <a:lnTo>
                    <a:pt x="14357" y="11559"/>
                  </a:lnTo>
                  <a:lnTo>
                    <a:pt x="15920" y="9087"/>
                  </a:lnTo>
                  <a:lnTo>
                    <a:pt x="17701" y="6252"/>
                  </a:lnTo>
                  <a:lnTo>
                    <a:pt x="17919" y="5925"/>
                  </a:lnTo>
                  <a:lnTo>
                    <a:pt x="18101" y="5525"/>
                  </a:lnTo>
                  <a:lnTo>
                    <a:pt x="18355" y="5016"/>
                  </a:lnTo>
                  <a:lnTo>
                    <a:pt x="18610" y="4362"/>
                  </a:lnTo>
                  <a:lnTo>
                    <a:pt x="18828" y="3599"/>
                  </a:lnTo>
                  <a:lnTo>
                    <a:pt x="18937" y="3163"/>
                  </a:lnTo>
                  <a:lnTo>
                    <a:pt x="19009" y="2727"/>
                  </a:lnTo>
                  <a:lnTo>
                    <a:pt x="19046" y="2291"/>
                  </a:lnTo>
                  <a:lnTo>
                    <a:pt x="19082" y="1782"/>
                  </a:lnTo>
                  <a:lnTo>
                    <a:pt x="19082" y="1564"/>
                  </a:lnTo>
                  <a:lnTo>
                    <a:pt x="19009" y="1346"/>
                  </a:lnTo>
                  <a:lnTo>
                    <a:pt x="18973" y="1127"/>
                  </a:lnTo>
                  <a:lnTo>
                    <a:pt x="18864" y="946"/>
                  </a:lnTo>
                  <a:lnTo>
                    <a:pt x="18755" y="800"/>
                  </a:lnTo>
                  <a:lnTo>
                    <a:pt x="18610" y="655"/>
                  </a:lnTo>
                  <a:lnTo>
                    <a:pt x="18428" y="510"/>
                  </a:lnTo>
                  <a:lnTo>
                    <a:pt x="18246" y="401"/>
                  </a:lnTo>
                  <a:lnTo>
                    <a:pt x="17810" y="219"/>
                  </a:lnTo>
                  <a:lnTo>
                    <a:pt x="17338" y="73"/>
                  </a:lnTo>
                  <a:lnTo>
                    <a:pt x="16792" y="1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3" name="Google Shape;2642;p11">
              <a:extLst>
                <a:ext uri="{FF2B5EF4-FFF2-40B4-BE49-F238E27FC236}">
                  <a16:creationId xmlns:a16="http://schemas.microsoft.com/office/drawing/2014/main" id="{3A232792-8B63-447A-3135-5D5C6BD19ADD}"/>
                </a:ext>
              </a:extLst>
            </p:cNvPr>
            <p:cNvSpPr/>
            <p:nvPr/>
          </p:nvSpPr>
          <p:spPr>
            <a:xfrm>
              <a:off x="1609250" y="2679375"/>
              <a:ext cx="477075" cy="1051325"/>
            </a:xfrm>
            <a:custGeom>
              <a:avLst/>
              <a:gdLst/>
              <a:ahLst/>
              <a:cxnLst/>
              <a:rect l="l" t="t" r="r" b="b"/>
              <a:pathLst>
                <a:path w="19083" h="42053" fill="none" extrusionOk="0">
                  <a:moveTo>
                    <a:pt x="17701" y="6252"/>
                  </a:moveTo>
                  <a:lnTo>
                    <a:pt x="17701" y="6252"/>
                  </a:lnTo>
                  <a:lnTo>
                    <a:pt x="15920" y="9087"/>
                  </a:lnTo>
                  <a:lnTo>
                    <a:pt x="14357" y="11559"/>
                  </a:lnTo>
                  <a:lnTo>
                    <a:pt x="13012" y="13667"/>
                  </a:lnTo>
                  <a:lnTo>
                    <a:pt x="11813" y="15411"/>
                  </a:lnTo>
                  <a:lnTo>
                    <a:pt x="10832" y="16865"/>
                  </a:lnTo>
                  <a:lnTo>
                    <a:pt x="9959" y="18065"/>
                  </a:lnTo>
                  <a:lnTo>
                    <a:pt x="8651" y="19809"/>
                  </a:lnTo>
                  <a:lnTo>
                    <a:pt x="7779" y="20936"/>
                  </a:lnTo>
                  <a:lnTo>
                    <a:pt x="7524" y="21336"/>
                  </a:lnTo>
                  <a:lnTo>
                    <a:pt x="7306" y="21663"/>
                  </a:lnTo>
                  <a:lnTo>
                    <a:pt x="7124" y="21990"/>
                  </a:lnTo>
                  <a:lnTo>
                    <a:pt x="7015" y="22317"/>
                  </a:lnTo>
                  <a:lnTo>
                    <a:pt x="6943" y="22680"/>
                  </a:lnTo>
                  <a:lnTo>
                    <a:pt x="6906" y="23117"/>
                  </a:lnTo>
                  <a:lnTo>
                    <a:pt x="6906" y="23117"/>
                  </a:lnTo>
                  <a:lnTo>
                    <a:pt x="6906" y="23407"/>
                  </a:lnTo>
                  <a:lnTo>
                    <a:pt x="6943" y="23771"/>
                  </a:lnTo>
                  <a:lnTo>
                    <a:pt x="7015" y="24171"/>
                  </a:lnTo>
                  <a:lnTo>
                    <a:pt x="7124" y="24643"/>
                  </a:lnTo>
                  <a:lnTo>
                    <a:pt x="7415" y="25697"/>
                  </a:lnTo>
                  <a:lnTo>
                    <a:pt x="7851" y="26933"/>
                  </a:lnTo>
                  <a:lnTo>
                    <a:pt x="8324" y="28314"/>
                  </a:lnTo>
                  <a:lnTo>
                    <a:pt x="8905" y="29732"/>
                  </a:lnTo>
                  <a:lnTo>
                    <a:pt x="10105" y="32748"/>
                  </a:lnTo>
                  <a:lnTo>
                    <a:pt x="11341" y="35583"/>
                  </a:lnTo>
                  <a:lnTo>
                    <a:pt x="12431" y="38018"/>
                  </a:lnTo>
                  <a:lnTo>
                    <a:pt x="13521" y="40308"/>
                  </a:lnTo>
                  <a:lnTo>
                    <a:pt x="13521" y="40308"/>
                  </a:lnTo>
                  <a:lnTo>
                    <a:pt x="12867" y="40672"/>
                  </a:lnTo>
                  <a:lnTo>
                    <a:pt x="12176" y="40999"/>
                  </a:lnTo>
                  <a:lnTo>
                    <a:pt x="11413" y="41362"/>
                  </a:lnTo>
                  <a:lnTo>
                    <a:pt x="10577" y="41726"/>
                  </a:lnTo>
                  <a:lnTo>
                    <a:pt x="10214" y="41871"/>
                  </a:lnTo>
                  <a:lnTo>
                    <a:pt x="9850" y="41944"/>
                  </a:lnTo>
                  <a:lnTo>
                    <a:pt x="9523" y="42016"/>
                  </a:lnTo>
                  <a:lnTo>
                    <a:pt x="9269" y="42053"/>
                  </a:lnTo>
                  <a:lnTo>
                    <a:pt x="9051" y="42016"/>
                  </a:lnTo>
                  <a:lnTo>
                    <a:pt x="8978" y="41980"/>
                  </a:lnTo>
                  <a:lnTo>
                    <a:pt x="8942" y="41907"/>
                  </a:lnTo>
                  <a:lnTo>
                    <a:pt x="8942" y="41907"/>
                  </a:lnTo>
                  <a:lnTo>
                    <a:pt x="8397" y="40962"/>
                  </a:lnTo>
                  <a:lnTo>
                    <a:pt x="7306" y="38927"/>
                  </a:lnTo>
                  <a:lnTo>
                    <a:pt x="5816" y="36056"/>
                  </a:lnTo>
                  <a:lnTo>
                    <a:pt x="4180" y="32748"/>
                  </a:lnTo>
                  <a:lnTo>
                    <a:pt x="3344" y="31004"/>
                  </a:lnTo>
                  <a:lnTo>
                    <a:pt x="2581" y="29295"/>
                  </a:lnTo>
                  <a:lnTo>
                    <a:pt x="1854" y="27623"/>
                  </a:lnTo>
                  <a:lnTo>
                    <a:pt x="1200" y="26061"/>
                  </a:lnTo>
                  <a:lnTo>
                    <a:pt x="691" y="24607"/>
                  </a:lnTo>
                  <a:lnTo>
                    <a:pt x="473" y="23953"/>
                  </a:lnTo>
                  <a:lnTo>
                    <a:pt x="291" y="23335"/>
                  </a:lnTo>
                  <a:lnTo>
                    <a:pt x="146" y="22790"/>
                  </a:lnTo>
                  <a:lnTo>
                    <a:pt x="73" y="22281"/>
                  </a:lnTo>
                  <a:lnTo>
                    <a:pt x="1" y="21845"/>
                  </a:lnTo>
                  <a:lnTo>
                    <a:pt x="37" y="21481"/>
                  </a:lnTo>
                  <a:lnTo>
                    <a:pt x="37" y="21481"/>
                  </a:lnTo>
                  <a:lnTo>
                    <a:pt x="73" y="21118"/>
                  </a:lnTo>
                  <a:lnTo>
                    <a:pt x="219" y="20645"/>
                  </a:lnTo>
                  <a:lnTo>
                    <a:pt x="400" y="20136"/>
                  </a:lnTo>
                  <a:lnTo>
                    <a:pt x="619" y="19591"/>
                  </a:lnTo>
                  <a:lnTo>
                    <a:pt x="1200" y="18319"/>
                  </a:lnTo>
                  <a:lnTo>
                    <a:pt x="1927" y="16901"/>
                  </a:lnTo>
                  <a:lnTo>
                    <a:pt x="2799" y="15411"/>
                  </a:lnTo>
                  <a:lnTo>
                    <a:pt x="3781" y="13776"/>
                  </a:lnTo>
                  <a:lnTo>
                    <a:pt x="4798" y="12140"/>
                  </a:lnTo>
                  <a:lnTo>
                    <a:pt x="5889" y="10505"/>
                  </a:lnTo>
                  <a:lnTo>
                    <a:pt x="8033" y="7306"/>
                  </a:lnTo>
                  <a:lnTo>
                    <a:pt x="9996" y="4508"/>
                  </a:lnTo>
                  <a:lnTo>
                    <a:pt x="11522" y="2400"/>
                  </a:lnTo>
                  <a:lnTo>
                    <a:pt x="12395" y="1273"/>
                  </a:lnTo>
                  <a:lnTo>
                    <a:pt x="12395" y="1273"/>
                  </a:lnTo>
                  <a:lnTo>
                    <a:pt x="12685" y="982"/>
                  </a:lnTo>
                  <a:lnTo>
                    <a:pt x="13049" y="764"/>
                  </a:lnTo>
                  <a:lnTo>
                    <a:pt x="13485" y="546"/>
                  </a:lnTo>
                  <a:lnTo>
                    <a:pt x="13994" y="364"/>
                  </a:lnTo>
                  <a:lnTo>
                    <a:pt x="14539" y="219"/>
                  </a:lnTo>
                  <a:lnTo>
                    <a:pt x="15084" y="110"/>
                  </a:lnTo>
                  <a:lnTo>
                    <a:pt x="15666" y="37"/>
                  </a:lnTo>
                  <a:lnTo>
                    <a:pt x="16247" y="1"/>
                  </a:lnTo>
                  <a:lnTo>
                    <a:pt x="16792" y="1"/>
                  </a:lnTo>
                  <a:lnTo>
                    <a:pt x="17338" y="73"/>
                  </a:lnTo>
                  <a:lnTo>
                    <a:pt x="17810" y="219"/>
                  </a:lnTo>
                  <a:lnTo>
                    <a:pt x="18246" y="401"/>
                  </a:lnTo>
                  <a:lnTo>
                    <a:pt x="18428" y="510"/>
                  </a:lnTo>
                  <a:lnTo>
                    <a:pt x="18610" y="655"/>
                  </a:lnTo>
                  <a:lnTo>
                    <a:pt x="18755" y="800"/>
                  </a:lnTo>
                  <a:lnTo>
                    <a:pt x="18864" y="946"/>
                  </a:lnTo>
                  <a:lnTo>
                    <a:pt x="18973" y="1127"/>
                  </a:lnTo>
                  <a:lnTo>
                    <a:pt x="19009" y="1346"/>
                  </a:lnTo>
                  <a:lnTo>
                    <a:pt x="19082" y="1564"/>
                  </a:lnTo>
                  <a:lnTo>
                    <a:pt x="19082" y="1782"/>
                  </a:lnTo>
                  <a:lnTo>
                    <a:pt x="19082" y="1782"/>
                  </a:lnTo>
                  <a:lnTo>
                    <a:pt x="19046" y="2291"/>
                  </a:lnTo>
                  <a:lnTo>
                    <a:pt x="19009" y="2727"/>
                  </a:lnTo>
                  <a:lnTo>
                    <a:pt x="18937" y="3163"/>
                  </a:lnTo>
                  <a:lnTo>
                    <a:pt x="18828" y="3599"/>
                  </a:lnTo>
                  <a:lnTo>
                    <a:pt x="18610" y="4362"/>
                  </a:lnTo>
                  <a:lnTo>
                    <a:pt x="18355" y="5016"/>
                  </a:lnTo>
                  <a:lnTo>
                    <a:pt x="18101" y="5525"/>
                  </a:lnTo>
                  <a:lnTo>
                    <a:pt x="17919" y="5925"/>
                  </a:lnTo>
                  <a:lnTo>
                    <a:pt x="17701" y="625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4" name="Google Shape;2643;p11">
              <a:extLst>
                <a:ext uri="{FF2B5EF4-FFF2-40B4-BE49-F238E27FC236}">
                  <a16:creationId xmlns:a16="http://schemas.microsoft.com/office/drawing/2014/main" id="{CE9E8C62-20FA-BBD4-37E3-E03D3046F68D}"/>
                </a:ext>
              </a:extLst>
            </p:cNvPr>
            <p:cNvSpPr/>
            <p:nvPr/>
          </p:nvSpPr>
          <p:spPr>
            <a:xfrm>
              <a:off x="1829150" y="3043750"/>
              <a:ext cx="100875" cy="296250"/>
            </a:xfrm>
            <a:custGeom>
              <a:avLst/>
              <a:gdLst/>
              <a:ahLst/>
              <a:cxnLst/>
              <a:rect l="l" t="t" r="r" b="b"/>
              <a:pathLst>
                <a:path w="4035" h="11850" extrusionOk="0">
                  <a:moveTo>
                    <a:pt x="4035" y="0"/>
                  </a:moveTo>
                  <a:lnTo>
                    <a:pt x="873" y="4253"/>
                  </a:lnTo>
                  <a:lnTo>
                    <a:pt x="945" y="6215"/>
                  </a:lnTo>
                  <a:lnTo>
                    <a:pt x="945" y="6325"/>
                  </a:lnTo>
                  <a:lnTo>
                    <a:pt x="909" y="6833"/>
                  </a:lnTo>
                  <a:lnTo>
                    <a:pt x="873" y="7415"/>
                  </a:lnTo>
                  <a:lnTo>
                    <a:pt x="655" y="8723"/>
                  </a:lnTo>
                  <a:lnTo>
                    <a:pt x="364" y="10214"/>
                  </a:lnTo>
                  <a:lnTo>
                    <a:pt x="0" y="11849"/>
                  </a:lnTo>
                  <a:lnTo>
                    <a:pt x="364" y="11522"/>
                  </a:lnTo>
                  <a:lnTo>
                    <a:pt x="691" y="11159"/>
                  </a:lnTo>
                  <a:lnTo>
                    <a:pt x="982" y="10795"/>
                  </a:lnTo>
                  <a:lnTo>
                    <a:pt x="1272" y="10395"/>
                  </a:lnTo>
                  <a:lnTo>
                    <a:pt x="1527" y="9959"/>
                  </a:lnTo>
                  <a:lnTo>
                    <a:pt x="1781" y="9523"/>
                  </a:lnTo>
                  <a:lnTo>
                    <a:pt x="2217" y="8578"/>
                  </a:lnTo>
                  <a:lnTo>
                    <a:pt x="2617" y="7633"/>
                  </a:lnTo>
                  <a:lnTo>
                    <a:pt x="2944" y="6615"/>
                  </a:lnTo>
                  <a:lnTo>
                    <a:pt x="3199" y="5634"/>
                  </a:lnTo>
                  <a:lnTo>
                    <a:pt x="3417" y="4689"/>
                  </a:lnTo>
                  <a:lnTo>
                    <a:pt x="3599" y="3744"/>
                  </a:lnTo>
                  <a:lnTo>
                    <a:pt x="3744" y="2872"/>
                  </a:lnTo>
                  <a:lnTo>
                    <a:pt x="3926" y="1382"/>
                  </a:lnTo>
                  <a:lnTo>
                    <a:pt x="3998" y="364"/>
                  </a:lnTo>
                  <a:lnTo>
                    <a:pt x="4035" y="0"/>
                  </a:lnTo>
                  <a:close/>
                </a:path>
              </a:pathLst>
            </a:custGeom>
            <a:solidFill>
              <a:srgbClr val="2626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5" name="Google Shape;2644;p11">
              <a:extLst>
                <a:ext uri="{FF2B5EF4-FFF2-40B4-BE49-F238E27FC236}">
                  <a16:creationId xmlns:a16="http://schemas.microsoft.com/office/drawing/2014/main" id="{256A5418-C801-8EEA-CD90-5C78AC8F551C}"/>
                </a:ext>
              </a:extLst>
            </p:cNvPr>
            <p:cNvSpPr/>
            <p:nvPr/>
          </p:nvSpPr>
          <p:spPr>
            <a:xfrm>
              <a:off x="1829150" y="3043750"/>
              <a:ext cx="100875" cy="296250"/>
            </a:xfrm>
            <a:custGeom>
              <a:avLst/>
              <a:gdLst/>
              <a:ahLst/>
              <a:cxnLst/>
              <a:rect l="l" t="t" r="r" b="b"/>
              <a:pathLst>
                <a:path w="4035" h="11850" fill="none" extrusionOk="0">
                  <a:moveTo>
                    <a:pt x="4035" y="0"/>
                  </a:moveTo>
                  <a:lnTo>
                    <a:pt x="873" y="4253"/>
                  </a:lnTo>
                  <a:lnTo>
                    <a:pt x="873" y="4253"/>
                  </a:lnTo>
                  <a:lnTo>
                    <a:pt x="873" y="4253"/>
                  </a:lnTo>
                  <a:lnTo>
                    <a:pt x="945" y="6215"/>
                  </a:lnTo>
                  <a:lnTo>
                    <a:pt x="945" y="6215"/>
                  </a:lnTo>
                  <a:lnTo>
                    <a:pt x="945" y="6325"/>
                  </a:lnTo>
                  <a:lnTo>
                    <a:pt x="945" y="6325"/>
                  </a:lnTo>
                  <a:lnTo>
                    <a:pt x="909" y="6833"/>
                  </a:lnTo>
                  <a:lnTo>
                    <a:pt x="873" y="7415"/>
                  </a:lnTo>
                  <a:lnTo>
                    <a:pt x="655" y="8723"/>
                  </a:lnTo>
                  <a:lnTo>
                    <a:pt x="364" y="10214"/>
                  </a:lnTo>
                  <a:lnTo>
                    <a:pt x="0" y="11849"/>
                  </a:lnTo>
                  <a:lnTo>
                    <a:pt x="0" y="11849"/>
                  </a:lnTo>
                  <a:lnTo>
                    <a:pt x="364" y="11522"/>
                  </a:lnTo>
                  <a:lnTo>
                    <a:pt x="691" y="11159"/>
                  </a:lnTo>
                  <a:lnTo>
                    <a:pt x="982" y="10795"/>
                  </a:lnTo>
                  <a:lnTo>
                    <a:pt x="1272" y="10395"/>
                  </a:lnTo>
                  <a:lnTo>
                    <a:pt x="1527" y="9959"/>
                  </a:lnTo>
                  <a:lnTo>
                    <a:pt x="1781" y="9523"/>
                  </a:lnTo>
                  <a:lnTo>
                    <a:pt x="2217" y="8578"/>
                  </a:lnTo>
                  <a:lnTo>
                    <a:pt x="2617" y="7633"/>
                  </a:lnTo>
                  <a:lnTo>
                    <a:pt x="2944" y="6615"/>
                  </a:lnTo>
                  <a:lnTo>
                    <a:pt x="3199" y="5634"/>
                  </a:lnTo>
                  <a:lnTo>
                    <a:pt x="3417" y="4689"/>
                  </a:lnTo>
                  <a:lnTo>
                    <a:pt x="3599" y="3744"/>
                  </a:lnTo>
                  <a:lnTo>
                    <a:pt x="3744" y="2872"/>
                  </a:lnTo>
                  <a:lnTo>
                    <a:pt x="3926" y="1382"/>
                  </a:lnTo>
                  <a:lnTo>
                    <a:pt x="3998" y="364"/>
                  </a:lnTo>
                  <a:lnTo>
                    <a:pt x="403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6" name="Google Shape;2645;p11">
              <a:extLst>
                <a:ext uri="{FF2B5EF4-FFF2-40B4-BE49-F238E27FC236}">
                  <a16:creationId xmlns:a16="http://schemas.microsoft.com/office/drawing/2014/main" id="{34F45A23-2A04-5859-5007-3B43FE48A9F5}"/>
                </a:ext>
              </a:extLst>
            </p:cNvPr>
            <p:cNvSpPr/>
            <p:nvPr/>
          </p:nvSpPr>
          <p:spPr>
            <a:xfrm>
              <a:off x="1818250" y="3363600"/>
              <a:ext cx="115425" cy="295325"/>
            </a:xfrm>
            <a:custGeom>
              <a:avLst/>
              <a:gdLst/>
              <a:ahLst/>
              <a:cxnLst/>
              <a:rect l="l" t="t" r="r" b="b"/>
              <a:pathLst>
                <a:path w="4617" h="11813" extrusionOk="0">
                  <a:moveTo>
                    <a:pt x="218" y="0"/>
                  </a:moveTo>
                  <a:lnTo>
                    <a:pt x="0" y="1018"/>
                  </a:lnTo>
                  <a:lnTo>
                    <a:pt x="582" y="2472"/>
                  </a:lnTo>
                  <a:lnTo>
                    <a:pt x="1200" y="3998"/>
                  </a:lnTo>
                  <a:lnTo>
                    <a:pt x="2472" y="7051"/>
                  </a:lnTo>
                  <a:lnTo>
                    <a:pt x="3671" y="9741"/>
                  </a:lnTo>
                  <a:lnTo>
                    <a:pt x="4616" y="11812"/>
                  </a:lnTo>
                  <a:lnTo>
                    <a:pt x="4616" y="11812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2626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7" name="Google Shape;2646;p11">
              <a:extLst>
                <a:ext uri="{FF2B5EF4-FFF2-40B4-BE49-F238E27FC236}">
                  <a16:creationId xmlns:a16="http://schemas.microsoft.com/office/drawing/2014/main" id="{79535130-6DC3-CFAC-3437-91A585B76A9A}"/>
                </a:ext>
              </a:extLst>
            </p:cNvPr>
            <p:cNvSpPr/>
            <p:nvPr/>
          </p:nvSpPr>
          <p:spPr>
            <a:xfrm>
              <a:off x="1818250" y="3363600"/>
              <a:ext cx="115425" cy="295325"/>
            </a:xfrm>
            <a:custGeom>
              <a:avLst/>
              <a:gdLst/>
              <a:ahLst/>
              <a:cxnLst/>
              <a:rect l="l" t="t" r="r" b="b"/>
              <a:pathLst>
                <a:path w="4617" h="11813" fill="none" extrusionOk="0">
                  <a:moveTo>
                    <a:pt x="218" y="0"/>
                  </a:moveTo>
                  <a:lnTo>
                    <a:pt x="0" y="1018"/>
                  </a:lnTo>
                  <a:lnTo>
                    <a:pt x="0" y="1018"/>
                  </a:lnTo>
                  <a:lnTo>
                    <a:pt x="582" y="2472"/>
                  </a:lnTo>
                  <a:lnTo>
                    <a:pt x="1200" y="3998"/>
                  </a:lnTo>
                  <a:lnTo>
                    <a:pt x="2472" y="7051"/>
                  </a:lnTo>
                  <a:lnTo>
                    <a:pt x="3671" y="9741"/>
                  </a:lnTo>
                  <a:lnTo>
                    <a:pt x="4616" y="11812"/>
                  </a:lnTo>
                  <a:lnTo>
                    <a:pt x="218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8" name="Google Shape;2647;p11">
              <a:extLst>
                <a:ext uri="{FF2B5EF4-FFF2-40B4-BE49-F238E27FC236}">
                  <a16:creationId xmlns:a16="http://schemas.microsoft.com/office/drawing/2014/main" id="{76CD2B81-E7C0-1050-92FD-32D1A1479E6B}"/>
                </a:ext>
              </a:extLst>
            </p:cNvPr>
            <p:cNvSpPr/>
            <p:nvPr/>
          </p:nvSpPr>
          <p:spPr>
            <a:xfrm>
              <a:off x="1814600" y="3389025"/>
              <a:ext cx="122700" cy="278975"/>
            </a:xfrm>
            <a:custGeom>
              <a:avLst/>
              <a:gdLst/>
              <a:ahLst/>
              <a:cxnLst/>
              <a:rect l="l" t="t" r="r" b="b"/>
              <a:pathLst>
                <a:path w="4908" h="11159" extrusionOk="0">
                  <a:moveTo>
                    <a:pt x="146" y="1"/>
                  </a:moveTo>
                  <a:lnTo>
                    <a:pt x="1" y="619"/>
                  </a:lnTo>
                  <a:lnTo>
                    <a:pt x="74" y="946"/>
                  </a:lnTo>
                  <a:lnTo>
                    <a:pt x="292" y="1418"/>
                  </a:lnTo>
                  <a:lnTo>
                    <a:pt x="873" y="2763"/>
                  </a:lnTo>
                  <a:lnTo>
                    <a:pt x="1673" y="4471"/>
                  </a:lnTo>
                  <a:lnTo>
                    <a:pt x="2545" y="6325"/>
                  </a:lnTo>
                  <a:lnTo>
                    <a:pt x="4181" y="9669"/>
                  </a:lnTo>
                  <a:lnTo>
                    <a:pt x="4907" y="11159"/>
                  </a:lnTo>
                  <a:lnTo>
                    <a:pt x="4762" y="10795"/>
                  </a:lnTo>
                  <a:lnTo>
                    <a:pt x="3817" y="8724"/>
                  </a:lnTo>
                  <a:lnTo>
                    <a:pt x="2618" y="6034"/>
                  </a:lnTo>
                  <a:lnTo>
                    <a:pt x="1346" y="2981"/>
                  </a:lnTo>
                  <a:lnTo>
                    <a:pt x="728" y="1455"/>
                  </a:lnTo>
                  <a:lnTo>
                    <a:pt x="146" y="1"/>
                  </a:lnTo>
                  <a:close/>
                </a:path>
              </a:pathLst>
            </a:custGeom>
            <a:solidFill>
              <a:srgbClr val="2626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9" name="Google Shape;2648;p11">
              <a:extLst>
                <a:ext uri="{FF2B5EF4-FFF2-40B4-BE49-F238E27FC236}">
                  <a16:creationId xmlns:a16="http://schemas.microsoft.com/office/drawing/2014/main" id="{473CA821-7BF8-2F9A-21F4-BBA661FD14C6}"/>
                </a:ext>
              </a:extLst>
            </p:cNvPr>
            <p:cNvSpPr/>
            <p:nvPr/>
          </p:nvSpPr>
          <p:spPr>
            <a:xfrm>
              <a:off x="1814600" y="3389025"/>
              <a:ext cx="122700" cy="278975"/>
            </a:xfrm>
            <a:custGeom>
              <a:avLst/>
              <a:gdLst/>
              <a:ahLst/>
              <a:cxnLst/>
              <a:rect l="l" t="t" r="r" b="b"/>
              <a:pathLst>
                <a:path w="4908" h="11159" fill="none" extrusionOk="0">
                  <a:moveTo>
                    <a:pt x="146" y="1"/>
                  </a:moveTo>
                  <a:lnTo>
                    <a:pt x="1" y="619"/>
                  </a:lnTo>
                  <a:lnTo>
                    <a:pt x="1" y="619"/>
                  </a:lnTo>
                  <a:lnTo>
                    <a:pt x="74" y="946"/>
                  </a:lnTo>
                  <a:lnTo>
                    <a:pt x="292" y="1418"/>
                  </a:lnTo>
                  <a:lnTo>
                    <a:pt x="873" y="2763"/>
                  </a:lnTo>
                  <a:lnTo>
                    <a:pt x="1673" y="4471"/>
                  </a:lnTo>
                  <a:lnTo>
                    <a:pt x="2545" y="6325"/>
                  </a:lnTo>
                  <a:lnTo>
                    <a:pt x="4181" y="9669"/>
                  </a:lnTo>
                  <a:lnTo>
                    <a:pt x="4907" y="11159"/>
                  </a:lnTo>
                  <a:lnTo>
                    <a:pt x="4762" y="10795"/>
                  </a:lnTo>
                  <a:lnTo>
                    <a:pt x="4762" y="10795"/>
                  </a:lnTo>
                  <a:lnTo>
                    <a:pt x="3817" y="8724"/>
                  </a:lnTo>
                  <a:lnTo>
                    <a:pt x="2618" y="6034"/>
                  </a:lnTo>
                  <a:lnTo>
                    <a:pt x="1346" y="2981"/>
                  </a:lnTo>
                  <a:lnTo>
                    <a:pt x="728" y="1455"/>
                  </a:lnTo>
                  <a:lnTo>
                    <a:pt x="14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0" name="Google Shape;2649;p11">
              <a:extLst>
                <a:ext uri="{FF2B5EF4-FFF2-40B4-BE49-F238E27FC236}">
                  <a16:creationId xmlns:a16="http://schemas.microsoft.com/office/drawing/2014/main" id="{5FB20ECA-FDA4-6990-751D-5C2A00E7170B}"/>
                </a:ext>
              </a:extLst>
            </p:cNvPr>
            <p:cNvSpPr/>
            <p:nvPr/>
          </p:nvSpPr>
          <p:spPr>
            <a:xfrm>
              <a:off x="544325" y="4152300"/>
              <a:ext cx="312600" cy="1175800"/>
            </a:xfrm>
            <a:custGeom>
              <a:avLst/>
              <a:gdLst/>
              <a:ahLst/>
              <a:cxnLst/>
              <a:rect l="l" t="t" r="r" b="b"/>
              <a:pathLst>
                <a:path w="12504" h="47032" extrusionOk="0">
                  <a:moveTo>
                    <a:pt x="11486" y="0"/>
                  </a:moveTo>
                  <a:lnTo>
                    <a:pt x="10395" y="909"/>
                  </a:lnTo>
                  <a:lnTo>
                    <a:pt x="9269" y="1854"/>
                  </a:lnTo>
                  <a:lnTo>
                    <a:pt x="7960" y="3017"/>
                  </a:lnTo>
                  <a:lnTo>
                    <a:pt x="6615" y="4253"/>
                  </a:lnTo>
                  <a:lnTo>
                    <a:pt x="5998" y="4870"/>
                  </a:lnTo>
                  <a:lnTo>
                    <a:pt x="5416" y="5452"/>
                  </a:lnTo>
                  <a:lnTo>
                    <a:pt x="4907" y="6034"/>
                  </a:lnTo>
                  <a:lnTo>
                    <a:pt x="4507" y="6542"/>
                  </a:lnTo>
                  <a:lnTo>
                    <a:pt x="4180" y="7015"/>
                  </a:lnTo>
                  <a:lnTo>
                    <a:pt x="4071" y="7233"/>
                  </a:lnTo>
                  <a:lnTo>
                    <a:pt x="3999" y="7415"/>
                  </a:lnTo>
                  <a:lnTo>
                    <a:pt x="3926" y="7924"/>
                  </a:lnTo>
                  <a:lnTo>
                    <a:pt x="3817" y="8759"/>
                  </a:lnTo>
                  <a:lnTo>
                    <a:pt x="3780" y="9850"/>
                  </a:lnTo>
                  <a:lnTo>
                    <a:pt x="3708" y="11158"/>
                  </a:lnTo>
                  <a:lnTo>
                    <a:pt x="3671" y="14284"/>
                  </a:lnTo>
                  <a:lnTo>
                    <a:pt x="3635" y="17737"/>
                  </a:lnTo>
                  <a:lnTo>
                    <a:pt x="3635" y="24279"/>
                  </a:lnTo>
                  <a:lnTo>
                    <a:pt x="3599" y="26642"/>
                  </a:lnTo>
                  <a:lnTo>
                    <a:pt x="3562" y="27950"/>
                  </a:lnTo>
                  <a:lnTo>
                    <a:pt x="3490" y="28859"/>
                  </a:lnTo>
                  <a:lnTo>
                    <a:pt x="3308" y="30240"/>
                  </a:lnTo>
                  <a:lnTo>
                    <a:pt x="3054" y="31948"/>
                  </a:lnTo>
                  <a:lnTo>
                    <a:pt x="2799" y="33802"/>
                  </a:lnTo>
                  <a:lnTo>
                    <a:pt x="2472" y="35692"/>
                  </a:lnTo>
                  <a:lnTo>
                    <a:pt x="2109" y="37473"/>
                  </a:lnTo>
                  <a:lnTo>
                    <a:pt x="1781" y="38963"/>
                  </a:lnTo>
                  <a:lnTo>
                    <a:pt x="1600" y="39581"/>
                  </a:lnTo>
                  <a:lnTo>
                    <a:pt x="1418" y="40053"/>
                  </a:lnTo>
                  <a:lnTo>
                    <a:pt x="1091" y="40780"/>
                  </a:lnTo>
                  <a:lnTo>
                    <a:pt x="836" y="41289"/>
                  </a:lnTo>
                  <a:lnTo>
                    <a:pt x="582" y="41616"/>
                  </a:lnTo>
                  <a:lnTo>
                    <a:pt x="400" y="41834"/>
                  </a:lnTo>
                  <a:lnTo>
                    <a:pt x="219" y="42052"/>
                  </a:lnTo>
                  <a:lnTo>
                    <a:pt x="110" y="42270"/>
                  </a:lnTo>
                  <a:lnTo>
                    <a:pt x="37" y="42597"/>
                  </a:lnTo>
                  <a:lnTo>
                    <a:pt x="1" y="43070"/>
                  </a:lnTo>
                  <a:lnTo>
                    <a:pt x="37" y="43215"/>
                  </a:lnTo>
                  <a:lnTo>
                    <a:pt x="110" y="43361"/>
                  </a:lnTo>
                  <a:lnTo>
                    <a:pt x="219" y="43542"/>
                  </a:lnTo>
                  <a:lnTo>
                    <a:pt x="364" y="43724"/>
                  </a:lnTo>
                  <a:lnTo>
                    <a:pt x="764" y="44051"/>
                  </a:lnTo>
                  <a:lnTo>
                    <a:pt x="1273" y="44415"/>
                  </a:lnTo>
                  <a:lnTo>
                    <a:pt x="1890" y="44778"/>
                  </a:lnTo>
                  <a:lnTo>
                    <a:pt x="2581" y="45178"/>
                  </a:lnTo>
                  <a:lnTo>
                    <a:pt x="3344" y="45505"/>
                  </a:lnTo>
                  <a:lnTo>
                    <a:pt x="4108" y="45832"/>
                  </a:lnTo>
                  <a:lnTo>
                    <a:pt x="4871" y="46159"/>
                  </a:lnTo>
                  <a:lnTo>
                    <a:pt x="5598" y="46450"/>
                  </a:lnTo>
                  <a:lnTo>
                    <a:pt x="6252" y="46668"/>
                  </a:lnTo>
                  <a:lnTo>
                    <a:pt x="6834" y="46850"/>
                  </a:lnTo>
                  <a:lnTo>
                    <a:pt x="7342" y="46959"/>
                  </a:lnTo>
                  <a:lnTo>
                    <a:pt x="7706" y="47031"/>
                  </a:lnTo>
                  <a:lnTo>
                    <a:pt x="7815" y="47031"/>
                  </a:lnTo>
                  <a:lnTo>
                    <a:pt x="7924" y="46995"/>
                  </a:lnTo>
                  <a:lnTo>
                    <a:pt x="7960" y="46959"/>
                  </a:lnTo>
                  <a:lnTo>
                    <a:pt x="7960" y="46922"/>
                  </a:lnTo>
                  <a:lnTo>
                    <a:pt x="7488" y="45977"/>
                  </a:lnTo>
                  <a:lnTo>
                    <a:pt x="6761" y="44669"/>
                  </a:lnTo>
                  <a:lnTo>
                    <a:pt x="5525" y="42452"/>
                  </a:lnTo>
                  <a:lnTo>
                    <a:pt x="5489" y="42307"/>
                  </a:lnTo>
                  <a:lnTo>
                    <a:pt x="5525" y="42052"/>
                  </a:lnTo>
                  <a:lnTo>
                    <a:pt x="5634" y="41180"/>
                  </a:lnTo>
                  <a:lnTo>
                    <a:pt x="5889" y="39835"/>
                  </a:lnTo>
                  <a:lnTo>
                    <a:pt x="6216" y="38199"/>
                  </a:lnTo>
                  <a:lnTo>
                    <a:pt x="7161" y="34020"/>
                  </a:lnTo>
                  <a:lnTo>
                    <a:pt x="8251" y="29186"/>
                  </a:lnTo>
                  <a:lnTo>
                    <a:pt x="10541" y="19590"/>
                  </a:lnTo>
                  <a:lnTo>
                    <a:pt x="11995" y="13484"/>
                  </a:lnTo>
                  <a:lnTo>
                    <a:pt x="12176" y="12721"/>
                  </a:lnTo>
                  <a:lnTo>
                    <a:pt x="12285" y="11958"/>
                  </a:lnTo>
                  <a:lnTo>
                    <a:pt x="12394" y="11158"/>
                  </a:lnTo>
                  <a:lnTo>
                    <a:pt x="12431" y="10395"/>
                  </a:lnTo>
                  <a:lnTo>
                    <a:pt x="12467" y="9595"/>
                  </a:lnTo>
                  <a:lnTo>
                    <a:pt x="12503" y="8796"/>
                  </a:lnTo>
                  <a:lnTo>
                    <a:pt x="12503" y="7960"/>
                  </a:lnTo>
                  <a:lnTo>
                    <a:pt x="12467" y="7124"/>
                  </a:lnTo>
                  <a:lnTo>
                    <a:pt x="12322" y="5452"/>
                  </a:lnTo>
                  <a:lnTo>
                    <a:pt x="12104" y="3671"/>
                  </a:lnTo>
                  <a:lnTo>
                    <a:pt x="11813" y="1890"/>
                  </a:lnTo>
                  <a:lnTo>
                    <a:pt x="11486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1" name="Google Shape;2650;p11">
              <a:extLst>
                <a:ext uri="{FF2B5EF4-FFF2-40B4-BE49-F238E27FC236}">
                  <a16:creationId xmlns:a16="http://schemas.microsoft.com/office/drawing/2014/main" id="{FBBEE64E-5B2A-C280-CFE5-7DF0C69D3A0E}"/>
                </a:ext>
              </a:extLst>
            </p:cNvPr>
            <p:cNvSpPr/>
            <p:nvPr/>
          </p:nvSpPr>
          <p:spPr>
            <a:xfrm>
              <a:off x="544325" y="4152300"/>
              <a:ext cx="312600" cy="1175800"/>
            </a:xfrm>
            <a:custGeom>
              <a:avLst/>
              <a:gdLst/>
              <a:ahLst/>
              <a:cxnLst/>
              <a:rect l="l" t="t" r="r" b="b"/>
              <a:pathLst>
                <a:path w="12504" h="47032" fill="none" extrusionOk="0">
                  <a:moveTo>
                    <a:pt x="11486" y="0"/>
                  </a:moveTo>
                  <a:lnTo>
                    <a:pt x="11486" y="0"/>
                  </a:lnTo>
                  <a:lnTo>
                    <a:pt x="11813" y="1890"/>
                  </a:lnTo>
                  <a:lnTo>
                    <a:pt x="12104" y="3671"/>
                  </a:lnTo>
                  <a:lnTo>
                    <a:pt x="12322" y="5452"/>
                  </a:lnTo>
                  <a:lnTo>
                    <a:pt x="12467" y="7124"/>
                  </a:lnTo>
                  <a:lnTo>
                    <a:pt x="12503" y="7960"/>
                  </a:lnTo>
                  <a:lnTo>
                    <a:pt x="12503" y="8796"/>
                  </a:lnTo>
                  <a:lnTo>
                    <a:pt x="12467" y="9595"/>
                  </a:lnTo>
                  <a:lnTo>
                    <a:pt x="12431" y="10395"/>
                  </a:lnTo>
                  <a:lnTo>
                    <a:pt x="12394" y="11158"/>
                  </a:lnTo>
                  <a:lnTo>
                    <a:pt x="12285" y="11958"/>
                  </a:lnTo>
                  <a:lnTo>
                    <a:pt x="12176" y="12721"/>
                  </a:lnTo>
                  <a:lnTo>
                    <a:pt x="11995" y="13484"/>
                  </a:lnTo>
                  <a:lnTo>
                    <a:pt x="11995" y="13484"/>
                  </a:lnTo>
                  <a:lnTo>
                    <a:pt x="10541" y="19590"/>
                  </a:lnTo>
                  <a:lnTo>
                    <a:pt x="8251" y="29186"/>
                  </a:lnTo>
                  <a:lnTo>
                    <a:pt x="7161" y="34020"/>
                  </a:lnTo>
                  <a:lnTo>
                    <a:pt x="6216" y="38199"/>
                  </a:lnTo>
                  <a:lnTo>
                    <a:pt x="5889" y="39835"/>
                  </a:lnTo>
                  <a:lnTo>
                    <a:pt x="5634" y="41180"/>
                  </a:lnTo>
                  <a:lnTo>
                    <a:pt x="5525" y="42052"/>
                  </a:lnTo>
                  <a:lnTo>
                    <a:pt x="5489" y="42307"/>
                  </a:lnTo>
                  <a:lnTo>
                    <a:pt x="5525" y="42452"/>
                  </a:lnTo>
                  <a:lnTo>
                    <a:pt x="5525" y="42452"/>
                  </a:lnTo>
                  <a:lnTo>
                    <a:pt x="6761" y="44669"/>
                  </a:lnTo>
                  <a:lnTo>
                    <a:pt x="7488" y="45977"/>
                  </a:lnTo>
                  <a:lnTo>
                    <a:pt x="7960" y="46922"/>
                  </a:lnTo>
                  <a:lnTo>
                    <a:pt x="7960" y="46922"/>
                  </a:lnTo>
                  <a:lnTo>
                    <a:pt x="7960" y="46959"/>
                  </a:lnTo>
                  <a:lnTo>
                    <a:pt x="7924" y="46995"/>
                  </a:lnTo>
                  <a:lnTo>
                    <a:pt x="7815" y="47031"/>
                  </a:lnTo>
                  <a:lnTo>
                    <a:pt x="7706" y="47031"/>
                  </a:lnTo>
                  <a:lnTo>
                    <a:pt x="7342" y="46959"/>
                  </a:lnTo>
                  <a:lnTo>
                    <a:pt x="6834" y="46850"/>
                  </a:lnTo>
                  <a:lnTo>
                    <a:pt x="6252" y="46668"/>
                  </a:lnTo>
                  <a:lnTo>
                    <a:pt x="5598" y="46450"/>
                  </a:lnTo>
                  <a:lnTo>
                    <a:pt x="4871" y="46159"/>
                  </a:lnTo>
                  <a:lnTo>
                    <a:pt x="4108" y="45832"/>
                  </a:lnTo>
                  <a:lnTo>
                    <a:pt x="3344" y="45505"/>
                  </a:lnTo>
                  <a:lnTo>
                    <a:pt x="2581" y="45178"/>
                  </a:lnTo>
                  <a:lnTo>
                    <a:pt x="1890" y="44778"/>
                  </a:lnTo>
                  <a:lnTo>
                    <a:pt x="1273" y="44415"/>
                  </a:lnTo>
                  <a:lnTo>
                    <a:pt x="764" y="44051"/>
                  </a:lnTo>
                  <a:lnTo>
                    <a:pt x="364" y="43724"/>
                  </a:lnTo>
                  <a:lnTo>
                    <a:pt x="219" y="43542"/>
                  </a:lnTo>
                  <a:lnTo>
                    <a:pt x="110" y="43361"/>
                  </a:lnTo>
                  <a:lnTo>
                    <a:pt x="37" y="43215"/>
                  </a:lnTo>
                  <a:lnTo>
                    <a:pt x="1" y="43070"/>
                  </a:lnTo>
                  <a:lnTo>
                    <a:pt x="1" y="43070"/>
                  </a:lnTo>
                  <a:lnTo>
                    <a:pt x="37" y="42597"/>
                  </a:lnTo>
                  <a:lnTo>
                    <a:pt x="110" y="42270"/>
                  </a:lnTo>
                  <a:lnTo>
                    <a:pt x="219" y="42052"/>
                  </a:lnTo>
                  <a:lnTo>
                    <a:pt x="400" y="41834"/>
                  </a:lnTo>
                  <a:lnTo>
                    <a:pt x="582" y="41616"/>
                  </a:lnTo>
                  <a:lnTo>
                    <a:pt x="836" y="41289"/>
                  </a:lnTo>
                  <a:lnTo>
                    <a:pt x="1091" y="40780"/>
                  </a:lnTo>
                  <a:lnTo>
                    <a:pt x="1418" y="40053"/>
                  </a:lnTo>
                  <a:lnTo>
                    <a:pt x="1418" y="40053"/>
                  </a:lnTo>
                  <a:lnTo>
                    <a:pt x="1600" y="39581"/>
                  </a:lnTo>
                  <a:lnTo>
                    <a:pt x="1781" y="38963"/>
                  </a:lnTo>
                  <a:lnTo>
                    <a:pt x="2109" y="37473"/>
                  </a:lnTo>
                  <a:lnTo>
                    <a:pt x="2472" y="35692"/>
                  </a:lnTo>
                  <a:lnTo>
                    <a:pt x="2799" y="33802"/>
                  </a:lnTo>
                  <a:lnTo>
                    <a:pt x="3054" y="31948"/>
                  </a:lnTo>
                  <a:lnTo>
                    <a:pt x="3308" y="30240"/>
                  </a:lnTo>
                  <a:lnTo>
                    <a:pt x="3490" y="28859"/>
                  </a:lnTo>
                  <a:lnTo>
                    <a:pt x="3562" y="27950"/>
                  </a:lnTo>
                  <a:lnTo>
                    <a:pt x="3562" y="27950"/>
                  </a:lnTo>
                  <a:lnTo>
                    <a:pt x="3599" y="26642"/>
                  </a:lnTo>
                  <a:lnTo>
                    <a:pt x="3635" y="24279"/>
                  </a:lnTo>
                  <a:lnTo>
                    <a:pt x="3635" y="17737"/>
                  </a:lnTo>
                  <a:lnTo>
                    <a:pt x="3671" y="14284"/>
                  </a:lnTo>
                  <a:lnTo>
                    <a:pt x="3708" y="11158"/>
                  </a:lnTo>
                  <a:lnTo>
                    <a:pt x="3780" y="9850"/>
                  </a:lnTo>
                  <a:lnTo>
                    <a:pt x="3817" y="8759"/>
                  </a:lnTo>
                  <a:lnTo>
                    <a:pt x="3926" y="7924"/>
                  </a:lnTo>
                  <a:lnTo>
                    <a:pt x="3999" y="7415"/>
                  </a:lnTo>
                  <a:lnTo>
                    <a:pt x="3999" y="7415"/>
                  </a:lnTo>
                  <a:lnTo>
                    <a:pt x="4071" y="7233"/>
                  </a:lnTo>
                  <a:lnTo>
                    <a:pt x="4180" y="7015"/>
                  </a:lnTo>
                  <a:lnTo>
                    <a:pt x="4507" y="6542"/>
                  </a:lnTo>
                  <a:lnTo>
                    <a:pt x="4907" y="6034"/>
                  </a:lnTo>
                  <a:lnTo>
                    <a:pt x="5416" y="5452"/>
                  </a:lnTo>
                  <a:lnTo>
                    <a:pt x="5998" y="4870"/>
                  </a:lnTo>
                  <a:lnTo>
                    <a:pt x="6615" y="4253"/>
                  </a:lnTo>
                  <a:lnTo>
                    <a:pt x="7960" y="3017"/>
                  </a:lnTo>
                  <a:lnTo>
                    <a:pt x="9269" y="1854"/>
                  </a:lnTo>
                  <a:lnTo>
                    <a:pt x="10395" y="909"/>
                  </a:lnTo>
                  <a:lnTo>
                    <a:pt x="1148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2" name="Google Shape;2651;p11">
              <a:extLst>
                <a:ext uri="{FF2B5EF4-FFF2-40B4-BE49-F238E27FC236}">
                  <a16:creationId xmlns:a16="http://schemas.microsoft.com/office/drawing/2014/main" id="{967AA75A-58A8-A3C3-7272-DB2E641749E1}"/>
                </a:ext>
              </a:extLst>
            </p:cNvPr>
            <p:cNvSpPr/>
            <p:nvPr/>
          </p:nvSpPr>
          <p:spPr>
            <a:xfrm>
              <a:off x="492525" y="5150900"/>
              <a:ext cx="316250" cy="263525"/>
            </a:xfrm>
            <a:custGeom>
              <a:avLst/>
              <a:gdLst/>
              <a:ahLst/>
              <a:cxnLst/>
              <a:rect l="l" t="t" r="r" b="b"/>
              <a:pathLst>
                <a:path w="12650" h="10541" extrusionOk="0">
                  <a:moveTo>
                    <a:pt x="3199" y="0"/>
                  </a:moveTo>
                  <a:lnTo>
                    <a:pt x="3017" y="36"/>
                  </a:lnTo>
                  <a:lnTo>
                    <a:pt x="2872" y="73"/>
                  </a:lnTo>
                  <a:lnTo>
                    <a:pt x="2000" y="691"/>
                  </a:lnTo>
                  <a:lnTo>
                    <a:pt x="1164" y="1309"/>
                  </a:lnTo>
                  <a:lnTo>
                    <a:pt x="909" y="1527"/>
                  </a:lnTo>
                  <a:lnTo>
                    <a:pt x="691" y="1781"/>
                  </a:lnTo>
                  <a:lnTo>
                    <a:pt x="510" y="2072"/>
                  </a:lnTo>
                  <a:lnTo>
                    <a:pt x="328" y="2363"/>
                  </a:lnTo>
                  <a:lnTo>
                    <a:pt x="183" y="2653"/>
                  </a:lnTo>
                  <a:lnTo>
                    <a:pt x="73" y="2908"/>
                  </a:lnTo>
                  <a:lnTo>
                    <a:pt x="1" y="3162"/>
                  </a:lnTo>
                  <a:lnTo>
                    <a:pt x="1" y="3308"/>
                  </a:lnTo>
                  <a:lnTo>
                    <a:pt x="73" y="3489"/>
                  </a:lnTo>
                  <a:lnTo>
                    <a:pt x="255" y="3707"/>
                  </a:lnTo>
                  <a:lnTo>
                    <a:pt x="837" y="4253"/>
                  </a:lnTo>
                  <a:lnTo>
                    <a:pt x="1527" y="4907"/>
                  </a:lnTo>
                  <a:lnTo>
                    <a:pt x="2254" y="5561"/>
                  </a:lnTo>
                  <a:lnTo>
                    <a:pt x="2472" y="5561"/>
                  </a:lnTo>
                  <a:lnTo>
                    <a:pt x="2545" y="5488"/>
                  </a:lnTo>
                  <a:lnTo>
                    <a:pt x="2654" y="5416"/>
                  </a:lnTo>
                  <a:lnTo>
                    <a:pt x="2799" y="5307"/>
                  </a:lnTo>
                  <a:lnTo>
                    <a:pt x="2836" y="5307"/>
                  </a:lnTo>
                  <a:lnTo>
                    <a:pt x="2945" y="5379"/>
                  </a:lnTo>
                  <a:lnTo>
                    <a:pt x="3308" y="5634"/>
                  </a:lnTo>
                  <a:lnTo>
                    <a:pt x="4399" y="6688"/>
                  </a:lnTo>
                  <a:lnTo>
                    <a:pt x="6834" y="8977"/>
                  </a:lnTo>
                  <a:lnTo>
                    <a:pt x="7052" y="9196"/>
                  </a:lnTo>
                  <a:lnTo>
                    <a:pt x="7343" y="9377"/>
                  </a:lnTo>
                  <a:lnTo>
                    <a:pt x="7670" y="9559"/>
                  </a:lnTo>
                  <a:lnTo>
                    <a:pt x="8033" y="9741"/>
                  </a:lnTo>
                  <a:lnTo>
                    <a:pt x="8833" y="10068"/>
                  </a:lnTo>
                  <a:lnTo>
                    <a:pt x="9669" y="10322"/>
                  </a:lnTo>
                  <a:lnTo>
                    <a:pt x="10105" y="10431"/>
                  </a:lnTo>
                  <a:lnTo>
                    <a:pt x="10505" y="10504"/>
                  </a:lnTo>
                  <a:lnTo>
                    <a:pt x="10905" y="10540"/>
                  </a:lnTo>
                  <a:lnTo>
                    <a:pt x="11668" y="10540"/>
                  </a:lnTo>
                  <a:lnTo>
                    <a:pt x="11959" y="10468"/>
                  </a:lnTo>
                  <a:lnTo>
                    <a:pt x="12249" y="10395"/>
                  </a:lnTo>
                  <a:lnTo>
                    <a:pt x="12467" y="10250"/>
                  </a:lnTo>
                  <a:lnTo>
                    <a:pt x="12613" y="10068"/>
                  </a:lnTo>
                  <a:lnTo>
                    <a:pt x="12649" y="9850"/>
                  </a:lnTo>
                  <a:lnTo>
                    <a:pt x="12649" y="9632"/>
                  </a:lnTo>
                  <a:lnTo>
                    <a:pt x="12576" y="9377"/>
                  </a:lnTo>
                  <a:lnTo>
                    <a:pt x="12467" y="9123"/>
                  </a:lnTo>
                  <a:lnTo>
                    <a:pt x="12286" y="8868"/>
                  </a:lnTo>
                  <a:lnTo>
                    <a:pt x="12068" y="8578"/>
                  </a:lnTo>
                  <a:lnTo>
                    <a:pt x="11850" y="8323"/>
                  </a:lnTo>
                  <a:lnTo>
                    <a:pt x="11341" y="7778"/>
                  </a:lnTo>
                  <a:lnTo>
                    <a:pt x="10832" y="7306"/>
                  </a:lnTo>
                  <a:lnTo>
                    <a:pt x="10396" y="6942"/>
                  </a:lnTo>
                  <a:lnTo>
                    <a:pt x="10141" y="6651"/>
                  </a:lnTo>
                  <a:lnTo>
                    <a:pt x="10032" y="6579"/>
                  </a:lnTo>
                  <a:lnTo>
                    <a:pt x="9887" y="6470"/>
                  </a:lnTo>
                  <a:lnTo>
                    <a:pt x="9560" y="6324"/>
                  </a:lnTo>
                  <a:lnTo>
                    <a:pt x="8687" y="6033"/>
                  </a:lnTo>
                  <a:lnTo>
                    <a:pt x="8142" y="5888"/>
                  </a:lnTo>
                  <a:lnTo>
                    <a:pt x="7597" y="5634"/>
                  </a:lnTo>
                  <a:lnTo>
                    <a:pt x="7016" y="5343"/>
                  </a:lnTo>
                  <a:lnTo>
                    <a:pt x="6761" y="5161"/>
                  </a:lnTo>
                  <a:lnTo>
                    <a:pt x="6470" y="4979"/>
                  </a:lnTo>
                  <a:lnTo>
                    <a:pt x="5961" y="4543"/>
                  </a:lnTo>
                  <a:lnTo>
                    <a:pt x="5598" y="4107"/>
                  </a:lnTo>
                  <a:lnTo>
                    <a:pt x="5307" y="3707"/>
                  </a:lnTo>
                  <a:lnTo>
                    <a:pt x="5126" y="3308"/>
                  </a:lnTo>
                  <a:lnTo>
                    <a:pt x="4980" y="2944"/>
                  </a:lnTo>
                  <a:lnTo>
                    <a:pt x="4907" y="2617"/>
                  </a:lnTo>
                  <a:lnTo>
                    <a:pt x="4798" y="2035"/>
                  </a:lnTo>
                  <a:lnTo>
                    <a:pt x="4653" y="1708"/>
                  </a:lnTo>
                  <a:lnTo>
                    <a:pt x="4435" y="1236"/>
                  </a:lnTo>
                  <a:lnTo>
                    <a:pt x="4253" y="981"/>
                  </a:lnTo>
                  <a:lnTo>
                    <a:pt x="4035" y="691"/>
                  </a:lnTo>
                  <a:lnTo>
                    <a:pt x="3781" y="400"/>
                  </a:lnTo>
                  <a:lnTo>
                    <a:pt x="3490" y="109"/>
                  </a:lnTo>
                  <a:lnTo>
                    <a:pt x="3345" y="36"/>
                  </a:lnTo>
                  <a:lnTo>
                    <a:pt x="319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3" name="Google Shape;2652;p11">
              <a:extLst>
                <a:ext uri="{FF2B5EF4-FFF2-40B4-BE49-F238E27FC236}">
                  <a16:creationId xmlns:a16="http://schemas.microsoft.com/office/drawing/2014/main" id="{C5CDDA28-6A29-FE40-F196-0914FBB8B4C9}"/>
                </a:ext>
              </a:extLst>
            </p:cNvPr>
            <p:cNvSpPr/>
            <p:nvPr/>
          </p:nvSpPr>
          <p:spPr>
            <a:xfrm>
              <a:off x="892325" y="4184100"/>
              <a:ext cx="429825" cy="1157625"/>
            </a:xfrm>
            <a:custGeom>
              <a:avLst/>
              <a:gdLst/>
              <a:ahLst/>
              <a:cxnLst/>
              <a:rect l="l" t="t" r="r" b="b"/>
              <a:pathLst>
                <a:path w="17193" h="46305" extrusionOk="0">
                  <a:moveTo>
                    <a:pt x="1237" y="0"/>
                  </a:moveTo>
                  <a:lnTo>
                    <a:pt x="1019" y="37"/>
                  </a:lnTo>
                  <a:lnTo>
                    <a:pt x="764" y="73"/>
                  </a:lnTo>
                  <a:lnTo>
                    <a:pt x="546" y="182"/>
                  </a:lnTo>
                  <a:lnTo>
                    <a:pt x="364" y="291"/>
                  </a:lnTo>
                  <a:lnTo>
                    <a:pt x="219" y="473"/>
                  </a:lnTo>
                  <a:lnTo>
                    <a:pt x="74" y="691"/>
                  </a:lnTo>
                  <a:lnTo>
                    <a:pt x="1" y="982"/>
                  </a:lnTo>
                  <a:lnTo>
                    <a:pt x="1" y="1345"/>
                  </a:lnTo>
                  <a:lnTo>
                    <a:pt x="146" y="2435"/>
                  </a:lnTo>
                  <a:lnTo>
                    <a:pt x="437" y="4543"/>
                  </a:lnTo>
                  <a:lnTo>
                    <a:pt x="1382" y="10686"/>
                  </a:lnTo>
                  <a:lnTo>
                    <a:pt x="2109" y="15084"/>
                  </a:lnTo>
                  <a:lnTo>
                    <a:pt x="3745" y="24715"/>
                  </a:lnTo>
                  <a:lnTo>
                    <a:pt x="4362" y="28132"/>
                  </a:lnTo>
                  <a:lnTo>
                    <a:pt x="4544" y="29259"/>
                  </a:lnTo>
                  <a:lnTo>
                    <a:pt x="4690" y="29840"/>
                  </a:lnTo>
                  <a:lnTo>
                    <a:pt x="4908" y="30785"/>
                  </a:lnTo>
                  <a:lnTo>
                    <a:pt x="5235" y="32166"/>
                  </a:lnTo>
                  <a:lnTo>
                    <a:pt x="5598" y="33874"/>
                  </a:lnTo>
                  <a:lnTo>
                    <a:pt x="5998" y="35764"/>
                  </a:lnTo>
                  <a:lnTo>
                    <a:pt x="6361" y="37691"/>
                  </a:lnTo>
                  <a:lnTo>
                    <a:pt x="6652" y="39544"/>
                  </a:lnTo>
                  <a:lnTo>
                    <a:pt x="6834" y="41107"/>
                  </a:lnTo>
                  <a:lnTo>
                    <a:pt x="6870" y="41761"/>
                  </a:lnTo>
                  <a:lnTo>
                    <a:pt x="6870" y="42307"/>
                  </a:lnTo>
                  <a:lnTo>
                    <a:pt x="6834" y="43106"/>
                  </a:lnTo>
                  <a:lnTo>
                    <a:pt x="6725" y="43688"/>
                  </a:lnTo>
                  <a:lnTo>
                    <a:pt x="6616" y="44088"/>
                  </a:lnTo>
                  <a:lnTo>
                    <a:pt x="6470" y="44378"/>
                  </a:lnTo>
                  <a:lnTo>
                    <a:pt x="6398" y="44633"/>
                  </a:lnTo>
                  <a:lnTo>
                    <a:pt x="6361" y="44887"/>
                  </a:lnTo>
                  <a:lnTo>
                    <a:pt x="6398" y="45214"/>
                  </a:lnTo>
                  <a:lnTo>
                    <a:pt x="6543" y="45687"/>
                  </a:lnTo>
                  <a:lnTo>
                    <a:pt x="6616" y="45832"/>
                  </a:lnTo>
                  <a:lnTo>
                    <a:pt x="6761" y="45941"/>
                  </a:lnTo>
                  <a:lnTo>
                    <a:pt x="6943" y="46014"/>
                  </a:lnTo>
                  <a:lnTo>
                    <a:pt x="7161" y="46123"/>
                  </a:lnTo>
                  <a:lnTo>
                    <a:pt x="7452" y="46159"/>
                  </a:lnTo>
                  <a:lnTo>
                    <a:pt x="7779" y="46232"/>
                  </a:lnTo>
                  <a:lnTo>
                    <a:pt x="8506" y="46305"/>
                  </a:lnTo>
                  <a:lnTo>
                    <a:pt x="9378" y="46305"/>
                  </a:lnTo>
                  <a:lnTo>
                    <a:pt x="10287" y="46268"/>
                  </a:lnTo>
                  <a:lnTo>
                    <a:pt x="11268" y="46232"/>
                  </a:lnTo>
                  <a:lnTo>
                    <a:pt x="12286" y="46123"/>
                  </a:lnTo>
                  <a:lnTo>
                    <a:pt x="13267" y="46014"/>
                  </a:lnTo>
                  <a:lnTo>
                    <a:pt x="14212" y="45869"/>
                  </a:lnTo>
                  <a:lnTo>
                    <a:pt x="15084" y="45723"/>
                  </a:lnTo>
                  <a:lnTo>
                    <a:pt x="15848" y="45578"/>
                  </a:lnTo>
                  <a:lnTo>
                    <a:pt x="16466" y="45432"/>
                  </a:lnTo>
                  <a:lnTo>
                    <a:pt x="16902" y="45287"/>
                  </a:lnTo>
                  <a:lnTo>
                    <a:pt x="17083" y="45214"/>
                  </a:lnTo>
                  <a:lnTo>
                    <a:pt x="17156" y="45142"/>
                  </a:lnTo>
                  <a:lnTo>
                    <a:pt x="17192" y="45069"/>
                  </a:lnTo>
                  <a:lnTo>
                    <a:pt x="17192" y="44996"/>
                  </a:lnTo>
                  <a:lnTo>
                    <a:pt x="17011" y="44887"/>
                  </a:lnTo>
                  <a:lnTo>
                    <a:pt x="16793" y="44778"/>
                  </a:lnTo>
                  <a:lnTo>
                    <a:pt x="16175" y="44524"/>
                  </a:lnTo>
                  <a:lnTo>
                    <a:pt x="15375" y="44269"/>
                  </a:lnTo>
                  <a:lnTo>
                    <a:pt x="14503" y="44051"/>
                  </a:lnTo>
                  <a:lnTo>
                    <a:pt x="12795" y="43542"/>
                  </a:lnTo>
                  <a:lnTo>
                    <a:pt x="12177" y="43324"/>
                  </a:lnTo>
                  <a:lnTo>
                    <a:pt x="11922" y="43215"/>
                  </a:lnTo>
                  <a:lnTo>
                    <a:pt x="11741" y="43143"/>
                  </a:lnTo>
                  <a:lnTo>
                    <a:pt x="11704" y="43034"/>
                  </a:lnTo>
                  <a:lnTo>
                    <a:pt x="11668" y="42888"/>
                  </a:lnTo>
                  <a:lnTo>
                    <a:pt x="11559" y="42270"/>
                  </a:lnTo>
                  <a:lnTo>
                    <a:pt x="11450" y="41362"/>
                  </a:lnTo>
                  <a:lnTo>
                    <a:pt x="11304" y="40162"/>
                  </a:lnTo>
                  <a:lnTo>
                    <a:pt x="11014" y="37037"/>
                  </a:lnTo>
                  <a:lnTo>
                    <a:pt x="10687" y="33148"/>
                  </a:lnTo>
                  <a:lnTo>
                    <a:pt x="9960" y="23988"/>
                  </a:lnTo>
                  <a:lnTo>
                    <a:pt x="9305" y="14611"/>
                  </a:lnTo>
                  <a:lnTo>
                    <a:pt x="8978" y="10177"/>
                  </a:lnTo>
                  <a:lnTo>
                    <a:pt x="8615" y="5743"/>
                  </a:lnTo>
                  <a:lnTo>
                    <a:pt x="8469" y="4216"/>
                  </a:lnTo>
                  <a:lnTo>
                    <a:pt x="8360" y="3199"/>
                  </a:lnTo>
                  <a:lnTo>
                    <a:pt x="8251" y="2472"/>
                  </a:lnTo>
                  <a:lnTo>
                    <a:pt x="8106" y="1854"/>
                  </a:lnTo>
                  <a:lnTo>
                    <a:pt x="7924" y="1381"/>
                  </a:lnTo>
                  <a:lnTo>
                    <a:pt x="7706" y="945"/>
                  </a:lnTo>
                  <a:lnTo>
                    <a:pt x="7488" y="654"/>
                  </a:lnTo>
                  <a:lnTo>
                    <a:pt x="7197" y="400"/>
                  </a:lnTo>
                  <a:lnTo>
                    <a:pt x="6907" y="218"/>
                  </a:lnTo>
                  <a:lnTo>
                    <a:pt x="6579" y="109"/>
                  </a:lnTo>
                  <a:lnTo>
                    <a:pt x="6180" y="37"/>
                  </a:lnTo>
                  <a:lnTo>
                    <a:pt x="4871" y="37"/>
                  </a:lnTo>
                  <a:lnTo>
                    <a:pt x="3781" y="109"/>
                  </a:lnTo>
                  <a:lnTo>
                    <a:pt x="2545" y="182"/>
                  </a:lnTo>
                  <a:lnTo>
                    <a:pt x="2145" y="73"/>
                  </a:lnTo>
                  <a:lnTo>
                    <a:pt x="1746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4" name="Google Shape;2653;p11">
              <a:extLst>
                <a:ext uri="{FF2B5EF4-FFF2-40B4-BE49-F238E27FC236}">
                  <a16:creationId xmlns:a16="http://schemas.microsoft.com/office/drawing/2014/main" id="{8A4B042E-76FB-5D95-B07B-021421B3E5BF}"/>
                </a:ext>
              </a:extLst>
            </p:cNvPr>
            <p:cNvSpPr/>
            <p:nvPr/>
          </p:nvSpPr>
          <p:spPr>
            <a:xfrm>
              <a:off x="892325" y="4184100"/>
              <a:ext cx="429825" cy="1157625"/>
            </a:xfrm>
            <a:custGeom>
              <a:avLst/>
              <a:gdLst/>
              <a:ahLst/>
              <a:cxnLst/>
              <a:rect l="l" t="t" r="r" b="b"/>
              <a:pathLst>
                <a:path w="17193" h="46305" fill="none" extrusionOk="0">
                  <a:moveTo>
                    <a:pt x="1" y="1345"/>
                  </a:moveTo>
                  <a:lnTo>
                    <a:pt x="1" y="1345"/>
                  </a:lnTo>
                  <a:lnTo>
                    <a:pt x="146" y="2435"/>
                  </a:lnTo>
                  <a:lnTo>
                    <a:pt x="437" y="4543"/>
                  </a:lnTo>
                  <a:lnTo>
                    <a:pt x="1382" y="10686"/>
                  </a:lnTo>
                  <a:lnTo>
                    <a:pt x="1382" y="10686"/>
                  </a:lnTo>
                  <a:lnTo>
                    <a:pt x="2109" y="15084"/>
                  </a:lnTo>
                  <a:lnTo>
                    <a:pt x="2109" y="15084"/>
                  </a:lnTo>
                  <a:lnTo>
                    <a:pt x="3745" y="24715"/>
                  </a:lnTo>
                  <a:lnTo>
                    <a:pt x="4362" y="28132"/>
                  </a:lnTo>
                  <a:lnTo>
                    <a:pt x="4544" y="29259"/>
                  </a:lnTo>
                  <a:lnTo>
                    <a:pt x="4690" y="29840"/>
                  </a:lnTo>
                  <a:lnTo>
                    <a:pt x="4690" y="29840"/>
                  </a:lnTo>
                  <a:lnTo>
                    <a:pt x="4908" y="30785"/>
                  </a:lnTo>
                  <a:lnTo>
                    <a:pt x="5235" y="32166"/>
                  </a:lnTo>
                  <a:lnTo>
                    <a:pt x="5598" y="33874"/>
                  </a:lnTo>
                  <a:lnTo>
                    <a:pt x="5998" y="35764"/>
                  </a:lnTo>
                  <a:lnTo>
                    <a:pt x="6361" y="37691"/>
                  </a:lnTo>
                  <a:lnTo>
                    <a:pt x="6652" y="39544"/>
                  </a:lnTo>
                  <a:lnTo>
                    <a:pt x="6834" y="41107"/>
                  </a:lnTo>
                  <a:lnTo>
                    <a:pt x="6870" y="41761"/>
                  </a:lnTo>
                  <a:lnTo>
                    <a:pt x="6870" y="42307"/>
                  </a:lnTo>
                  <a:lnTo>
                    <a:pt x="6870" y="42307"/>
                  </a:lnTo>
                  <a:lnTo>
                    <a:pt x="6834" y="43106"/>
                  </a:lnTo>
                  <a:lnTo>
                    <a:pt x="6725" y="43688"/>
                  </a:lnTo>
                  <a:lnTo>
                    <a:pt x="6616" y="44088"/>
                  </a:lnTo>
                  <a:lnTo>
                    <a:pt x="6470" y="44378"/>
                  </a:lnTo>
                  <a:lnTo>
                    <a:pt x="6398" y="44633"/>
                  </a:lnTo>
                  <a:lnTo>
                    <a:pt x="6361" y="44887"/>
                  </a:lnTo>
                  <a:lnTo>
                    <a:pt x="6398" y="45214"/>
                  </a:lnTo>
                  <a:lnTo>
                    <a:pt x="6543" y="45687"/>
                  </a:lnTo>
                  <a:lnTo>
                    <a:pt x="6543" y="45687"/>
                  </a:lnTo>
                  <a:lnTo>
                    <a:pt x="6616" y="45832"/>
                  </a:lnTo>
                  <a:lnTo>
                    <a:pt x="6761" y="45941"/>
                  </a:lnTo>
                  <a:lnTo>
                    <a:pt x="6943" y="46014"/>
                  </a:lnTo>
                  <a:lnTo>
                    <a:pt x="7161" y="46123"/>
                  </a:lnTo>
                  <a:lnTo>
                    <a:pt x="7452" y="46159"/>
                  </a:lnTo>
                  <a:lnTo>
                    <a:pt x="7779" y="46232"/>
                  </a:lnTo>
                  <a:lnTo>
                    <a:pt x="8506" y="46305"/>
                  </a:lnTo>
                  <a:lnTo>
                    <a:pt x="9378" y="46305"/>
                  </a:lnTo>
                  <a:lnTo>
                    <a:pt x="10287" y="46268"/>
                  </a:lnTo>
                  <a:lnTo>
                    <a:pt x="11268" y="46232"/>
                  </a:lnTo>
                  <a:lnTo>
                    <a:pt x="12286" y="46123"/>
                  </a:lnTo>
                  <a:lnTo>
                    <a:pt x="13267" y="46014"/>
                  </a:lnTo>
                  <a:lnTo>
                    <a:pt x="14212" y="45869"/>
                  </a:lnTo>
                  <a:lnTo>
                    <a:pt x="15084" y="45723"/>
                  </a:lnTo>
                  <a:lnTo>
                    <a:pt x="15848" y="45578"/>
                  </a:lnTo>
                  <a:lnTo>
                    <a:pt x="16466" y="45432"/>
                  </a:lnTo>
                  <a:lnTo>
                    <a:pt x="16902" y="45287"/>
                  </a:lnTo>
                  <a:lnTo>
                    <a:pt x="17083" y="45214"/>
                  </a:lnTo>
                  <a:lnTo>
                    <a:pt x="17156" y="45142"/>
                  </a:lnTo>
                  <a:lnTo>
                    <a:pt x="17192" y="45069"/>
                  </a:lnTo>
                  <a:lnTo>
                    <a:pt x="17192" y="44996"/>
                  </a:lnTo>
                  <a:lnTo>
                    <a:pt x="17192" y="44996"/>
                  </a:lnTo>
                  <a:lnTo>
                    <a:pt x="17011" y="44887"/>
                  </a:lnTo>
                  <a:lnTo>
                    <a:pt x="16793" y="44778"/>
                  </a:lnTo>
                  <a:lnTo>
                    <a:pt x="16175" y="44524"/>
                  </a:lnTo>
                  <a:lnTo>
                    <a:pt x="15375" y="44269"/>
                  </a:lnTo>
                  <a:lnTo>
                    <a:pt x="14503" y="44051"/>
                  </a:lnTo>
                  <a:lnTo>
                    <a:pt x="12795" y="43542"/>
                  </a:lnTo>
                  <a:lnTo>
                    <a:pt x="12177" y="43324"/>
                  </a:lnTo>
                  <a:lnTo>
                    <a:pt x="11922" y="43215"/>
                  </a:lnTo>
                  <a:lnTo>
                    <a:pt x="11741" y="43143"/>
                  </a:lnTo>
                  <a:lnTo>
                    <a:pt x="11741" y="43143"/>
                  </a:lnTo>
                  <a:lnTo>
                    <a:pt x="11704" y="43034"/>
                  </a:lnTo>
                  <a:lnTo>
                    <a:pt x="11668" y="42888"/>
                  </a:lnTo>
                  <a:lnTo>
                    <a:pt x="11559" y="42270"/>
                  </a:lnTo>
                  <a:lnTo>
                    <a:pt x="11450" y="41362"/>
                  </a:lnTo>
                  <a:lnTo>
                    <a:pt x="11304" y="40162"/>
                  </a:lnTo>
                  <a:lnTo>
                    <a:pt x="11014" y="37037"/>
                  </a:lnTo>
                  <a:lnTo>
                    <a:pt x="10687" y="33148"/>
                  </a:lnTo>
                  <a:lnTo>
                    <a:pt x="9960" y="23988"/>
                  </a:lnTo>
                  <a:lnTo>
                    <a:pt x="9305" y="14611"/>
                  </a:lnTo>
                  <a:lnTo>
                    <a:pt x="9305" y="14611"/>
                  </a:lnTo>
                  <a:lnTo>
                    <a:pt x="8978" y="10177"/>
                  </a:lnTo>
                  <a:lnTo>
                    <a:pt x="8978" y="10177"/>
                  </a:lnTo>
                  <a:lnTo>
                    <a:pt x="8615" y="5743"/>
                  </a:lnTo>
                  <a:lnTo>
                    <a:pt x="8469" y="4216"/>
                  </a:lnTo>
                  <a:lnTo>
                    <a:pt x="8360" y="3199"/>
                  </a:lnTo>
                  <a:lnTo>
                    <a:pt x="8360" y="3199"/>
                  </a:lnTo>
                  <a:lnTo>
                    <a:pt x="8251" y="2472"/>
                  </a:lnTo>
                  <a:lnTo>
                    <a:pt x="8106" y="1854"/>
                  </a:lnTo>
                  <a:lnTo>
                    <a:pt x="7924" y="1381"/>
                  </a:lnTo>
                  <a:lnTo>
                    <a:pt x="7706" y="945"/>
                  </a:lnTo>
                  <a:lnTo>
                    <a:pt x="7488" y="654"/>
                  </a:lnTo>
                  <a:lnTo>
                    <a:pt x="7197" y="400"/>
                  </a:lnTo>
                  <a:lnTo>
                    <a:pt x="6907" y="218"/>
                  </a:lnTo>
                  <a:lnTo>
                    <a:pt x="6579" y="109"/>
                  </a:lnTo>
                  <a:lnTo>
                    <a:pt x="6180" y="37"/>
                  </a:lnTo>
                  <a:lnTo>
                    <a:pt x="5780" y="37"/>
                  </a:lnTo>
                  <a:lnTo>
                    <a:pt x="5344" y="37"/>
                  </a:lnTo>
                  <a:lnTo>
                    <a:pt x="4871" y="37"/>
                  </a:lnTo>
                  <a:lnTo>
                    <a:pt x="3781" y="109"/>
                  </a:lnTo>
                  <a:lnTo>
                    <a:pt x="2545" y="182"/>
                  </a:lnTo>
                  <a:lnTo>
                    <a:pt x="2545" y="182"/>
                  </a:lnTo>
                  <a:lnTo>
                    <a:pt x="2145" y="73"/>
                  </a:lnTo>
                  <a:lnTo>
                    <a:pt x="1746" y="0"/>
                  </a:lnTo>
                  <a:lnTo>
                    <a:pt x="1237" y="0"/>
                  </a:lnTo>
                  <a:lnTo>
                    <a:pt x="1019" y="37"/>
                  </a:lnTo>
                  <a:lnTo>
                    <a:pt x="764" y="73"/>
                  </a:lnTo>
                  <a:lnTo>
                    <a:pt x="546" y="182"/>
                  </a:lnTo>
                  <a:lnTo>
                    <a:pt x="364" y="291"/>
                  </a:lnTo>
                  <a:lnTo>
                    <a:pt x="219" y="473"/>
                  </a:lnTo>
                  <a:lnTo>
                    <a:pt x="74" y="691"/>
                  </a:lnTo>
                  <a:lnTo>
                    <a:pt x="1" y="982"/>
                  </a:lnTo>
                  <a:lnTo>
                    <a:pt x="1" y="134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5" name="Google Shape;2654;p11">
              <a:extLst>
                <a:ext uri="{FF2B5EF4-FFF2-40B4-BE49-F238E27FC236}">
                  <a16:creationId xmlns:a16="http://schemas.microsoft.com/office/drawing/2014/main" id="{68D196DD-55A3-66DC-17B2-4A4B29C67618}"/>
                </a:ext>
              </a:extLst>
            </p:cNvPr>
            <p:cNvSpPr/>
            <p:nvPr/>
          </p:nvSpPr>
          <p:spPr>
            <a:xfrm>
              <a:off x="1031350" y="5276275"/>
              <a:ext cx="370750" cy="125425"/>
            </a:xfrm>
            <a:custGeom>
              <a:avLst/>
              <a:gdLst/>
              <a:ahLst/>
              <a:cxnLst/>
              <a:rect l="l" t="t" r="r" b="b"/>
              <a:pathLst>
                <a:path w="14830" h="5017" extrusionOk="0">
                  <a:moveTo>
                    <a:pt x="1091" y="1"/>
                  </a:moveTo>
                  <a:lnTo>
                    <a:pt x="909" y="37"/>
                  </a:lnTo>
                  <a:lnTo>
                    <a:pt x="764" y="110"/>
                  </a:lnTo>
                  <a:lnTo>
                    <a:pt x="619" y="219"/>
                  </a:lnTo>
                  <a:lnTo>
                    <a:pt x="546" y="401"/>
                  </a:lnTo>
                  <a:lnTo>
                    <a:pt x="292" y="1455"/>
                  </a:lnTo>
                  <a:lnTo>
                    <a:pt x="37" y="2509"/>
                  </a:lnTo>
                  <a:lnTo>
                    <a:pt x="1" y="2836"/>
                  </a:lnTo>
                  <a:lnTo>
                    <a:pt x="1" y="3163"/>
                  </a:lnTo>
                  <a:lnTo>
                    <a:pt x="37" y="3526"/>
                  </a:lnTo>
                  <a:lnTo>
                    <a:pt x="110" y="3890"/>
                  </a:lnTo>
                  <a:lnTo>
                    <a:pt x="183" y="4217"/>
                  </a:lnTo>
                  <a:lnTo>
                    <a:pt x="292" y="4508"/>
                  </a:lnTo>
                  <a:lnTo>
                    <a:pt x="401" y="4689"/>
                  </a:lnTo>
                  <a:lnTo>
                    <a:pt x="510" y="4835"/>
                  </a:lnTo>
                  <a:lnTo>
                    <a:pt x="691" y="4907"/>
                  </a:lnTo>
                  <a:lnTo>
                    <a:pt x="982" y="4944"/>
                  </a:lnTo>
                  <a:lnTo>
                    <a:pt x="1818" y="4980"/>
                  </a:lnTo>
                  <a:lnTo>
                    <a:pt x="2799" y="4980"/>
                  </a:lnTo>
                  <a:lnTo>
                    <a:pt x="3817" y="5016"/>
                  </a:lnTo>
                  <a:lnTo>
                    <a:pt x="3853" y="5016"/>
                  </a:lnTo>
                  <a:lnTo>
                    <a:pt x="3926" y="4944"/>
                  </a:lnTo>
                  <a:lnTo>
                    <a:pt x="3999" y="4871"/>
                  </a:lnTo>
                  <a:lnTo>
                    <a:pt x="4035" y="4762"/>
                  </a:lnTo>
                  <a:lnTo>
                    <a:pt x="4072" y="4617"/>
                  </a:lnTo>
                  <a:lnTo>
                    <a:pt x="4072" y="4435"/>
                  </a:lnTo>
                  <a:lnTo>
                    <a:pt x="4726" y="4435"/>
                  </a:lnTo>
                  <a:lnTo>
                    <a:pt x="6361" y="4653"/>
                  </a:lnTo>
                  <a:lnTo>
                    <a:pt x="8288" y="4871"/>
                  </a:lnTo>
                  <a:lnTo>
                    <a:pt x="9160" y="4980"/>
                  </a:lnTo>
                  <a:lnTo>
                    <a:pt x="9887" y="5016"/>
                  </a:lnTo>
                  <a:lnTo>
                    <a:pt x="10541" y="4980"/>
                  </a:lnTo>
                  <a:lnTo>
                    <a:pt x="11304" y="4907"/>
                  </a:lnTo>
                  <a:lnTo>
                    <a:pt x="12068" y="4726"/>
                  </a:lnTo>
                  <a:lnTo>
                    <a:pt x="12867" y="4508"/>
                  </a:lnTo>
                  <a:lnTo>
                    <a:pt x="13231" y="4362"/>
                  </a:lnTo>
                  <a:lnTo>
                    <a:pt x="13558" y="4217"/>
                  </a:lnTo>
                  <a:lnTo>
                    <a:pt x="13885" y="4035"/>
                  </a:lnTo>
                  <a:lnTo>
                    <a:pt x="14139" y="3853"/>
                  </a:lnTo>
                  <a:lnTo>
                    <a:pt x="14394" y="3672"/>
                  </a:lnTo>
                  <a:lnTo>
                    <a:pt x="14575" y="3454"/>
                  </a:lnTo>
                  <a:lnTo>
                    <a:pt x="14721" y="3199"/>
                  </a:lnTo>
                  <a:lnTo>
                    <a:pt x="14830" y="2981"/>
                  </a:lnTo>
                  <a:lnTo>
                    <a:pt x="14794" y="2727"/>
                  </a:lnTo>
                  <a:lnTo>
                    <a:pt x="14721" y="2472"/>
                  </a:lnTo>
                  <a:lnTo>
                    <a:pt x="14575" y="2254"/>
                  </a:lnTo>
                  <a:lnTo>
                    <a:pt x="14357" y="2072"/>
                  </a:lnTo>
                  <a:lnTo>
                    <a:pt x="14103" y="1891"/>
                  </a:lnTo>
                  <a:lnTo>
                    <a:pt x="13812" y="1709"/>
                  </a:lnTo>
                  <a:lnTo>
                    <a:pt x="13521" y="1564"/>
                  </a:lnTo>
                  <a:lnTo>
                    <a:pt x="13158" y="1418"/>
                  </a:lnTo>
                  <a:lnTo>
                    <a:pt x="12467" y="1200"/>
                  </a:lnTo>
                  <a:lnTo>
                    <a:pt x="11813" y="1018"/>
                  </a:lnTo>
                  <a:lnTo>
                    <a:pt x="11268" y="909"/>
                  </a:lnTo>
                  <a:lnTo>
                    <a:pt x="10868" y="873"/>
                  </a:lnTo>
                  <a:lnTo>
                    <a:pt x="10541" y="873"/>
                  </a:lnTo>
                  <a:lnTo>
                    <a:pt x="10178" y="946"/>
                  </a:lnTo>
                  <a:lnTo>
                    <a:pt x="9269" y="1200"/>
                  </a:lnTo>
                  <a:lnTo>
                    <a:pt x="8724" y="1346"/>
                  </a:lnTo>
                  <a:lnTo>
                    <a:pt x="8106" y="1491"/>
                  </a:lnTo>
                  <a:lnTo>
                    <a:pt x="7452" y="1600"/>
                  </a:lnTo>
                  <a:lnTo>
                    <a:pt x="6725" y="1673"/>
                  </a:lnTo>
                  <a:lnTo>
                    <a:pt x="6034" y="1673"/>
                  </a:lnTo>
                  <a:lnTo>
                    <a:pt x="5453" y="1636"/>
                  </a:lnTo>
                  <a:lnTo>
                    <a:pt x="4944" y="1491"/>
                  </a:lnTo>
                  <a:lnTo>
                    <a:pt x="4544" y="1346"/>
                  </a:lnTo>
                  <a:lnTo>
                    <a:pt x="4181" y="1127"/>
                  </a:lnTo>
                  <a:lnTo>
                    <a:pt x="3890" y="946"/>
                  </a:lnTo>
                  <a:lnTo>
                    <a:pt x="3417" y="582"/>
                  </a:lnTo>
                  <a:lnTo>
                    <a:pt x="3090" y="401"/>
                  </a:lnTo>
                  <a:lnTo>
                    <a:pt x="2581" y="219"/>
                  </a:lnTo>
                  <a:lnTo>
                    <a:pt x="2254" y="110"/>
                  </a:lnTo>
                  <a:lnTo>
                    <a:pt x="1891" y="37"/>
                  </a:lnTo>
                  <a:lnTo>
                    <a:pt x="1491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6" name="Google Shape;2655;p11">
              <a:extLst>
                <a:ext uri="{FF2B5EF4-FFF2-40B4-BE49-F238E27FC236}">
                  <a16:creationId xmlns:a16="http://schemas.microsoft.com/office/drawing/2014/main" id="{9EAD985C-6E04-D909-E9C6-513CAD8CD4A9}"/>
                </a:ext>
              </a:extLst>
            </p:cNvPr>
            <p:cNvSpPr/>
            <p:nvPr/>
          </p:nvSpPr>
          <p:spPr>
            <a:xfrm>
              <a:off x="827825" y="4531200"/>
              <a:ext cx="7300" cy="27275"/>
            </a:xfrm>
            <a:custGeom>
              <a:avLst/>
              <a:gdLst/>
              <a:ahLst/>
              <a:cxnLst/>
              <a:rect l="l" t="t" r="r" b="b"/>
              <a:pathLst>
                <a:path w="292" h="1091" extrusionOk="0">
                  <a:moveTo>
                    <a:pt x="255" y="0"/>
                  </a:moveTo>
                  <a:lnTo>
                    <a:pt x="0" y="1091"/>
                  </a:lnTo>
                  <a:lnTo>
                    <a:pt x="29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7" name="Google Shape;2656;p11">
              <a:extLst>
                <a:ext uri="{FF2B5EF4-FFF2-40B4-BE49-F238E27FC236}">
                  <a16:creationId xmlns:a16="http://schemas.microsoft.com/office/drawing/2014/main" id="{1C756BD9-8F5D-B506-AA17-E4561E15ECC8}"/>
                </a:ext>
              </a:extLst>
            </p:cNvPr>
            <p:cNvSpPr/>
            <p:nvPr/>
          </p:nvSpPr>
          <p:spPr>
            <a:xfrm>
              <a:off x="827825" y="4531200"/>
              <a:ext cx="7300" cy="27275"/>
            </a:xfrm>
            <a:custGeom>
              <a:avLst/>
              <a:gdLst/>
              <a:ahLst/>
              <a:cxnLst/>
              <a:rect l="l" t="t" r="r" b="b"/>
              <a:pathLst>
                <a:path w="292" h="1091" fill="none" extrusionOk="0">
                  <a:moveTo>
                    <a:pt x="255" y="0"/>
                  </a:moveTo>
                  <a:lnTo>
                    <a:pt x="255" y="0"/>
                  </a:lnTo>
                  <a:lnTo>
                    <a:pt x="0" y="1091"/>
                  </a:lnTo>
                  <a:lnTo>
                    <a:pt x="0" y="1091"/>
                  </a:lnTo>
                  <a:lnTo>
                    <a:pt x="291" y="0"/>
                  </a:lnTo>
                  <a:lnTo>
                    <a:pt x="291" y="0"/>
                  </a:lnTo>
                  <a:lnTo>
                    <a:pt x="255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8" name="Google Shape;2657;p11">
              <a:extLst>
                <a:ext uri="{FF2B5EF4-FFF2-40B4-BE49-F238E27FC236}">
                  <a16:creationId xmlns:a16="http://schemas.microsoft.com/office/drawing/2014/main" id="{7C272C81-52B6-5630-4B21-241DBBB8C545}"/>
                </a:ext>
              </a:extLst>
            </p:cNvPr>
            <p:cNvSpPr/>
            <p:nvPr/>
          </p:nvSpPr>
          <p:spPr>
            <a:xfrm>
              <a:off x="635200" y="4503025"/>
              <a:ext cx="199000" cy="60000"/>
            </a:xfrm>
            <a:custGeom>
              <a:avLst/>
              <a:gdLst/>
              <a:ahLst/>
              <a:cxnLst/>
              <a:rect l="l" t="t" r="r" b="b"/>
              <a:pathLst>
                <a:path w="7960" h="2400" extrusionOk="0">
                  <a:moveTo>
                    <a:pt x="36" y="1"/>
                  </a:moveTo>
                  <a:lnTo>
                    <a:pt x="0" y="1309"/>
                  </a:lnTo>
                  <a:lnTo>
                    <a:pt x="473" y="1491"/>
                  </a:lnTo>
                  <a:lnTo>
                    <a:pt x="945" y="1636"/>
                  </a:lnTo>
                  <a:lnTo>
                    <a:pt x="1454" y="1745"/>
                  </a:lnTo>
                  <a:lnTo>
                    <a:pt x="1963" y="1854"/>
                  </a:lnTo>
                  <a:lnTo>
                    <a:pt x="3017" y="2000"/>
                  </a:lnTo>
                  <a:lnTo>
                    <a:pt x="4071" y="2109"/>
                  </a:lnTo>
                  <a:lnTo>
                    <a:pt x="6070" y="2254"/>
                  </a:lnTo>
                  <a:lnTo>
                    <a:pt x="6942" y="2290"/>
                  </a:lnTo>
                  <a:lnTo>
                    <a:pt x="7669" y="2399"/>
                  </a:lnTo>
                  <a:lnTo>
                    <a:pt x="7705" y="2218"/>
                  </a:lnTo>
                  <a:lnTo>
                    <a:pt x="7960" y="1127"/>
                  </a:lnTo>
                  <a:lnTo>
                    <a:pt x="7051" y="1091"/>
                  </a:lnTo>
                  <a:lnTo>
                    <a:pt x="6070" y="1018"/>
                  </a:lnTo>
                  <a:lnTo>
                    <a:pt x="5052" y="909"/>
                  </a:lnTo>
                  <a:lnTo>
                    <a:pt x="3998" y="800"/>
                  </a:lnTo>
                  <a:lnTo>
                    <a:pt x="2944" y="618"/>
                  </a:lnTo>
                  <a:lnTo>
                    <a:pt x="1926" y="437"/>
                  </a:lnTo>
                  <a:lnTo>
                    <a:pt x="945" y="219"/>
                  </a:lnTo>
                  <a:lnTo>
                    <a:pt x="36" y="1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9" name="Google Shape;2658;p11">
              <a:extLst>
                <a:ext uri="{FF2B5EF4-FFF2-40B4-BE49-F238E27FC236}">
                  <a16:creationId xmlns:a16="http://schemas.microsoft.com/office/drawing/2014/main" id="{DA2D6B44-D2CD-1D8D-C3AA-1073A1BF3368}"/>
                </a:ext>
              </a:extLst>
            </p:cNvPr>
            <p:cNvSpPr/>
            <p:nvPr/>
          </p:nvSpPr>
          <p:spPr>
            <a:xfrm>
              <a:off x="635200" y="4503025"/>
              <a:ext cx="199000" cy="60000"/>
            </a:xfrm>
            <a:custGeom>
              <a:avLst/>
              <a:gdLst/>
              <a:ahLst/>
              <a:cxnLst/>
              <a:rect l="l" t="t" r="r" b="b"/>
              <a:pathLst>
                <a:path w="7960" h="2400" fill="none" extrusionOk="0">
                  <a:moveTo>
                    <a:pt x="36" y="1"/>
                  </a:moveTo>
                  <a:lnTo>
                    <a:pt x="36" y="1"/>
                  </a:lnTo>
                  <a:lnTo>
                    <a:pt x="0" y="1309"/>
                  </a:lnTo>
                  <a:lnTo>
                    <a:pt x="0" y="1309"/>
                  </a:lnTo>
                  <a:lnTo>
                    <a:pt x="473" y="1491"/>
                  </a:lnTo>
                  <a:lnTo>
                    <a:pt x="945" y="1636"/>
                  </a:lnTo>
                  <a:lnTo>
                    <a:pt x="1454" y="1745"/>
                  </a:lnTo>
                  <a:lnTo>
                    <a:pt x="1963" y="1854"/>
                  </a:lnTo>
                  <a:lnTo>
                    <a:pt x="3017" y="2000"/>
                  </a:lnTo>
                  <a:lnTo>
                    <a:pt x="4071" y="2109"/>
                  </a:lnTo>
                  <a:lnTo>
                    <a:pt x="6070" y="2254"/>
                  </a:lnTo>
                  <a:lnTo>
                    <a:pt x="6942" y="2290"/>
                  </a:lnTo>
                  <a:lnTo>
                    <a:pt x="7669" y="2399"/>
                  </a:lnTo>
                  <a:lnTo>
                    <a:pt x="7669" y="2399"/>
                  </a:lnTo>
                  <a:lnTo>
                    <a:pt x="7705" y="2218"/>
                  </a:lnTo>
                  <a:lnTo>
                    <a:pt x="7705" y="2218"/>
                  </a:lnTo>
                  <a:lnTo>
                    <a:pt x="7960" y="1127"/>
                  </a:lnTo>
                  <a:lnTo>
                    <a:pt x="7960" y="1127"/>
                  </a:lnTo>
                  <a:lnTo>
                    <a:pt x="7051" y="1091"/>
                  </a:lnTo>
                  <a:lnTo>
                    <a:pt x="6070" y="1018"/>
                  </a:lnTo>
                  <a:lnTo>
                    <a:pt x="5052" y="909"/>
                  </a:lnTo>
                  <a:lnTo>
                    <a:pt x="3998" y="800"/>
                  </a:lnTo>
                  <a:lnTo>
                    <a:pt x="2944" y="618"/>
                  </a:lnTo>
                  <a:lnTo>
                    <a:pt x="1926" y="437"/>
                  </a:lnTo>
                  <a:lnTo>
                    <a:pt x="945" y="219"/>
                  </a:lnTo>
                  <a:lnTo>
                    <a:pt x="3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0" name="Google Shape;2659;p11">
              <a:extLst>
                <a:ext uri="{FF2B5EF4-FFF2-40B4-BE49-F238E27FC236}">
                  <a16:creationId xmlns:a16="http://schemas.microsoft.com/office/drawing/2014/main" id="{ECC0184A-B524-5668-DFA2-B7088FA41094}"/>
                </a:ext>
              </a:extLst>
            </p:cNvPr>
            <p:cNvSpPr/>
            <p:nvPr/>
          </p:nvSpPr>
          <p:spPr>
            <a:xfrm>
              <a:off x="936850" y="4508475"/>
              <a:ext cx="6400" cy="41825"/>
            </a:xfrm>
            <a:custGeom>
              <a:avLst/>
              <a:gdLst/>
              <a:ahLst/>
              <a:cxnLst/>
              <a:rect l="l" t="t" r="r" b="b"/>
              <a:pathLst>
                <a:path w="256" h="1673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255" y="1673"/>
                  </a:lnTo>
                  <a:lnTo>
                    <a:pt x="255" y="167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1" name="Google Shape;2660;p11">
              <a:extLst>
                <a:ext uri="{FF2B5EF4-FFF2-40B4-BE49-F238E27FC236}">
                  <a16:creationId xmlns:a16="http://schemas.microsoft.com/office/drawing/2014/main" id="{B4018194-930D-DAC0-F64A-3D3147B9ECEA}"/>
                </a:ext>
              </a:extLst>
            </p:cNvPr>
            <p:cNvSpPr/>
            <p:nvPr/>
          </p:nvSpPr>
          <p:spPr>
            <a:xfrm>
              <a:off x="936850" y="4508475"/>
              <a:ext cx="6400" cy="41825"/>
            </a:xfrm>
            <a:custGeom>
              <a:avLst/>
              <a:gdLst/>
              <a:ahLst/>
              <a:cxnLst/>
              <a:rect l="l" t="t" r="r" b="b"/>
              <a:pathLst>
                <a:path w="256" h="1673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255" y="1673"/>
                  </a:lnTo>
                  <a:lnTo>
                    <a:pt x="255" y="1673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2" name="Google Shape;2661;p11">
              <a:extLst>
                <a:ext uri="{FF2B5EF4-FFF2-40B4-BE49-F238E27FC236}">
                  <a16:creationId xmlns:a16="http://schemas.microsoft.com/office/drawing/2014/main" id="{055C6257-7599-9D36-3FAC-1753D3CE8B88}"/>
                </a:ext>
              </a:extLst>
            </p:cNvPr>
            <p:cNvSpPr/>
            <p:nvPr/>
          </p:nvSpPr>
          <p:spPr>
            <a:xfrm>
              <a:off x="936850" y="4482125"/>
              <a:ext cx="188125" cy="70900"/>
            </a:xfrm>
            <a:custGeom>
              <a:avLst/>
              <a:gdLst/>
              <a:ahLst/>
              <a:cxnLst/>
              <a:rect l="l" t="t" r="r" b="b"/>
              <a:pathLst>
                <a:path w="7525" h="2836" extrusionOk="0">
                  <a:moveTo>
                    <a:pt x="4326" y="1"/>
                  </a:moveTo>
                  <a:lnTo>
                    <a:pt x="3708" y="37"/>
                  </a:lnTo>
                  <a:lnTo>
                    <a:pt x="3090" y="110"/>
                  </a:lnTo>
                  <a:lnTo>
                    <a:pt x="2509" y="219"/>
                  </a:lnTo>
                  <a:lnTo>
                    <a:pt x="1964" y="328"/>
                  </a:lnTo>
                  <a:lnTo>
                    <a:pt x="1418" y="509"/>
                  </a:lnTo>
                  <a:lnTo>
                    <a:pt x="946" y="691"/>
                  </a:lnTo>
                  <a:lnTo>
                    <a:pt x="1" y="1055"/>
                  </a:lnTo>
                  <a:lnTo>
                    <a:pt x="255" y="2727"/>
                  </a:lnTo>
                  <a:lnTo>
                    <a:pt x="292" y="2836"/>
                  </a:lnTo>
                  <a:lnTo>
                    <a:pt x="655" y="2690"/>
                  </a:lnTo>
                  <a:lnTo>
                    <a:pt x="1019" y="2581"/>
                  </a:lnTo>
                  <a:lnTo>
                    <a:pt x="1818" y="2436"/>
                  </a:lnTo>
                  <a:lnTo>
                    <a:pt x="2618" y="2327"/>
                  </a:lnTo>
                  <a:lnTo>
                    <a:pt x="3490" y="2327"/>
                  </a:lnTo>
                  <a:lnTo>
                    <a:pt x="4544" y="2363"/>
                  </a:lnTo>
                  <a:lnTo>
                    <a:pt x="5562" y="2436"/>
                  </a:lnTo>
                  <a:lnTo>
                    <a:pt x="6579" y="2581"/>
                  </a:lnTo>
                  <a:lnTo>
                    <a:pt x="7524" y="2690"/>
                  </a:lnTo>
                  <a:lnTo>
                    <a:pt x="7343" y="509"/>
                  </a:lnTo>
                  <a:lnTo>
                    <a:pt x="6507" y="255"/>
                  </a:lnTo>
                  <a:lnTo>
                    <a:pt x="5743" y="110"/>
                  </a:lnTo>
                  <a:lnTo>
                    <a:pt x="5017" y="37"/>
                  </a:lnTo>
                  <a:lnTo>
                    <a:pt x="4326" y="1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3" name="Google Shape;2662;p11">
              <a:extLst>
                <a:ext uri="{FF2B5EF4-FFF2-40B4-BE49-F238E27FC236}">
                  <a16:creationId xmlns:a16="http://schemas.microsoft.com/office/drawing/2014/main" id="{9C7A20A7-9397-DA58-7083-C565B1983690}"/>
                </a:ext>
              </a:extLst>
            </p:cNvPr>
            <p:cNvSpPr/>
            <p:nvPr/>
          </p:nvSpPr>
          <p:spPr>
            <a:xfrm>
              <a:off x="936850" y="4482125"/>
              <a:ext cx="188125" cy="70900"/>
            </a:xfrm>
            <a:custGeom>
              <a:avLst/>
              <a:gdLst/>
              <a:ahLst/>
              <a:cxnLst/>
              <a:rect l="l" t="t" r="r" b="b"/>
              <a:pathLst>
                <a:path w="7525" h="2836" fill="none" extrusionOk="0">
                  <a:moveTo>
                    <a:pt x="4326" y="1"/>
                  </a:moveTo>
                  <a:lnTo>
                    <a:pt x="4326" y="1"/>
                  </a:lnTo>
                  <a:lnTo>
                    <a:pt x="3708" y="37"/>
                  </a:lnTo>
                  <a:lnTo>
                    <a:pt x="3090" y="110"/>
                  </a:lnTo>
                  <a:lnTo>
                    <a:pt x="2509" y="219"/>
                  </a:lnTo>
                  <a:lnTo>
                    <a:pt x="1964" y="328"/>
                  </a:lnTo>
                  <a:lnTo>
                    <a:pt x="1418" y="509"/>
                  </a:lnTo>
                  <a:lnTo>
                    <a:pt x="946" y="691"/>
                  </a:lnTo>
                  <a:lnTo>
                    <a:pt x="1" y="1055"/>
                  </a:lnTo>
                  <a:lnTo>
                    <a:pt x="1" y="1055"/>
                  </a:lnTo>
                  <a:lnTo>
                    <a:pt x="255" y="2727"/>
                  </a:lnTo>
                  <a:lnTo>
                    <a:pt x="255" y="2727"/>
                  </a:lnTo>
                  <a:lnTo>
                    <a:pt x="292" y="2836"/>
                  </a:lnTo>
                  <a:lnTo>
                    <a:pt x="292" y="2836"/>
                  </a:lnTo>
                  <a:lnTo>
                    <a:pt x="655" y="2690"/>
                  </a:lnTo>
                  <a:lnTo>
                    <a:pt x="1019" y="2581"/>
                  </a:lnTo>
                  <a:lnTo>
                    <a:pt x="1818" y="2436"/>
                  </a:lnTo>
                  <a:lnTo>
                    <a:pt x="2618" y="2327"/>
                  </a:lnTo>
                  <a:lnTo>
                    <a:pt x="3490" y="2327"/>
                  </a:lnTo>
                  <a:lnTo>
                    <a:pt x="3490" y="2327"/>
                  </a:lnTo>
                  <a:lnTo>
                    <a:pt x="4544" y="2363"/>
                  </a:lnTo>
                  <a:lnTo>
                    <a:pt x="5562" y="2436"/>
                  </a:lnTo>
                  <a:lnTo>
                    <a:pt x="6579" y="2581"/>
                  </a:lnTo>
                  <a:lnTo>
                    <a:pt x="7524" y="2690"/>
                  </a:lnTo>
                  <a:lnTo>
                    <a:pt x="7524" y="2690"/>
                  </a:lnTo>
                  <a:lnTo>
                    <a:pt x="7343" y="509"/>
                  </a:lnTo>
                  <a:lnTo>
                    <a:pt x="7343" y="509"/>
                  </a:lnTo>
                  <a:lnTo>
                    <a:pt x="6507" y="255"/>
                  </a:lnTo>
                  <a:lnTo>
                    <a:pt x="5743" y="110"/>
                  </a:lnTo>
                  <a:lnTo>
                    <a:pt x="5017" y="37"/>
                  </a:lnTo>
                  <a:lnTo>
                    <a:pt x="4326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4" name="Google Shape;2663;p11">
              <a:extLst>
                <a:ext uri="{FF2B5EF4-FFF2-40B4-BE49-F238E27FC236}">
                  <a16:creationId xmlns:a16="http://schemas.microsoft.com/office/drawing/2014/main" id="{BA0D8E0A-CD7B-FE5A-32A5-BCF65F410A9B}"/>
                </a:ext>
              </a:extLst>
            </p:cNvPr>
            <p:cNvSpPr/>
            <p:nvPr/>
          </p:nvSpPr>
          <p:spPr>
            <a:xfrm>
              <a:off x="277175" y="3420825"/>
              <a:ext cx="932300" cy="1110400"/>
            </a:xfrm>
            <a:custGeom>
              <a:avLst/>
              <a:gdLst/>
              <a:ahLst/>
              <a:cxnLst/>
              <a:rect l="l" t="t" r="r" b="b"/>
              <a:pathLst>
                <a:path w="37292" h="44416" extrusionOk="0">
                  <a:moveTo>
                    <a:pt x="21590" y="1"/>
                  </a:moveTo>
                  <a:lnTo>
                    <a:pt x="20972" y="37"/>
                  </a:lnTo>
                  <a:lnTo>
                    <a:pt x="20318" y="110"/>
                  </a:lnTo>
                  <a:lnTo>
                    <a:pt x="19700" y="183"/>
                  </a:lnTo>
                  <a:lnTo>
                    <a:pt x="19082" y="328"/>
                  </a:lnTo>
                  <a:lnTo>
                    <a:pt x="18428" y="510"/>
                  </a:lnTo>
                  <a:lnTo>
                    <a:pt x="17810" y="691"/>
                  </a:lnTo>
                  <a:lnTo>
                    <a:pt x="17192" y="946"/>
                  </a:lnTo>
                  <a:lnTo>
                    <a:pt x="16575" y="1237"/>
                  </a:lnTo>
                  <a:lnTo>
                    <a:pt x="15739" y="1709"/>
                  </a:lnTo>
                  <a:lnTo>
                    <a:pt x="14939" y="2291"/>
                  </a:lnTo>
                  <a:lnTo>
                    <a:pt x="14539" y="2581"/>
                  </a:lnTo>
                  <a:lnTo>
                    <a:pt x="14139" y="2909"/>
                  </a:lnTo>
                  <a:lnTo>
                    <a:pt x="13740" y="3272"/>
                  </a:lnTo>
                  <a:lnTo>
                    <a:pt x="13376" y="3672"/>
                  </a:lnTo>
                  <a:lnTo>
                    <a:pt x="13303" y="3744"/>
                  </a:lnTo>
                  <a:lnTo>
                    <a:pt x="12722" y="4762"/>
                  </a:lnTo>
                  <a:lnTo>
                    <a:pt x="12177" y="5780"/>
                  </a:lnTo>
                  <a:lnTo>
                    <a:pt x="11704" y="6797"/>
                  </a:lnTo>
                  <a:lnTo>
                    <a:pt x="11304" y="7852"/>
                  </a:lnTo>
                  <a:lnTo>
                    <a:pt x="10905" y="8869"/>
                  </a:lnTo>
                  <a:lnTo>
                    <a:pt x="10577" y="9923"/>
                  </a:lnTo>
                  <a:lnTo>
                    <a:pt x="10287" y="10977"/>
                  </a:lnTo>
                  <a:lnTo>
                    <a:pt x="10032" y="12031"/>
                  </a:lnTo>
                  <a:lnTo>
                    <a:pt x="9814" y="13085"/>
                  </a:lnTo>
                  <a:lnTo>
                    <a:pt x="9632" y="14139"/>
                  </a:lnTo>
                  <a:lnTo>
                    <a:pt x="9269" y="16320"/>
                  </a:lnTo>
                  <a:lnTo>
                    <a:pt x="8942" y="18501"/>
                  </a:lnTo>
                  <a:lnTo>
                    <a:pt x="8578" y="20718"/>
                  </a:lnTo>
                  <a:lnTo>
                    <a:pt x="8179" y="23008"/>
                  </a:lnTo>
                  <a:lnTo>
                    <a:pt x="7924" y="24171"/>
                  </a:lnTo>
                  <a:lnTo>
                    <a:pt x="7670" y="25334"/>
                  </a:lnTo>
                  <a:lnTo>
                    <a:pt x="7343" y="26497"/>
                  </a:lnTo>
                  <a:lnTo>
                    <a:pt x="7016" y="27696"/>
                  </a:lnTo>
                  <a:lnTo>
                    <a:pt x="6616" y="28896"/>
                  </a:lnTo>
                  <a:lnTo>
                    <a:pt x="6143" y="30095"/>
                  </a:lnTo>
                  <a:lnTo>
                    <a:pt x="5634" y="31331"/>
                  </a:lnTo>
                  <a:lnTo>
                    <a:pt x="5053" y="32567"/>
                  </a:lnTo>
                  <a:lnTo>
                    <a:pt x="4435" y="33839"/>
                  </a:lnTo>
                  <a:lnTo>
                    <a:pt x="3708" y="35111"/>
                  </a:lnTo>
                  <a:lnTo>
                    <a:pt x="2909" y="36383"/>
                  </a:lnTo>
                  <a:lnTo>
                    <a:pt x="2036" y="37691"/>
                  </a:lnTo>
                  <a:lnTo>
                    <a:pt x="1055" y="39036"/>
                  </a:lnTo>
                  <a:lnTo>
                    <a:pt x="1" y="40345"/>
                  </a:lnTo>
                  <a:lnTo>
                    <a:pt x="255" y="40635"/>
                  </a:lnTo>
                  <a:lnTo>
                    <a:pt x="546" y="40890"/>
                  </a:lnTo>
                  <a:lnTo>
                    <a:pt x="873" y="41071"/>
                  </a:lnTo>
                  <a:lnTo>
                    <a:pt x="1200" y="41253"/>
                  </a:lnTo>
                  <a:lnTo>
                    <a:pt x="1600" y="41399"/>
                  </a:lnTo>
                  <a:lnTo>
                    <a:pt x="2000" y="41544"/>
                  </a:lnTo>
                  <a:lnTo>
                    <a:pt x="2436" y="41617"/>
                  </a:lnTo>
                  <a:lnTo>
                    <a:pt x="2872" y="41726"/>
                  </a:lnTo>
                  <a:lnTo>
                    <a:pt x="3817" y="41835"/>
                  </a:lnTo>
                  <a:lnTo>
                    <a:pt x="4799" y="41871"/>
                  </a:lnTo>
                  <a:lnTo>
                    <a:pt x="8906" y="41871"/>
                  </a:lnTo>
                  <a:lnTo>
                    <a:pt x="9560" y="41907"/>
                  </a:lnTo>
                  <a:lnTo>
                    <a:pt x="10178" y="41980"/>
                  </a:lnTo>
                  <a:lnTo>
                    <a:pt x="10723" y="42089"/>
                  </a:lnTo>
                  <a:lnTo>
                    <a:pt x="11232" y="42235"/>
                  </a:lnTo>
                  <a:lnTo>
                    <a:pt x="11668" y="42416"/>
                  </a:lnTo>
                  <a:lnTo>
                    <a:pt x="12031" y="42598"/>
                  </a:lnTo>
                  <a:lnTo>
                    <a:pt x="12504" y="42780"/>
                  </a:lnTo>
                  <a:lnTo>
                    <a:pt x="13049" y="42961"/>
                  </a:lnTo>
                  <a:lnTo>
                    <a:pt x="13703" y="43143"/>
                  </a:lnTo>
                  <a:lnTo>
                    <a:pt x="14975" y="43434"/>
                  </a:lnTo>
                  <a:lnTo>
                    <a:pt x="16393" y="43761"/>
                  </a:lnTo>
                  <a:lnTo>
                    <a:pt x="17883" y="44015"/>
                  </a:lnTo>
                  <a:lnTo>
                    <a:pt x="19409" y="44234"/>
                  </a:lnTo>
                  <a:lnTo>
                    <a:pt x="20900" y="44379"/>
                  </a:lnTo>
                  <a:lnTo>
                    <a:pt x="22281" y="44415"/>
                  </a:lnTo>
                  <a:lnTo>
                    <a:pt x="22899" y="44415"/>
                  </a:lnTo>
                  <a:lnTo>
                    <a:pt x="23480" y="44379"/>
                  </a:lnTo>
                  <a:lnTo>
                    <a:pt x="23989" y="44306"/>
                  </a:lnTo>
                  <a:lnTo>
                    <a:pt x="24425" y="44234"/>
                  </a:lnTo>
                  <a:lnTo>
                    <a:pt x="24970" y="44052"/>
                  </a:lnTo>
                  <a:lnTo>
                    <a:pt x="25516" y="43870"/>
                  </a:lnTo>
                  <a:lnTo>
                    <a:pt x="26642" y="43398"/>
                  </a:lnTo>
                  <a:lnTo>
                    <a:pt x="27224" y="43180"/>
                  </a:lnTo>
                  <a:lnTo>
                    <a:pt x="27842" y="42961"/>
                  </a:lnTo>
                  <a:lnTo>
                    <a:pt x="28496" y="42743"/>
                  </a:lnTo>
                  <a:lnTo>
                    <a:pt x="29186" y="42598"/>
                  </a:lnTo>
                  <a:lnTo>
                    <a:pt x="29913" y="42489"/>
                  </a:lnTo>
                  <a:lnTo>
                    <a:pt x="30713" y="42453"/>
                  </a:lnTo>
                  <a:lnTo>
                    <a:pt x="31549" y="42489"/>
                  </a:lnTo>
                  <a:lnTo>
                    <a:pt x="32021" y="42562"/>
                  </a:lnTo>
                  <a:lnTo>
                    <a:pt x="32494" y="42634"/>
                  </a:lnTo>
                  <a:lnTo>
                    <a:pt x="32966" y="42743"/>
                  </a:lnTo>
                  <a:lnTo>
                    <a:pt x="33475" y="42852"/>
                  </a:lnTo>
                  <a:lnTo>
                    <a:pt x="33984" y="43034"/>
                  </a:lnTo>
                  <a:lnTo>
                    <a:pt x="34529" y="43216"/>
                  </a:lnTo>
                  <a:lnTo>
                    <a:pt x="35074" y="43434"/>
                  </a:lnTo>
                  <a:lnTo>
                    <a:pt x="35656" y="43688"/>
                  </a:lnTo>
                  <a:lnTo>
                    <a:pt x="36274" y="43979"/>
                  </a:lnTo>
                  <a:lnTo>
                    <a:pt x="36892" y="44306"/>
                  </a:lnTo>
                  <a:lnTo>
                    <a:pt x="37037" y="43652"/>
                  </a:lnTo>
                  <a:lnTo>
                    <a:pt x="37146" y="42889"/>
                  </a:lnTo>
                  <a:lnTo>
                    <a:pt x="37219" y="42016"/>
                  </a:lnTo>
                  <a:lnTo>
                    <a:pt x="37292" y="41071"/>
                  </a:lnTo>
                  <a:lnTo>
                    <a:pt x="37292" y="39981"/>
                  </a:lnTo>
                  <a:lnTo>
                    <a:pt x="37292" y="38818"/>
                  </a:lnTo>
                  <a:lnTo>
                    <a:pt x="37255" y="37582"/>
                  </a:lnTo>
                  <a:lnTo>
                    <a:pt x="37183" y="36274"/>
                  </a:lnTo>
                  <a:lnTo>
                    <a:pt x="36964" y="33475"/>
                  </a:lnTo>
                  <a:lnTo>
                    <a:pt x="36674" y="30495"/>
                  </a:lnTo>
                  <a:lnTo>
                    <a:pt x="36310" y="27369"/>
                  </a:lnTo>
                  <a:lnTo>
                    <a:pt x="35874" y="24171"/>
                  </a:lnTo>
                  <a:lnTo>
                    <a:pt x="35402" y="20972"/>
                  </a:lnTo>
                  <a:lnTo>
                    <a:pt x="34856" y="17810"/>
                  </a:lnTo>
                  <a:lnTo>
                    <a:pt x="34275" y="14757"/>
                  </a:lnTo>
                  <a:lnTo>
                    <a:pt x="33693" y="11886"/>
                  </a:lnTo>
                  <a:lnTo>
                    <a:pt x="33075" y="9233"/>
                  </a:lnTo>
                  <a:lnTo>
                    <a:pt x="32458" y="6907"/>
                  </a:lnTo>
                  <a:lnTo>
                    <a:pt x="32167" y="5853"/>
                  </a:lnTo>
                  <a:lnTo>
                    <a:pt x="31840" y="4908"/>
                  </a:lnTo>
                  <a:lnTo>
                    <a:pt x="31549" y="4035"/>
                  </a:lnTo>
                  <a:lnTo>
                    <a:pt x="31258" y="3308"/>
                  </a:lnTo>
                  <a:lnTo>
                    <a:pt x="31004" y="2799"/>
                  </a:lnTo>
                  <a:lnTo>
                    <a:pt x="30786" y="2327"/>
                  </a:lnTo>
                  <a:lnTo>
                    <a:pt x="30422" y="2145"/>
                  </a:lnTo>
                  <a:lnTo>
                    <a:pt x="29477" y="1709"/>
                  </a:lnTo>
                  <a:lnTo>
                    <a:pt x="28823" y="1418"/>
                  </a:lnTo>
                  <a:lnTo>
                    <a:pt x="28023" y="1091"/>
                  </a:lnTo>
                  <a:lnTo>
                    <a:pt x="27115" y="800"/>
                  </a:lnTo>
                  <a:lnTo>
                    <a:pt x="26133" y="510"/>
                  </a:lnTo>
                  <a:lnTo>
                    <a:pt x="25079" y="292"/>
                  </a:lnTo>
                  <a:lnTo>
                    <a:pt x="23953" y="110"/>
                  </a:lnTo>
                  <a:lnTo>
                    <a:pt x="23371" y="37"/>
                  </a:lnTo>
                  <a:lnTo>
                    <a:pt x="22790" y="1"/>
                  </a:ln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5" name="Google Shape;2664;p11">
              <a:extLst>
                <a:ext uri="{FF2B5EF4-FFF2-40B4-BE49-F238E27FC236}">
                  <a16:creationId xmlns:a16="http://schemas.microsoft.com/office/drawing/2014/main" id="{C59F10F1-AC07-4538-0982-1BD3CBF421EC}"/>
                </a:ext>
              </a:extLst>
            </p:cNvPr>
            <p:cNvSpPr/>
            <p:nvPr/>
          </p:nvSpPr>
          <p:spPr>
            <a:xfrm>
              <a:off x="277175" y="3420825"/>
              <a:ext cx="932300" cy="1110400"/>
            </a:xfrm>
            <a:custGeom>
              <a:avLst/>
              <a:gdLst/>
              <a:ahLst/>
              <a:cxnLst/>
              <a:rect l="l" t="t" r="r" b="b"/>
              <a:pathLst>
                <a:path w="37292" h="44416" fill="none" extrusionOk="0">
                  <a:moveTo>
                    <a:pt x="1" y="40345"/>
                  </a:moveTo>
                  <a:lnTo>
                    <a:pt x="1" y="40345"/>
                  </a:lnTo>
                  <a:lnTo>
                    <a:pt x="255" y="40635"/>
                  </a:lnTo>
                  <a:lnTo>
                    <a:pt x="546" y="40890"/>
                  </a:lnTo>
                  <a:lnTo>
                    <a:pt x="873" y="41071"/>
                  </a:lnTo>
                  <a:lnTo>
                    <a:pt x="1200" y="41253"/>
                  </a:lnTo>
                  <a:lnTo>
                    <a:pt x="1600" y="41399"/>
                  </a:lnTo>
                  <a:lnTo>
                    <a:pt x="2000" y="41544"/>
                  </a:lnTo>
                  <a:lnTo>
                    <a:pt x="2436" y="41617"/>
                  </a:lnTo>
                  <a:lnTo>
                    <a:pt x="2872" y="41726"/>
                  </a:lnTo>
                  <a:lnTo>
                    <a:pt x="3817" y="41835"/>
                  </a:lnTo>
                  <a:lnTo>
                    <a:pt x="4799" y="41871"/>
                  </a:lnTo>
                  <a:lnTo>
                    <a:pt x="5816" y="41871"/>
                  </a:lnTo>
                  <a:lnTo>
                    <a:pt x="6798" y="41871"/>
                  </a:lnTo>
                  <a:lnTo>
                    <a:pt x="6798" y="41871"/>
                  </a:lnTo>
                  <a:lnTo>
                    <a:pt x="8215" y="41871"/>
                  </a:lnTo>
                  <a:lnTo>
                    <a:pt x="8906" y="41871"/>
                  </a:lnTo>
                  <a:lnTo>
                    <a:pt x="9560" y="41907"/>
                  </a:lnTo>
                  <a:lnTo>
                    <a:pt x="10178" y="41980"/>
                  </a:lnTo>
                  <a:lnTo>
                    <a:pt x="10723" y="42089"/>
                  </a:lnTo>
                  <a:lnTo>
                    <a:pt x="11232" y="42235"/>
                  </a:lnTo>
                  <a:lnTo>
                    <a:pt x="11668" y="42416"/>
                  </a:lnTo>
                  <a:lnTo>
                    <a:pt x="11668" y="42416"/>
                  </a:lnTo>
                  <a:lnTo>
                    <a:pt x="12031" y="42598"/>
                  </a:lnTo>
                  <a:lnTo>
                    <a:pt x="12504" y="42780"/>
                  </a:lnTo>
                  <a:lnTo>
                    <a:pt x="13049" y="42961"/>
                  </a:lnTo>
                  <a:lnTo>
                    <a:pt x="13703" y="43143"/>
                  </a:lnTo>
                  <a:lnTo>
                    <a:pt x="13703" y="43143"/>
                  </a:lnTo>
                  <a:lnTo>
                    <a:pt x="14975" y="43434"/>
                  </a:lnTo>
                  <a:lnTo>
                    <a:pt x="16393" y="43761"/>
                  </a:lnTo>
                  <a:lnTo>
                    <a:pt x="17883" y="44015"/>
                  </a:lnTo>
                  <a:lnTo>
                    <a:pt x="19409" y="44234"/>
                  </a:lnTo>
                  <a:lnTo>
                    <a:pt x="20900" y="44379"/>
                  </a:lnTo>
                  <a:lnTo>
                    <a:pt x="22281" y="44415"/>
                  </a:lnTo>
                  <a:lnTo>
                    <a:pt x="22899" y="44415"/>
                  </a:lnTo>
                  <a:lnTo>
                    <a:pt x="23480" y="44379"/>
                  </a:lnTo>
                  <a:lnTo>
                    <a:pt x="23989" y="44306"/>
                  </a:lnTo>
                  <a:lnTo>
                    <a:pt x="24425" y="44234"/>
                  </a:lnTo>
                  <a:lnTo>
                    <a:pt x="24425" y="44234"/>
                  </a:lnTo>
                  <a:lnTo>
                    <a:pt x="24970" y="44052"/>
                  </a:lnTo>
                  <a:lnTo>
                    <a:pt x="25516" y="43870"/>
                  </a:lnTo>
                  <a:lnTo>
                    <a:pt x="26642" y="43398"/>
                  </a:lnTo>
                  <a:lnTo>
                    <a:pt x="27224" y="43180"/>
                  </a:lnTo>
                  <a:lnTo>
                    <a:pt x="27842" y="42961"/>
                  </a:lnTo>
                  <a:lnTo>
                    <a:pt x="28496" y="42743"/>
                  </a:lnTo>
                  <a:lnTo>
                    <a:pt x="29186" y="42598"/>
                  </a:lnTo>
                  <a:lnTo>
                    <a:pt x="29913" y="42489"/>
                  </a:lnTo>
                  <a:lnTo>
                    <a:pt x="30713" y="42453"/>
                  </a:lnTo>
                  <a:lnTo>
                    <a:pt x="31549" y="42489"/>
                  </a:lnTo>
                  <a:lnTo>
                    <a:pt x="32021" y="42562"/>
                  </a:lnTo>
                  <a:lnTo>
                    <a:pt x="32494" y="42634"/>
                  </a:lnTo>
                  <a:lnTo>
                    <a:pt x="32966" y="42743"/>
                  </a:lnTo>
                  <a:lnTo>
                    <a:pt x="33475" y="42852"/>
                  </a:lnTo>
                  <a:lnTo>
                    <a:pt x="33984" y="43034"/>
                  </a:lnTo>
                  <a:lnTo>
                    <a:pt x="34529" y="43216"/>
                  </a:lnTo>
                  <a:lnTo>
                    <a:pt x="35074" y="43434"/>
                  </a:lnTo>
                  <a:lnTo>
                    <a:pt x="35656" y="43688"/>
                  </a:lnTo>
                  <a:lnTo>
                    <a:pt x="36274" y="43979"/>
                  </a:lnTo>
                  <a:lnTo>
                    <a:pt x="36892" y="44306"/>
                  </a:lnTo>
                  <a:lnTo>
                    <a:pt x="36892" y="44306"/>
                  </a:lnTo>
                  <a:lnTo>
                    <a:pt x="37037" y="43652"/>
                  </a:lnTo>
                  <a:lnTo>
                    <a:pt x="37146" y="42889"/>
                  </a:lnTo>
                  <a:lnTo>
                    <a:pt x="37219" y="42016"/>
                  </a:lnTo>
                  <a:lnTo>
                    <a:pt x="37292" y="41071"/>
                  </a:lnTo>
                  <a:lnTo>
                    <a:pt x="37292" y="39981"/>
                  </a:lnTo>
                  <a:lnTo>
                    <a:pt x="37292" y="38818"/>
                  </a:lnTo>
                  <a:lnTo>
                    <a:pt x="37255" y="37582"/>
                  </a:lnTo>
                  <a:lnTo>
                    <a:pt x="37183" y="36274"/>
                  </a:lnTo>
                  <a:lnTo>
                    <a:pt x="36964" y="33475"/>
                  </a:lnTo>
                  <a:lnTo>
                    <a:pt x="36674" y="30495"/>
                  </a:lnTo>
                  <a:lnTo>
                    <a:pt x="36310" y="27369"/>
                  </a:lnTo>
                  <a:lnTo>
                    <a:pt x="35874" y="24171"/>
                  </a:lnTo>
                  <a:lnTo>
                    <a:pt x="35402" y="20972"/>
                  </a:lnTo>
                  <a:lnTo>
                    <a:pt x="34856" y="17810"/>
                  </a:lnTo>
                  <a:lnTo>
                    <a:pt x="34275" y="14757"/>
                  </a:lnTo>
                  <a:lnTo>
                    <a:pt x="33693" y="11886"/>
                  </a:lnTo>
                  <a:lnTo>
                    <a:pt x="33075" y="9233"/>
                  </a:lnTo>
                  <a:lnTo>
                    <a:pt x="32458" y="6907"/>
                  </a:lnTo>
                  <a:lnTo>
                    <a:pt x="32167" y="5853"/>
                  </a:lnTo>
                  <a:lnTo>
                    <a:pt x="31840" y="4908"/>
                  </a:lnTo>
                  <a:lnTo>
                    <a:pt x="31549" y="4035"/>
                  </a:lnTo>
                  <a:lnTo>
                    <a:pt x="31258" y="3308"/>
                  </a:lnTo>
                  <a:lnTo>
                    <a:pt x="31258" y="3308"/>
                  </a:lnTo>
                  <a:lnTo>
                    <a:pt x="31258" y="3308"/>
                  </a:lnTo>
                  <a:lnTo>
                    <a:pt x="31004" y="2799"/>
                  </a:lnTo>
                  <a:lnTo>
                    <a:pt x="30786" y="2327"/>
                  </a:lnTo>
                  <a:lnTo>
                    <a:pt x="30786" y="2327"/>
                  </a:lnTo>
                  <a:lnTo>
                    <a:pt x="30422" y="2145"/>
                  </a:lnTo>
                  <a:lnTo>
                    <a:pt x="29477" y="1709"/>
                  </a:lnTo>
                  <a:lnTo>
                    <a:pt x="28823" y="1418"/>
                  </a:lnTo>
                  <a:lnTo>
                    <a:pt x="28023" y="1091"/>
                  </a:lnTo>
                  <a:lnTo>
                    <a:pt x="27115" y="800"/>
                  </a:lnTo>
                  <a:lnTo>
                    <a:pt x="26133" y="510"/>
                  </a:lnTo>
                  <a:lnTo>
                    <a:pt x="25079" y="292"/>
                  </a:lnTo>
                  <a:lnTo>
                    <a:pt x="23953" y="110"/>
                  </a:lnTo>
                  <a:lnTo>
                    <a:pt x="23371" y="37"/>
                  </a:lnTo>
                  <a:lnTo>
                    <a:pt x="22790" y="1"/>
                  </a:lnTo>
                  <a:lnTo>
                    <a:pt x="22172" y="1"/>
                  </a:lnTo>
                  <a:lnTo>
                    <a:pt x="21590" y="1"/>
                  </a:lnTo>
                  <a:lnTo>
                    <a:pt x="20972" y="37"/>
                  </a:lnTo>
                  <a:lnTo>
                    <a:pt x="20318" y="110"/>
                  </a:lnTo>
                  <a:lnTo>
                    <a:pt x="19700" y="183"/>
                  </a:lnTo>
                  <a:lnTo>
                    <a:pt x="19082" y="328"/>
                  </a:lnTo>
                  <a:lnTo>
                    <a:pt x="18428" y="510"/>
                  </a:lnTo>
                  <a:lnTo>
                    <a:pt x="17810" y="691"/>
                  </a:lnTo>
                  <a:lnTo>
                    <a:pt x="17192" y="946"/>
                  </a:lnTo>
                  <a:lnTo>
                    <a:pt x="16575" y="1237"/>
                  </a:lnTo>
                  <a:lnTo>
                    <a:pt x="16575" y="1237"/>
                  </a:lnTo>
                  <a:lnTo>
                    <a:pt x="15739" y="1709"/>
                  </a:lnTo>
                  <a:lnTo>
                    <a:pt x="14939" y="2291"/>
                  </a:lnTo>
                  <a:lnTo>
                    <a:pt x="14539" y="2581"/>
                  </a:lnTo>
                  <a:lnTo>
                    <a:pt x="14139" y="2909"/>
                  </a:lnTo>
                  <a:lnTo>
                    <a:pt x="13740" y="3272"/>
                  </a:lnTo>
                  <a:lnTo>
                    <a:pt x="13376" y="3672"/>
                  </a:lnTo>
                  <a:lnTo>
                    <a:pt x="13376" y="3672"/>
                  </a:lnTo>
                  <a:lnTo>
                    <a:pt x="13303" y="3744"/>
                  </a:lnTo>
                  <a:lnTo>
                    <a:pt x="13303" y="3744"/>
                  </a:lnTo>
                  <a:lnTo>
                    <a:pt x="12722" y="4762"/>
                  </a:lnTo>
                  <a:lnTo>
                    <a:pt x="12177" y="5780"/>
                  </a:lnTo>
                  <a:lnTo>
                    <a:pt x="11704" y="6797"/>
                  </a:lnTo>
                  <a:lnTo>
                    <a:pt x="11304" y="7852"/>
                  </a:lnTo>
                  <a:lnTo>
                    <a:pt x="10905" y="8869"/>
                  </a:lnTo>
                  <a:lnTo>
                    <a:pt x="10577" y="9923"/>
                  </a:lnTo>
                  <a:lnTo>
                    <a:pt x="10287" y="10977"/>
                  </a:lnTo>
                  <a:lnTo>
                    <a:pt x="10032" y="12031"/>
                  </a:lnTo>
                  <a:lnTo>
                    <a:pt x="9814" y="13085"/>
                  </a:lnTo>
                  <a:lnTo>
                    <a:pt x="9632" y="14139"/>
                  </a:lnTo>
                  <a:lnTo>
                    <a:pt x="9269" y="16320"/>
                  </a:lnTo>
                  <a:lnTo>
                    <a:pt x="8942" y="18501"/>
                  </a:lnTo>
                  <a:lnTo>
                    <a:pt x="8578" y="20718"/>
                  </a:lnTo>
                  <a:lnTo>
                    <a:pt x="8179" y="23008"/>
                  </a:lnTo>
                  <a:lnTo>
                    <a:pt x="7924" y="24171"/>
                  </a:lnTo>
                  <a:lnTo>
                    <a:pt x="7670" y="25334"/>
                  </a:lnTo>
                  <a:lnTo>
                    <a:pt x="7343" y="26497"/>
                  </a:lnTo>
                  <a:lnTo>
                    <a:pt x="7016" y="27696"/>
                  </a:lnTo>
                  <a:lnTo>
                    <a:pt x="6616" y="28896"/>
                  </a:lnTo>
                  <a:lnTo>
                    <a:pt x="6143" y="30095"/>
                  </a:lnTo>
                  <a:lnTo>
                    <a:pt x="5634" y="31331"/>
                  </a:lnTo>
                  <a:lnTo>
                    <a:pt x="5053" y="32567"/>
                  </a:lnTo>
                  <a:lnTo>
                    <a:pt x="4435" y="33839"/>
                  </a:lnTo>
                  <a:lnTo>
                    <a:pt x="3708" y="35111"/>
                  </a:lnTo>
                  <a:lnTo>
                    <a:pt x="2909" y="36383"/>
                  </a:lnTo>
                  <a:lnTo>
                    <a:pt x="2036" y="37691"/>
                  </a:lnTo>
                  <a:lnTo>
                    <a:pt x="1055" y="39036"/>
                  </a:lnTo>
                  <a:lnTo>
                    <a:pt x="1" y="4034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6" name="Google Shape;2665;p11">
              <a:extLst>
                <a:ext uri="{FF2B5EF4-FFF2-40B4-BE49-F238E27FC236}">
                  <a16:creationId xmlns:a16="http://schemas.microsoft.com/office/drawing/2014/main" id="{F32AEABC-98F2-C830-F644-D119369A1D55}"/>
                </a:ext>
              </a:extLst>
            </p:cNvPr>
            <p:cNvSpPr/>
            <p:nvPr/>
          </p:nvSpPr>
          <p:spPr>
            <a:xfrm>
              <a:off x="584300" y="2670300"/>
              <a:ext cx="764200" cy="875050"/>
            </a:xfrm>
            <a:custGeom>
              <a:avLst/>
              <a:gdLst/>
              <a:ahLst/>
              <a:cxnLst/>
              <a:rect l="l" t="t" r="r" b="b"/>
              <a:pathLst>
                <a:path w="30568" h="35002" extrusionOk="0">
                  <a:moveTo>
                    <a:pt x="26933" y="0"/>
                  </a:moveTo>
                  <a:lnTo>
                    <a:pt x="26315" y="73"/>
                  </a:lnTo>
                  <a:lnTo>
                    <a:pt x="25661" y="182"/>
                  </a:lnTo>
                  <a:lnTo>
                    <a:pt x="24934" y="327"/>
                  </a:lnTo>
                  <a:lnTo>
                    <a:pt x="24207" y="509"/>
                  </a:lnTo>
                  <a:lnTo>
                    <a:pt x="23844" y="618"/>
                  </a:lnTo>
                  <a:lnTo>
                    <a:pt x="23516" y="764"/>
                  </a:lnTo>
                  <a:lnTo>
                    <a:pt x="23262" y="909"/>
                  </a:lnTo>
                  <a:lnTo>
                    <a:pt x="23044" y="1054"/>
                  </a:lnTo>
                  <a:lnTo>
                    <a:pt x="22899" y="1200"/>
                  </a:lnTo>
                  <a:lnTo>
                    <a:pt x="22862" y="1381"/>
                  </a:lnTo>
                  <a:lnTo>
                    <a:pt x="22862" y="1672"/>
                  </a:lnTo>
                  <a:lnTo>
                    <a:pt x="22971" y="2072"/>
                  </a:lnTo>
                  <a:lnTo>
                    <a:pt x="23407" y="3271"/>
                  </a:lnTo>
                  <a:lnTo>
                    <a:pt x="24025" y="4798"/>
                  </a:lnTo>
                  <a:lnTo>
                    <a:pt x="24679" y="6543"/>
                  </a:lnTo>
                  <a:lnTo>
                    <a:pt x="25007" y="7415"/>
                  </a:lnTo>
                  <a:lnTo>
                    <a:pt x="25297" y="8287"/>
                  </a:lnTo>
                  <a:lnTo>
                    <a:pt x="25552" y="9123"/>
                  </a:lnTo>
                  <a:lnTo>
                    <a:pt x="25770" y="9886"/>
                  </a:lnTo>
                  <a:lnTo>
                    <a:pt x="25915" y="10613"/>
                  </a:lnTo>
                  <a:lnTo>
                    <a:pt x="25952" y="11231"/>
                  </a:lnTo>
                  <a:lnTo>
                    <a:pt x="25952" y="11486"/>
                  </a:lnTo>
                  <a:lnTo>
                    <a:pt x="25915" y="11740"/>
                  </a:lnTo>
                  <a:lnTo>
                    <a:pt x="25879" y="11958"/>
                  </a:lnTo>
                  <a:lnTo>
                    <a:pt x="25770" y="12103"/>
                  </a:lnTo>
                  <a:lnTo>
                    <a:pt x="25661" y="12249"/>
                  </a:lnTo>
                  <a:lnTo>
                    <a:pt x="25479" y="12321"/>
                  </a:lnTo>
                  <a:lnTo>
                    <a:pt x="25261" y="12358"/>
                  </a:lnTo>
                  <a:lnTo>
                    <a:pt x="24970" y="12321"/>
                  </a:lnTo>
                  <a:lnTo>
                    <a:pt x="24679" y="12285"/>
                  </a:lnTo>
                  <a:lnTo>
                    <a:pt x="24316" y="12176"/>
                  </a:lnTo>
                  <a:lnTo>
                    <a:pt x="23516" y="11885"/>
                  </a:lnTo>
                  <a:lnTo>
                    <a:pt x="22608" y="11486"/>
                  </a:lnTo>
                  <a:lnTo>
                    <a:pt x="21626" y="10977"/>
                  </a:lnTo>
                  <a:lnTo>
                    <a:pt x="20536" y="10359"/>
                  </a:lnTo>
                  <a:lnTo>
                    <a:pt x="19446" y="9705"/>
                  </a:lnTo>
                  <a:lnTo>
                    <a:pt x="17156" y="8323"/>
                  </a:lnTo>
                  <a:lnTo>
                    <a:pt x="14939" y="6942"/>
                  </a:lnTo>
                  <a:lnTo>
                    <a:pt x="12976" y="5707"/>
                  </a:lnTo>
                  <a:lnTo>
                    <a:pt x="12177" y="5234"/>
                  </a:lnTo>
                  <a:lnTo>
                    <a:pt x="11486" y="4871"/>
                  </a:lnTo>
                  <a:lnTo>
                    <a:pt x="10977" y="4798"/>
                  </a:lnTo>
                  <a:lnTo>
                    <a:pt x="9778" y="4653"/>
                  </a:lnTo>
                  <a:lnTo>
                    <a:pt x="8288" y="4544"/>
                  </a:lnTo>
                  <a:lnTo>
                    <a:pt x="7561" y="4507"/>
                  </a:lnTo>
                  <a:lnTo>
                    <a:pt x="6943" y="4544"/>
                  </a:lnTo>
                  <a:lnTo>
                    <a:pt x="6616" y="4616"/>
                  </a:lnTo>
                  <a:lnTo>
                    <a:pt x="6252" y="4725"/>
                  </a:lnTo>
                  <a:lnTo>
                    <a:pt x="5852" y="4871"/>
                  </a:lnTo>
                  <a:lnTo>
                    <a:pt x="5453" y="5089"/>
                  </a:lnTo>
                  <a:lnTo>
                    <a:pt x="4508" y="5670"/>
                  </a:lnTo>
                  <a:lnTo>
                    <a:pt x="3526" y="6324"/>
                  </a:lnTo>
                  <a:lnTo>
                    <a:pt x="2545" y="7051"/>
                  </a:lnTo>
                  <a:lnTo>
                    <a:pt x="1673" y="7778"/>
                  </a:lnTo>
                  <a:lnTo>
                    <a:pt x="946" y="8432"/>
                  </a:lnTo>
                  <a:lnTo>
                    <a:pt x="655" y="8760"/>
                  </a:lnTo>
                  <a:lnTo>
                    <a:pt x="437" y="9014"/>
                  </a:lnTo>
                  <a:lnTo>
                    <a:pt x="328" y="9159"/>
                  </a:lnTo>
                  <a:lnTo>
                    <a:pt x="255" y="9341"/>
                  </a:lnTo>
                  <a:lnTo>
                    <a:pt x="110" y="9777"/>
                  </a:lnTo>
                  <a:lnTo>
                    <a:pt x="37" y="10286"/>
                  </a:lnTo>
                  <a:lnTo>
                    <a:pt x="1" y="10868"/>
                  </a:lnTo>
                  <a:lnTo>
                    <a:pt x="1" y="11522"/>
                  </a:lnTo>
                  <a:lnTo>
                    <a:pt x="37" y="12249"/>
                  </a:lnTo>
                  <a:lnTo>
                    <a:pt x="146" y="13012"/>
                  </a:lnTo>
                  <a:lnTo>
                    <a:pt x="255" y="13848"/>
                  </a:lnTo>
                  <a:lnTo>
                    <a:pt x="401" y="14720"/>
                  </a:lnTo>
                  <a:lnTo>
                    <a:pt x="582" y="15593"/>
                  </a:lnTo>
                  <a:lnTo>
                    <a:pt x="982" y="17446"/>
                  </a:lnTo>
                  <a:lnTo>
                    <a:pt x="1491" y="19336"/>
                  </a:lnTo>
                  <a:lnTo>
                    <a:pt x="2036" y="21153"/>
                  </a:lnTo>
                  <a:lnTo>
                    <a:pt x="2072" y="21299"/>
                  </a:lnTo>
                  <a:lnTo>
                    <a:pt x="2181" y="21444"/>
                  </a:lnTo>
                  <a:lnTo>
                    <a:pt x="2436" y="21735"/>
                  </a:lnTo>
                  <a:lnTo>
                    <a:pt x="2836" y="22026"/>
                  </a:lnTo>
                  <a:lnTo>
                    <a:pt x="3345" y="22353"/>
                  </a:lnTo>
                  <a:lnTo>
                    <a:pt x="3781" y="22625"/>
                  </a:lnTo>
                  <a:lnTo>
                    <a:pt x="3781" y="22625"/>
                  </a:lnTo>
                  <a:lnTo>
                    <a:pt x="3781" y="22680"/>
                  </a:lnTo>
                  <a:lnTo>
                    <a:pt x="3744" y="24061"/>
                  </a:lnTo>
                  <a:lnTo>
                    <a:pt x="3672" y="25333"/>
                  </a:lnTo>
                  <a:lnTo>
                    <a:pt x="3563" y="26424"/>
                  </a:lnTo>
                  <a:lnTo>
                    <a:pt x="3417" y="27478"/>
                  </a:lnTo>
                  <a:lnTo>
                    <a:pt x="3235" y="28495"/>
                  </a:lnTo>
                  <a:lnTo>
                    <a:pt x="3017" y="29477"/>
                  </a:lnTo>
                  <a:lnTo>
                    <a:pt x="2727" y="30422"/>
                  </a:lnTo>
                  <a:lnTo>
                    <a:pt x="2363" y="31330"/>
                  </a:lnTo>
                  <a:lnTo>
                    <a:pt x="2000" y="32166"/>
                  </a:lnTo>
                  <a:lnTo>
                    <a:pt x="1564" y="32966"/>
                  </a:lnTo>
                  <a:lnTo>
                    <a:pt x="1091" y="33693"/>
                  </a:lnTo>
                  <a:lnTo>
                    <a:pt x="1018" y="33765"/>
                  </a:lnTo>
                  <a:lnTo>
                    <a:pt x="982" y="33911"/>
                  </a:lnTo>
                  <a:lnTo>
                    <a:pt x="1018" y="34056"/>
                  </a:lnTo>
                  <a:lnTo>
                    <a:pt x="1091" y="34202"/>
                  </a:lnTo>
                  <a:lnTo>
                    <a:pt x="1236" y="34311"/>
                  </a:lnTo>
                  <a:lnTo>
                    <a:pt x="1455" y="34420"/>
                  </a:lnTo>
                  <a:lnTo>
                    <a:pt x="1709" y="34529"/>
                  </a:lnTo>
                  <a:lnTo>
                    <a:pt x="2400" y="34674"/>
                  </a:lnTo>
                  <a:lnTo>
                    <a:pt x="3235" y="34819"/>
                  </a:lnTo>
                  <a:lnTo>
                    <a:pt x="4253" y="34929"/>
                  </a:lnTo>
                  <a:lnTo>
                    <a:pt x="5380" y="34965"/>
                  </a:lnTo>
                  <a:lnTo>
                    <a:pt x="6616" y="35001"/>
                  </a:lnTo>
                  <a:lnTo>
                    <a:pt x="8542" y="35001"/>
                  </a:lnTo>
                  <a:lnTo>
                    <a:pt x="10541" y="34929"/>
                  </a:lnTo>
                  <a:lnTo>
                    <a:pt x="12467" y="34819"/>
                  </a:lnTo>
                  <a:lnTo>
                    <a:pt x="14321" y="34674"/>
                  </a:lnTo>
                  <a:lnTo>
                    <a:pt x="15993" y="34492"/>
                  </a:lnTo>
                  <a:lnTo>
                    <a:pt x="17338" y="34274"/>
                  </a:lnTo>
                  <a:lnTo>
                    <a:pt x="17883" y="34129"/>
                  </a:lnTo>
                  <a:lnTo>
                    <a:pt x="18319" y="34020"/>
                  </a:lnTo>
                  <a:lnTo>
                    <a:pt x="18610" y="33874"/>
                  </a:lnTo>
                  <a:lnTo>
                    <a:pt x="18828" y="33765"/>
                  </a:lnTo>
                  <a:lnTo>
                    <a:pt x="18900" y="33584"/>
                  </a:lnTo>
                  <a:lnTo>
                    <a:pt x="18973" y="33329"/>
                  </a:lnTo>
                  <a:lnTo>
                    <a:pt x="19010" y="33111"/>
                  </a:lnTo>
                  <a:lnTo>
                    <a:pt x="19010" y="32857"/>
                  </a:lnTo>
                  <a:lnTo>
                    <a:pt x="18937" y="32239"/>
                  </a:lnTo>
                  <a:lnTo>
                    <a:pt x="18791" y="31476"/>
                  </a:lnTo>
                  <a:lnTo>
                    <a:pt x="18573" y="30676"/>
                  </a:lnTo>
                  <a:lnTo>
                    <a:pt x="18355" y="29767"/>
                  </a:lnTo>
                  <a:lnTo>
                    <a:pt x="18065" y="28822"/>
                  </a:lnTo>
                  <a:lnTo>
                    <a:pt x="17774" y="27966"/>
                  </a:lnTo>
                  <a:lnTo>
                    <a:pt x="19264" y="28459"/>
                  </a:lnTo>
                  <a:lnTo>
                    <a:pt x="23226" y="29695"/>
                  </a:lnTo>
                  <a:lnTo>
                    <a:pt x="26097" y="30603"/>
                  </a:lnTo>
                  <a:lnTo>
                    <a:pt x="26969" y="30894"/>
                  </a:lnTo>
                  <a:lnTo>
                    <a:pt x="27333" y="31040"/>
                  </a:lnTo>
                  <a:lnTo>
                    <a:pt x="27369" y="31076"/>
                  </a:lnTo>
                  <a:lnTo>
                    <a:pt x="27369" y="31040"/>
                  </a:lnTo>
                  <a:lnTo>
                    <a:pt x="27442" y="30930"/>
                  </a:lnTo>
                  <a:lnTo>
                    <a:pt x="27623" y="30458"/>
                  </a:lnTo>
                  <a:lnTo>
                    <a:pt x="27805" y="29767"/>
                  </a:lnTo>
                  <a:lnTo>
                    <a:pt x="27987" y="28968"/>
                  </a:lnTo>
                  <a:lnTo>
                    <a:pt x="28132" y="28132"/>
                  </a:lnTo>
                  <a:lnTo>
                    <a:pt x="28241" y="27369"/>
                  </a:lnTo>
                  <a:lnTo>
                    <a:pt x="28241" y="27041"/>
                  </a:lnTo>
                  <a:lnTo>
                    <a:pt x="28241" y="26751"/>
                  </a:lnTo>
                  <a:lnTo>
                    <a:pt x="28205" y="26533"/>
                  </a:lnTo>
                  <a:lnTo>
                    <a:pt x="28169" y="26424"/>
                  </a:lnTo>
                  <a:lnTo>
                    <a:pt x="28023" y="26315"/>
                  </a:lnTo>
                  <a:lnTo>
                    <a:pt x="27805" y="26206"/>
                  </a:lnTo>
                  <a:lnTo>
                    <a:pt x="27078" y="25987"/>
                  </a:lnTo>
                  <a:lnTo>
                    <a:pt x="26097" y="25697"/>
                  </a:lnTo>
                  <a:lnTo>
                    <a:pt x="25007" y="25442"/>
                  </a:lnTo>
                  <a:lnTo>
                    <a:pt x="22899" y="24933"/>
                  </a:lnTo>
                  <a:lnTo>
                    <a:pt x="21699" y="24606"/>
                  </a:lnTo>
                  <a:lnTo>
                    <a:pt x="20790" y="24316"/>
                  </a:lnTo>
                  <a:lnTo>
                    <a:pt x="19591" y="23988"/>
                  </a:lnTo>
                  <a:lnTo>
                    <a:pt x="16611" y="23080"/>
                  </a:lnTo>
                  <a:lnTo>
                    <a:pt x="16096" y="22916"/>
                  </a:lnTo>
                  <a:lnTo>
                    <a:pt x="16096" y="22916"/>
                  </a:lnTo>
                  <a:lnTo>
                    <a:pt x="15956" y="22498"/>
                  </a:lnTo>
                  <a:lnTo>
                    <a:pt x="15811" y="21880"/>
                  </a:lnTo>
                  <a:lnTo>
                    <a:pt x="15702" y="21372"/>
                  </a:lnTo>
                  <a:lnTo>
                    <a:pt x="15666" y="21008"/>
                  </a:lnTo>
                  <a:lnTo>
                    <a:pt x="15702" y="20717"/>
                  </a:lnTo>
                  <a:lnTo>
                    <a:pt x="15811" y="20427"/>
                  </a:lnTo>
                  <a:lnTo>
                    <a:pt x="15956" y="20172"/>
                  </a:lnTo>
                  <a:lnTo>
                    <a:pt x="16175" y="19954"/>
                  </a:lnTo>
                  <a:lnTo>
                    <a:pt x="16393" y="19700"/>
                  </a:lnTo>
                  <a:lnTo>
                    <a:pt x="16647" y="19482"/>
                  </a:lnTo>
                  <a:lnTo>
                    <a:pt x="17229" y="19082"/>
                  </a:lnTo>
                  <a:lnTo>
                    <a:pt x="17810" y="18682"/>
                  </a:lnTo>
                  <a:lnTo>
                    <a:pt x="18319" y="18282"/>
                  </a:lnTo>
                  <a:lnTo>
                    <a:pt x="18537" y="18064"/>
                  </a:lnTo>
                  <a:lnTo>
                    <a:pt x="18719" y="17846"/>
                  </a:lnTo>
                  <a:lnTo>
                    <a:pt x="18864" y="17628"/>
                  </a:lnTo>
                  <a:lnTo>
                    <a:pt x="18937" y="17410"/>
                  </a:lnTo>
                  <a:lnTo>
                    <a:pt x="18937" y="17155"/>
                  </a:lnTo>
                  <a:lnTo>
                    <a:pt x="18900" y="16901"/>
                  </a:lnTo>
                  <a:lnTo>
                    <a:pt x="18791" y="16610"/>
                  </a:lnTo>
                  <a:lnTo>
                    <a:pt x="18646" y="16283"/>
                  </a:lnTo>
                  <a:lnTo>
                    <a:pt x="18283" y="15629"/>
                  </a:lnTo>
                  <a:lnTo>
                    <a:pt x="17846" y="15011"/>
                  </a:lnTo>
                  <a:lnTo>
                    <a:pt x="17120" y="14066"/>
                  </a:lnTo>
                  <a:lnTo>
                    <a:pt x="16974" y="13812"/>
                  </a:lnTo>
                  <a:lnTo>
                    <a:pt x="17011" y="13775"/>
                  </a:lnTo>
                  <a:lnTo>
                    <a:pt x="17083" y="13812"/>
                  </a:lnTo>
                  <a:lnTo>
                    <a:pt x="18174" y="14357"/>
                  </a:lnTo>
                  <a:lnTo>
                    <a:pt x="19773" y="15047"/>
                  </a:lnTo>
                  <a:lnTo>
                    <a:pt x="21699" y="15811"/>
                  </a:lnTo>
                  <a:lnTo>
                    <a:pt x="22753" y="16174"/>
                  </a:lnTo>
                  <a:lnTo>
                    <a:pt x="23807" y="16538"/>
                  </a:lnTo>
                  <a:lnTo>
                    <a:pt x="24898" y="16865"/>
                  </a:lnTo>
                  <a:lnTo>
                    <a:pt x="25915" y="17155"/>
                  </a:lnTo>
                  <a:lnTo>
                    <a:pt x="26897" y="17410"/>
                  </a:lnTo>
                  <a:lnTo>
                    <a:pt x="27805" y="17592"/>
                  </a:lnTo>
                  <a:lnTo>
                    <a:pt x="28605" y="17664"/>
                  </a:lnTo>
                  <a:lnTo>
                    <a:pt x="28968" y="17701"/>
                  </a:lnTo>
                  <a:lnTo>
                    <a:pt x="29295" y="17701"/>
                  </a:lnTo>
                  <a:lnTo>
                    <a:pt x="29586" y="17664"/>
                  </a:lnTo>
                  <a:lnTo>
                    <a:pt x="29877" y="17592"/>
                  </a:lnTo>
                  <a:lnTo>
                    <a:pt x="30059" y="17519"/>
                  </a:lnTo>
                  <a:lnTo>
                    <a:pt x="30240" y="17410"/>
                  </a:lnTo>
                  <a:lnTo>
                    <a:pt x="30386" y="17228"/>
                  </a:lnTo>
                  <a:lnTo>
                    <a:pt x="30495" y="16974"/>
                  </a:lnTo>
                  <a:lnTo>
                    <a:pt x="30531" y="16647"/>
                  </a:lnTo>
                  <a:lnTo>
                    <a:pt x="30567" y="16247"/>
                  </a:lnTo>
                  <a:lnTo>
                    <a:pt x="30567" y="15811"/>
                  </a:lnTo>
                  <a:lnTo>
                    <a:pt x="30531" y="15302"/>
                  </a:lnTo>
                  <a:lnTo>
                    <a:pt x="30422" y="14102"/>
                  </a:lnTo>
                  <a:lnTo>
                    <a:pt x="30204" y="12758"/>
                  </a:lnTo>
                  <a:lnTo>
                    <a:pt x="29913" y="11304"/>
                  </a:lnTo>
                  <a:lnTo>
                    <a:pt x="29550" y="9741"/>
                  </a:lnTo>
                  <a:lnTo>
                    <a:pt x="29186" y="8178"/>
                  </a:lnTo>
                  <a:lnTo>
                    <a:pt x="28387" y="5125"/>
                  </a:lnTo>
                  <a:lnTo>
                    <a:pt x="27660" y="2508"/>
                  </a:lnTo>
                  <a:lnTo>
                    <a:pt x="26933" y="0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7" name="Google Shape;2666;p11">
              <a:extLst>
                <a:ext uri="{FF2B5EF4-FFF2-40B4-BE49-F238E27FC236}">
                  <a16:creationId xmlns:a16="http://schemas.microsoft.com/office/drawing/2014/main" id="{9881647C-064C-831F-C3DB-9141EC33D5FA}"/>
                </a:ext>
              </a:extLst>
            </p:cNvPr>
            <p:cNvSpPr/>
            <p:nvPr/>
          </p:nvSpPr>
          <p:spPr>
            <a:xfrm>
              <a:off x="584300" y="2670300"/>
              <a:ext cx="764200" cy="875050"/>
            </a:xfrm>
            <a:custGeom>
              <a:avLst/>
              <a:gdLst/>
              <a:ahLst/>
              <a:cxnLst/>
              <a:rect l="l" t="t" r="r" b="b"/>
              <a:pathLst>
                <a:path w="30568" h="35002" fill="none" extrusionOk="0">
                  <a:moveTo>
                    <a:pt x="27333" y="31040"/>
                  </a:moveTo>
                  <a:lnTo>
                    <a:pt x="27333" y="31040"/>
                  </a:lnTo>
                  <a:lnTo>
                    <a:pt x="27369" y="31076"/>
                  </a:lnTo>
                  <a:lnTo>
                    <a:pt x="27369" y="31040"/>
                  </a:lnTo>
                  <a:lnTo>
                    <a:pt x="27442" y="30930"/>
                  </a:lnTo>
                  <a:lnTo>
                    <a:pt x="27623" y="30458"/>
                  </a:lnTo>
                  <a:lnTo>
                    <a:pt x="27805" y="29767"/>
                  </a:lnTo>
                  <a:lnTo>
                    <a:pt x="27987" y="28968"/>
                  </a:lnTo>
                  <a:lnTo>
                    <a:pt x="28132" y="28132"/>
                  </a:lnTo>
                  <a:lnTo>
                    <a:pt x="28241" y="27369"/>
                  </a:lnTo>
                  <a:lnTo>
                    <a:pt x="28241" y="27041"/>
                  </a:lnTo>
                  <a:lnTo>
                    <a:pt x="28241" y="26751"/>
                  </a:lnTo>
                  <a:lnTo>
                    <a:pt x="28205" y="26533"/>
                  </a:lnTo>
                  <a:lnTo>
                    <a:pt x="28169" y="26424"/>
                  </a:lnTo>
                  <a:lnTo>
                    <a:pt x="28169" y="26424"/>
                  </a:lnTo>
                  <a:lnTo>
                    <a:pt x="28023" y="26315"/>
                  </a:lnTo>
                  <a:lnTo>
                    <a:pt x="27805" y="26206"/>
                  </a:lnTo>
                  <a:lnTo>
                    <a:pt x="27078" y="25987"/>
                  </a:lnTo>
                  <a:lnTo>
                    <a:pt x="26097" y="25697"/>
                  </a:lnTo>
                  <a:lnTo>
                    <a:pt x="25007" y="25442"/>
                  </a:lnTo>
                  <a:lnTo>
                    <a:pt x="22899" y="24933"/>
                  </a:lnTo>
                  <a:lnTo>
                    <a:pt x="21699" y="24606"/>
                  </a:lnTo>
                  <a:lnTo>
                    <a:pt x="21699" y="24606"/>
                  </a:lnTo>
                  <a:lnTo>
                    <a:pt x="20790" y="24316"/>
                  </a:lnTo>
                  <a:lnTo>
                    <a:pt x="19591" y="23988"/>
                  </a:lnTo>
                  <a:lnTo>
                    <a:pt x="16611" y="23080"/>
                  </a:lnTo>
                  <a:lnTo>
                    <a:pt x="15011" y="22571"/>
                  </a:lnTo>
                  <a:lnTo>
                    <a:pt x="13449" y="22026"/>
                  </a:lnTo>
                  <a:lnTo>
                    <a:pt x="12722" y="21735"/>
                  </a:lnTo>
                  <a:lnTo>
                    <a:pt x="12031" y="21408"/>
                  </a:lnTo>
                  <a:lnTo>
                    <a:pt x="11413" y="21117"/>
                  </a:lnTo>
                  <a:lnTo>
                    <a:pt x="10868" y="20826"/>
                  </a:lnTo>
                  <a:lnTo>
                    <a:pt x="10868" y="20826"/>
                  </a:lnTo>
                  <a:lnTo>
                    <a:pt x="10141" y="20390"/>
                  </a:lnTo>
                  <a:lnTo>
                    <a:pt x="9414" y="20027"/>
                  </a:lnTo>
                  <a:lnTo>
                    <a:pt x="7670" y="19154"/>
                  </a:lnTo>
                  <a:lnTo>
                    <a:pt x="6579" y="18573"/>
                  </a:lnTo>
                  <a:lnTo>
                    <a:pt x="5235" y="17846"/>
                  </a:lnTo>
                  <a:lnTo>
                    <a:pt x="3599" y="16901"/>
                  </a:lnTo>
                  <a:lnTo>
                    <a:pt x="1600" y="15702"/>
                  </a:lnTo>
                  <a:lnTo>
                    <a:pt x="1600" y="15702"/>
                  </a:lnTo>
                  <a:lnTo>
                    <a:pt x="1854" y="15992"/>
                  </a:lnTo>
                  <a:lnTo>
                    <a:pt x="2072" y="16283"/>
                  </a:lnTo>
                  <a:lnTo>
                    <a:pt x="2509" y="16901"/>
                  </a:lnTo>
                  <a:lnTo>
                    <a:pt x="2836" y="17555"/>
                  </a:lnTo>
                  <a:lnTo>
                    <a:pt x="3126" y="18282"/>
                  </a:lnTo>
                  <a:lnTo>
                    <a:pt x="3345" y="18973"/>
                  </a:lnTo>
                  <a:lnTo>
                    <a:pt x="3526" y="19700"/>
                  </a:lnTo>
                  <a:lnTo>
                    <a:pt x="3635" y="20463"/>
                  </a:lnTo>
                  <a:lnTo>
                    <a:pt x="3744" y="21226"/>
                  </a:lnTo>
                  <a:lnTo>
                    <a:pt x="3781" y="21953"/>
                  </a:lnTo>
                  <a:lnTo>
                    <a:pt x="3781" y="22680"/>
                  </a:lnTo>
                  <a:lnTo>
                    <a:pt x="3744" y="24061"/>
                  </a:lnTo>
                  <a:lnTo>
                    <a:pt x="3672" y="25333"/>
                  </a:lnTo>
                  <a:lnTo>
                    <a:pt x="3563" y="26424"/>
                  </a:lnTo>
                  <a:lnTo>
                    <a:pt x="3563" y="26424"/>
                  </a:lnTo>
                  <a:lnTo>
                    <a:pt x="3417" y="27478"/>
                  </a:lnTo>
                  <a:lnTo>
                    <a:pt x="3235" y="28495"/>
                  </a:lnTo>
                  <a:lnTo>
                    <a:pt x="3017" y="29477"/>
                  </a:lnTo>
                  <a:lnTo>
                    <a:pt x="2727" y="30422"/>
                  </a:lnTo>
                  <a:lnTo>
                    <a:pt x="2363" y="31330"/>
                  </a:lnTo>
                  <a:lnTo>
                    <a:pt x="2000" y="32166"/>
                  </a:lnTo>
                  <a:lnTo>
                    <a:pt x="1564" y="32966"/>
                  </a:lnTo>
                  <a:lnTo>
                    <a:pt x="1091" y="33693"/>
                  </a:lnTo>
                  <a:lnTo>
                    <a:pt x="1091" y="33693"/>
                  </a:lnTo>
                  <a:lnTo>
                    <a:pt x="1018" y="33765"/>
                  </a:lnTo>
                  <a:lnTo>
                    <a:pt x="1018" y="33765"/>
                  </a:lnTo>
                  <a:lnTo>
                    <a:pt x="982" y="33911"/>
                  </a:lnTo>
                  <a:lnTo>
                    <a:pt x="1018" y="34056"/>
                  </a:lnTo>
                  <a:lnTo>
                    <a:pt x="1091" y="34202"/>
                  </a:lnTo>
                  <a:lnTo>
                    <a:pt x="1236" y="34311"/>
                  </a:lnTo>
                  <a:lnTo>
                    <a:pt x="1455" y="34420"/>
                  </a:lnTo>
                  <a:lnTo>
                    <a:pt x="1709" y="34529"/>
                  </a:lnTo>
                  <a:lnTo>
                    <a:pt x="2400" y="34674"/>
                  </a:lnTo>
                  <a:lnTo>
                    <a:pt x="3235" y="34819"/>
                  </a:lnTo>
                  <a:lnTo>
                    <a:pt x="4253" y="34929"/>
                  </a:lnTo>
                  <a:lnTo>
                    <a:pt x="5380" y="34965"/>
                  </a:lnTo>
                  <a:lnTo>
                    <a:pt x="6616" y="35001"/>
                  </a:lnTo>
                  <a:lnTo>
                    <a:pt x="6616" y="35001"/>
                  </a:lnTo>
                  <a:lnTo>
                    <a:pt x="8542" y="35001"/>
                  </a:lnTo>
                  <a:lnTo>
                    <a:pt x="10541" y="34929"/>
                  </a:lnTo>
                  <a:lnTo>
                    <a:pt x="12467" y="34819"/>
                  </a:lnTo>
                  <a:lnTo>
                    <a:pt x="14321" y="34674"/>
                  </a:lnTo>
                  <a:lnTo>
                    <a:pt x="15993" y="34492"/>
                  </a:lnTo>
                  <a:lnTo>
                    <a:pt x="17338" y="34274"/>
                  </a:lnTo>
                  <a:lnTo>
                    <a:pt x="17883" y="34129"/>
                  </a:lnTo>
                  <a:lnTo>
                    <a:pt x="18319" y="34020"/>
                  </a:lnTo>
                  <a:lnTo>
                    <a:pt x="18610" y="33874"/>
                  </a:lnTo>
                  <a:lnTo>
                    <a:pt x="18828" y="33765"/>
                  </a:lnTo>
                  <a:lnTo>
                    <a:pt x="18828" y="33765"/>
                  </a:lnTo>
                  <a:lnTo>
                    <a:pt x="18900" y="33584"/>
                  </a:lnTo>
                  <a:lnTo>
                    <a:pt x="18973" y="33329"/>
                  </a:lnTo>
                  <a:lnTo>
                    <a:pt x="18973" y="33329"/>
                  </a:lnTo>
                  <a:lnTo>
                    <a:pt x="19010" y="33111"/>
                  </a:lnTo>
                  <a:lnTo>
                    <a:pt x="19010" y="32857"/>
                  </a:lnTo>
                  <a:lnTo>
                    <a:pt x="18937" y="32239"/>
                  </a:lnTo>
                  <a:lnTo>
                    <a:pt x="18791" y="31476"/>
                  </a:lnTo>
                  <a:lnTo>
                    <a:pt x="18573" y="30676"/>
                  </a:lnTo>
                  <a:lnTo>
                    <a:pt x="18355" y="29767"/>
                  </a:lnTo>
                  <a:lnTo>
                    <a:pt x="18065" y="28822"/>
                  </a:lnTo>
                  <a:lnTo>
                    <a:pt x="17410" y="26896"/>
                  </a:lnTo>
                  <a:lnTo>
                    <a:pt x="16756" y="24970"/>
                  </a:lnTo>
                  <a:lnTo>
                    <a:pt x="16211" y="23262"/>
                  </a:lnTo>
                  <a:lnTo>
                    <a:pt x="15956" y="22498"/>
                  </a:lnTo>
                  <a:lnTo>
                    <a:pt x="15811" y="21880"/>
                  </a:lnTo>
                  <a:lnTo>
                    <a:pt x="15702" y="21372"/>
                  </a:lnTo>
                  <a:lnTo>
                    <a:pt x="15666" y="21008"/>
                  </a:lnTo>
                  <a:lnTo>
                    <a:pt x="15666" y="21008"/>
                  </a:lnTo>
                  <a:lnTo>
                    <a:pt x="15702" y="20717"/>
                  </a:lnTo>
                  <a:lnTo>
                    <a:pt x="15811" y="20427"/>
                  </a:lnTo>
                  <a:lnTo>
                    <a:pt x="15956" y="20172"/>
                  </a:lnTo>
                  <a:lnTo>
                    <a:pt x="16175" y="19954"/>
                  </a:lnTo>
                  <a:lnTo>
                    <a:pt x="16393" y="19700"/>
                  </a:lnTo>
                  <a:lnTo>
                    <a:pt x="16647" y="19482"/>
                  </a:lnTo>
                  <a:lnTo>
                    <a:pt x="17229" y="19082"/>
                  </a:lnTo>
                  <a:lnTo>
                    <a:pt x="17810" y="18682"/>
                  </a:lnTo>
                  <a:lnTo>
                    <a:pt x="18319" y="18282"/>
                  </a:lnTo>
                  <a:lnTo>
                    <a:pt x="18537" y="18064"/>
                  </a:lnTo>
                  <a:lnTo>
                    <a:pt x="18719" y="17846"/>
                  </a:lnTo>
                  <a:lnTo>
                    <a:pt x="18864" y="17628"/>
                  </a:lnTo>
                  <a:lnTo>
                    <a:pt x="18937" y="17410"/>
                  </a:lnTo>
                  <a:lnTo>
                    <a:pt x="18937" y="17410"/>
                  </a:lnTo>
                  <a:lnTo>
                    <a:pt x="18937" y="17155"/>
                  </a:lnTo>
                  <a:lnTo>
                    <a:pt x="18900" y="16901"/>
                  </a:lnTo>
                  <a:lnTo>
                    <a:pt x="18791" y="16610"/>
                  </a:lnTo>
                  <a:lnTo>
                    <a:pt x="18646" y="16283"/>
                  </a:lnTo>
                  <a:lnTo>
                    <a:pt x="18283" y="15629"/>
                  </a:lnTo>
                  <a:lnTo>
                    <a:pt x="17846" y="15011"/>
                  </a:lnTo>
                  <a:lnTo>
                    <a:pt x="17120" y="14066"/>
                  </a:lnTo>
                  <a:lnTo>
                    <a:pt x="16974" y="13812"/>
                  </a:lnTo>
                  <a:lnTo>
                    <a:pt x="17011" y="13775"/>
                  </a:lnTo>
                  <a:lnTo>
                    <a:pt x="17083" y="13812"/>
                  </a:lnTo>
                  <a:lnTo>
                    <a:pt x="17083" y="13812"/>
                  </a:lnTo>
                  <a:lnTo>
                    <a:pt x="18174" y="14357"/>
                  </a:lnTo>
                  <a:lnTo>
                    <a:pt x="19773" y="15047"/>
                  </a:lnTo>
                  <a:lnTo>
                    <a:pt x="21699" y="15811"/>
                  </a:lnTo>
                  <a:lnTo>
                    <a:pt x="22753" y="16174"/>
                  </a:lnTo>
                  <a:lnTo>
                    <a:pt x="23807" y="16538"/>
                  </a:lnTo>
                  <a:lnTo>
                    <a:pt x="24898" y="16865"/>
                  </a:lnTo>
                  <a:lnTo>
                    <a:pt x="25915" y="17155"/>
                  </a:lnTo>
                  <a:lnTo>
                    <a:pt x="26897" y="17410"/>
                  </a:lnTo>
                  <a:lnTo>
                    <a:pt x="27805" y="17592"/>
                  </a:lnTo>
                  <a:lnTo>
                    <a:pt x="28605" y="17664"/>
                  </a:lnTo>
                  <a:lnTo>
                    <a:pt x="28968" y="17701"/>
                  </a:lnTo>
                  <a:lnTo>
                    <a:pt x="29295" y="17701"/>
                  </a:lnTo>
                  <a:lnTo>
                    <a:pt x="29586" y="17664"/>
                  </a:lnTo>
                  <a:lnTo>
                    <a:pt x="29877" y="17592"/>
                  </a:lnTo>
                  <a:lnTo>
                    <a:pt x="30059" y="17519"/>
                  </a:lnTo>
                  <a:lnTo>
                    <a:pt x="30240" y="17410"/>
                  </a:lnTo>
                  <a:lnTo>
                    <a:pt x="30240" y="17410"/>
                  </a:lnTo>
                  <a:lnTo>
                    <a:pt x="30386" y="17228"/>
                  </a:lnTo>
                  <a:lnTo>
                    <a:pt x="30495" y="16974"/>
                  </a:lnTo>
                  <a:lnTo>
                    <a:pt x="30531" y="16647"/>
                  </a:lnTo>
                  <a:lnTo>
                    <a:pt x="30567" y="16247"/>
                  </a:lnTo>
                  <a:lnTo>
                    <a:pt x="30567" y="15811"/>
                  </a:lnTo>
                  <a:lnTo>
                    <a:pt x="30531" y="15302"/>
                  </a:lnTo>
                  <a:lnTo>
                    <a:pt x="30422" y="14102"/>
                  </a:lnTo>
                  <a:lnTo>
                    <a:pt x="30204" y="12758"/>
                  </a:lnTo>
                  <a:lnTo>
                    <a:pt x="29913" y="11304"/>
                  </a:lnTo>
                  <a:lnTo>
                    <a:pt x="29550" y="9741"/>
                  </a:lnTo>
                  <a:lnTo>
                    <a:pt x="29186" y="8178"/>
                  </a:lnTo>
                  <a:lnTo>
                    <a:pt x="28387" y="5125"/>
                  </a:lnTo>
                  <a:lnTo>
                    <a:pt x="27660" y="2508"/>
                  </a:lnTo>
                  <a:lnTo>
                    <a:pt x="26933" y="0"/>
                  </a:lnTo>
                  <a:lnTo>
                    <a:pt x="26933" y="0"/>
                  </a:lnTo>
                  <a:lnTo>
                    <a:pt x="26315" y="73"/>
                  </a:lnTo>
                  <a:lnTo>
                    <a:pt x="25661" y="182"/>
                  </a:lnTo>
                  <a:lnTo>
                    <a:pt x="24934" y="327"/>
                  </a:lnTo>
                  <a:lnTo>
                    <a:pt x="24207" y="509"/>
                  </a:lnTo>
                  <a:lnTo>
                    <a:pt x="23844" y="618"/>
                  </a:lnTo>
                  <a:lnTo>
                    <a:pt x="23516" y="764"/>
                  </a:lnTo>
                  <a:lnTo>
                    <a:pt x="23262" y="909"/>
                  </a:lnTo>
                  <a:lnTo>
                    <a:pt x="23044" y="1054"/>
                  </a:lnTo>
                  <a:lnTo>
                    <a:pt x="22899" y="1200"/>
                  </a:lnTo>
                  <a:lnTo>
                    <a:pt x="22862" y="1381"/>
                  </a:lnTo>
                  <a:lnTo>
                    <a:pt x="22862" y="1381"/>
                  </a:lnTo>
                  <a:lnTo>
                    <a:pt x="22862" y="1672"/>
                  </a:lnTo>
                  <a:lnTo>
                    <a:pt x="22971" y="2072"/>
                  </a:lnTo>
                  <a:lnTo>
                    <a:pt x="23407" y="3271"/>
                  </a:lnTo>
                  <a:lnTo>
                    <a:pt x="24025" y="4798"/>
                  </a:lnTo>
                  <a:lnTo>
                    <a:pt x="24679" y="6543"/>
                  </a:lnTo>
                  <a:lnTo>
                    <a:pt x="25007" y="7415"/>
                  </a:lnTo>
                  <a:lnTo>
                    <a:pt x="25297" y="8287"/>
                  </a:lnTo>
                  <a:lnTo>
                    <a:pt x="25552" y="9123"/>
                  </a:lnTo>
                  <a:lnTo>
                    <a:pt x="25770" y="9886"/>
                  </a:lnTo>
                  <a:lnTo>
                    <a:pt x="25915" y="10613"/>
                  </a:lnTo>
                  <a:lnTo>
                    <a:pt x="25952" y="11231"/>
                  </a:lnTo>
                  <a:lnTo>
                    <a:pt x="25952" y="11486"/>
                  </a:lnTo>
                  <a:lnTo>
                    <a:pt x="25915" y="11740"/>
                  </a:lnTo>
                  <a:lnTo>
                    <a:pt x="25879" y="11958"/>
                  </a:lnTo>
                  <a:lnTo>
                    <a:pt x="25770" y="12103"/>
                  </a:lnTo>
                  <a:lnTo>
                    <a:pt x="25770" y="12103"/>
                  </a:lnTo>
                  <a:lnTo>
                    <a:pt x="25661" y="12249"/>
                  </a:lnTo>
                  <a:lnTo>
                    <a:pt x="25479" y="12321"/>
                  </a:lnTo>
                  <a:lnTo>
                    <a:pt x="25261" y="12358"/>
                  </a:lnTo>
                  <a:lnTo>
                    <a:pt x="24970" y="12321"/>
                  </a:lnTo>
                  <a:lnTo>
                    <a:pt x="24679" y="12285"/>
                  </a:lnTo>
                  <a:lnTo>
                    <a:pt x="24316" y="12176"/>
                  </a:lnTo>
                  <a:lnTo>
                    <a:pt x="23516" y="11885"/>
                  </a:lnTo>
                  <a:lnTo>
                    <a:pt x="22608" y="11486"/>
                  </a:lnTo>
                  <a:lnTo>
                    <a:pt x="21626" y="10977"/>
                  </a:lnTo>
                  <a:lnTo>
                    <a:pt x="20536" y="10359"/>
                  </a:lnTo>
                  <a:lnTo>
                    <a:pt x="19446" y="9705"/>
                  </a:lnTo>
                  <a:lnTo>
                    <a:pt x="17156" y="8323"/>
                  </a:lnTo>
                  <a:lnTo>
                    <a:pt x="14939" y="6942"/>
                  </a:lnTo>
                  <a:lnTo>
                    <a:pt x="12976" y="5707"/>
                  </a:lnTo>
                  <a:lnTo>
                    <a:pt x="12177" y="5234"/>
                  </a:lnTo>
                  <a:lnTo>
                    <a:pt x="11486" y="4871"/>
                  </a:lnTo>
                  <a:lnTo>
                    <a:pt x="11486" y="4871"/>
                  </a:lnTo>
                  <a:lnTo>
                    <a:pt x="10977" y="4798"/>
                  </a:lnTo>
                  <a:lnTo>
                    <a:pt x="9778" y="4653"/>
                  </a:lnTo>
                  <a:lnTo>
                    <a:pt x="8288" y="4544"/>
                  </a:lnTo>
                  <a:lnTo>
                    <a:pt x="7561" y="4507"/>
                  </a:lnTo>
                  <a:lnTo>
                    <a:pt x="6943" y="4544"/>
                  </a:lnTo>
                  <a:lnTo>
                    <a:pt x="6943" y="4544"/>
                  </a:lnTo>
                  <a:lnTo>
                    <a:pt x="6616" y="4616"/>
                  </a:lnTo>
                  <a:lnTo>
                    <a:pt x="6252" y="4725"/>
                  </a:lnTo>
                  <a:lnTo>
                    <a:pt x="5852" y="4871"/>
                  </a:lnTo>
                  <a:lnTo>
                    <a:pt x="5453" y="5089"/>
                  </a:lnTo>
                  <a:lnTo>
                    <a:pt x="4508" y="5670"/>
                  </a:lnTo>
                  <a:lnTo>
                    <a:pt x="3526" y="6324"/>
                  </a:lnTo>
                  <a:lnTo>
                    <a:pt x="2545" y="7051"/>
                  </a:lnTo>
                  <a:lnTo>
                    <a:pt x="1673" y="7778"/>
                  </a:lnTo>
                  <a:lnTo>
                    <a:pt x="946" y="8432"/>
                  </a:lnTo>
                  <a:lnTo>
                    <a:pt x="655" y="8760"/>
                  </a:lnTo>
                  <a:lnTo>
                    <a:pt x="437" y="9014"/>
                  </a:lnTo>
                  <a:lnTo>
                    <a:pt x="437" y="9014"/>
                  </a:lnTo>
                  <a:lnTo>
                    <a:pt x="328" y="9159"/>
                  </a:lnTo>
                  <a:lnTo>
                    <a:pt x="255" y="9341"/>
                  </a:lnTo>
                  <a:lnTo>
                    <a:pt x="110" y="9777"/>
                  </a:lnTo>
                  <a:lnTo>
                    <a:pt x="37" y="10286"/>
                  </a:lnTo>
                  <a:lnTo>
                    <a:pt x="1" y="10868"/>
                  </a:lnTo>
                  <a:lnTo>
                    <a:pt x="1" y="11522"/>
                  </a:lnTo>
                  <a:lnTo>
                    <a:pt x="37" y="12249"/>
                  </a:lnTo>
                  <a:lnTo>
                    <a:pt x="146" y="13012"/>
                  </a:lnTo>
                  <a:lnTo>
                    <a:pt x="255" y="13848"/>
                  </a:lnTo>
                  <a:lnTo>
                    <a:pt x="401" y="14720"/>
                  </a:lnTo>
                  <a:lnTo>
                    <a:pt x="582" y="15593"/>
                  </a:lnTo>
                  <a:lnTo>
                    <a:pt x="982" y="17446"/>
                  </a:lnTo>
                  <a:lnTo>
                    <a:pt x="1491" y="19336"/>
                  </a:lnTo>
                  <a:lnTo>
                    <a:pt x="2036" y="21153"/>
                  </a:lnTo>
                  <a:lnTo>
                    <a:pt x="2036" y="21153"/>
                  </a:lnTo>
                  <a:lnTo>
                    <a:pt x="2072" y="21299"/>
                  </a:lnTo>
                  <a:lnTo>
                    <a:pt x="2181" y="21444"/>
                  </a:lnTo>
                  <a:lnTo>
                    <a:pt x="2436" y="21735"/>
                  </a:lnTo>
                  <a:lnTo>
                    <a:pt x="2836" y="22026"/>
                  </a:lnTo>
                  <a:lnTo>
                    <a:pt x="3345" y="22353"/>
                  </a:lnTo>
                  <a:lnTo>
                    <a:pt x="3926" y="22716"/>
                  </a:lnTo>
                  <a:lnTo>
                    <a:pt x="4617" y="23080"/>
                  </a:lnTo>
                  <a:lnTo>
                    <a:pt x="5380" y="23443"/>
                  </a:lnTo>
                  <a:lnTo>
                    <a:pt x="6252" y="23807"/>
                  </a:lnTo>
                  <a:lnTo>
                    <a:pt x="8142" y="24606"/>
                  </a:lnTo>
                  <a:lnTo>
                    <a:pt x="10250" y="25406"/>
                  </a:lnTo>
                  <a:lnTo>
                    <a:pt x="12467" y="26206"/>
                  </a:lnTo>
                  <a:lnTo>
                    <a:pt x="14757" y="26969"/>
                  </a:lnTo>
                  <a:lnTo>
                    <a:pt x="19264" y="28459"/>
                  </a:lnTo>
                  <a:lnTo>
                    <a:pt x="23226" y="29695"/>
                  </a:lnTo>
                  <a:lnTo>
                    <a:pt x="26097" y="30603"/>
                  </a:lnTo>
                  <a:lnTo>
                    <a:pt x="26969" y="30894"/>
                  </a:lnTo>
                  <a:lnTo>
                    <a:pt x="27333" y="3104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8" name="Google Shape;2667;p11">
              <a:extLst>
                <a:ext uri="{FF2B5EF4-FFF2-40B4-BE49-F238E27FC236}">
                  <a16:creationId xmlns:a16="http://schemas.microsoft.com/office/drawing/2014/main" id="{FA85FA8C-628F-375D-EA7A-02CE6F4912EC}"/>
                </a:ext>
              </a:extLst>
            </p:cNvPr>
            <p:cNvSpPr/>
            <p:nvPr/>
          </p:nvSpPr>
          <p:spPr>
            <a:xfrm>
              <a:off x="670625" y="4066875"/>
              <a:ext cx="315325" cy="394375"/>
            </a:xfrm>
            <a:custGeom>
              <a:avLst/>
              <a:gdLst/>
              <a:ahLst/>
              <a:cxnLst/>
              <a:rect l="l" t="t" r="r" b="b"/>
              <a:pathLst>
                <a:path w="12613" h="15775" extrusionOk="0">
                  <a:moveTo>
                    <a:pt x="5452" y="1"/>
                  </a:moveTo>
                  <a:lnTo>
                    <a:pt x="364" y="10250"/>
                  </a:lnTo>
                  <a:lnTo>
                    <a:pt x="219" y="10577"/>
                  </a:lnTo>
                  <a:lnTo>
                    <a:pt x="110" y="10941"/>
                  </a:lnTo>
                  <a:lnTo>
                    <a:pt x="37" y="11268"/>
                  </a:lnTo>
                  <a:lnTo>
                    <a:pt x="1" y="11595"/>
                  </a:lnTo>
                  <a:lnTo>
                    <a:pt x="1" y="11958"/>
                  </a:lnTo>
                  <a:lnTo>
                    <a:pt x="1" y="12285"/>
                  </a:lnTo>
                  <a:lnTo>
                    <a:pt x="73" y="12649"/>
                  </a:lnTo>
                  <a:lnTo>
                    <a:pt x="182" y="12976"/>
                  </a:lnTo>
                  <a:lnTo>
                    <a:pt x="291" y="13267"/>
                  </a:lnTo>
                  <a:lnTo>
                    <a:pt x="437" y="13594"/>
                  </a:lnTo>
                  <a:lnTo>
                    <a:pt x="618" y="13885"/>
                  </a:lnTo>
                  <a:lnTo>
                    <a:pt x="837" y="14139"/>
                  </a:lnTo>
                  <a:lnTo>
                    <a:pt x="1091" y="14394"/>
                  </a:lnTo>
                  <a:lnTo>
                    <a:pt x="1345" y="14648"/>
                  </a:lnTo>
                  <a:lnTo>
                    <a:pt x="1636" y="14830"/>
                  </a:lnTo>
                  <a:lnTo>
                    <a:pt x="1963" y="15011"/>
                  </a:lnTo>
                  <a:lnTo>
                    <a:pt x="2726" y="15411"/>
                  </a:lnTo>
                  <a:lnTo>
                    <a:pt x="3090" y="15557"/>
                  </a:lnTo>
                  <a:lnTo>
                    <a:pt x="3417" y="15666"/>
                  </a:lnTo>
                  <a:lnTo>
                    <a:pt x="3744" y="15738"/>
                  </a:lnTo>
                  <a:lnTo>
                    <a:pt x="4108" y="15775"/>
                  </a:lnTo>
                  <a:lnTo>
                    <a:pt x="4435" y="15775"/>
                  </a:lnTo>
                  <a:lnTo>
                    <a:pt x="4798" y="15738"/>
                  </a:lnTo>
                  <a:lnTo>
                    <a:pt x="5125" y="15702"/>
                  </a:lnTo>
                  <a:lnTo>
                    <a:pt x="5452" y="15593"/>
                  </a:lnTo>
                  <a:lnTo>
                    <a:pt x="5780" y="15484"/>
                  </a:lnTo>
                  <a:lnTo>
                    <a:pt x="6070" y="15302"/>
                  </a:lnTo>
                  <a:lnTo>
                    <a:pt x="6361" y="15120"/>
                  </a:lnTo>
                  <a:lnTo>
                    <a:pt x="6652" y="14939"/>
                  </a:lnTo>
                  <a:lnTo>
                    <a:pt x="6906" y="14684"/>
                  </a:lnTo>
                  <a:lnTo>
                    <a:pt x="7124" y="14430"/>
                  </a:lnTo>
                  <a:lnTo>
                    <a:pt x="7342" y="14139"/>
                  </a:lnTo>
                  <a:lnTo>
                    <a:pt x="7524" y="13812"/>
                  </a:lnTo>
                  <a:lnTo>
                    <a:pt x="12613" y="3563"/>
                  </a:lnTo>
                  <a:lnTo>
                    <a:pt x="5452" y="1"/>
                  </a:lnTo>
                  <a:close/>
                </a:path>
              </a:pathLst>
            </a:custGeom>
            <a:solidFill>
              <a:srgbClr val="DC53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9" name="Google Shape;2668;p11">
              <a:extLst>
                <a:ext uri="{FF2B5EF4-FFF2-40B4-BE49-F238E27FC236}">
                  <a16:creationId xmlns:a16="http://schemas.microsoft.com/office/drawing/2014/main" id="{AC2C66CF-02DE-925C-0357-4C0E1BD497C1}"/>
                </a:ext>
              </a:extLst>
            </p:cNvPr>
            <p:cNvSpPr/>
            <p:nvPr/>
          </p:nvSpPr>
          <p:spPr>
            <a:xfrm>
              <a:off x="670625" y="4066875"/>
              <a:ext cx="315325" cy="394375"/>
            </a:xfrm>
            <a:custGeom>
              <a:avLst/>
              <a:gdLst/>
              <a:ahLst/>
              <a:cxnLst/>
              <a:rect l="l" t="t" r="r" b="b"/>
              <a:pathLst>
                <a:path w="12613" h="15775" fill="none" extrusionOk="0">
                  <a:moveTo>
                    <a:pt x="12613" y="3563"/>
                  </a:moveTo>
                  <a:lnTo>
                    <a:pt x="5452" y="1"/>
                  </a:lnTo>
                  <a:lnTo>
                    <a:pt x="364" y="10250"/>
                  </a:lnTo>
                  <a:lnTo>
                    <a:pt x="364" y="10250"/>
                  </a:lnTo>
                  <a:lnTo>
                    <a:pt x="219" y="10577"/>
                  </a:lnTo>
                  <a:lnTo>
                    <a:pt x="110" y="10941"/>
                  </a:lnTo>
                  <a:lnTo>
                    <a:pt x="37" y="11268"/>
                  </a:lnTo>
                  <a:lnTo>
                    <a:pt x="1" y="11595"/>
                  </a:lnTo>
                  <a:lnTo>
                    <a:pt x="1" y="11958"/>
                  </a:lnTo>
                  <a:lnTo>
                    <a:pt x="1" y="12285"/>
                  </a:lnTo>
                  <a:lnTo>
                    <a:pt x="73" y="12649"/>
                  </a:lnTo>
                  <a:lnTo>
                    <a:pt x="182" y="12976"/>
                  </a:lnTo>
                  <a:lnTo>
                    <a:pt x="291" y="13267"/>
                  </a:lnTo>
                  <a:lnTo>
                    <a:pt x="437" y="13594"/>
                  </a:lnTo>
                  <a:lnTo>
                    <a:pt x="618" y="13885"/>
                  </a:lnTo>
                  <a:lnTo>
                    <a:pt x="837" y="14139"/>
                  </a:lnTo>
                  <a:lnTo>
                    <a:pt x="1091" y="14394"/>
                  </a:lnTo>
                  <a:lnTo>
                    <a:pt x="1345" y="14648"/>
                  </a:lnTo>
                  <a:lnTo>
                    <a:pt x="1636" y="14830"/>
                  </a:lnTo>
                  <a:lnTo>
                    <a:pt x="1963" y="15011"/>
                  </a:lnTo>
                  <a:lnTo>
                    <a:pt x="2726" y="15411"/>
                  </a:lnTo>
                  <a:lnTo>
                    <a:pt x="2726" y="15411"/>
                  </a:lnTo>
                  <a:lnTo>
                    <a:pt x="3090" y="15557"/>
                  </a:lnTo>
                  <a:lnTo>
                    <a:pt x="3417" y="15666"/>
                  </a:lnTo>
                  <a:lnTo>
                    <a:pt x="3744" y="15738"/>
                  </a:lnTo>
                  <a:lnTo>
                    <a:pt x="4108" y="15775"/>
                  </a:lnTo>
                  <a:lnTo>
                    <a:pt x="4435" y="15775"/>
                  </a:lnTo>
                  <a:lnTo>
                    <a:pt x="4798" y="15738"/>
                  </a:lnTo>
                  <a:lnTo>
                    <a:pt x="5125" y="15702"/>
                  </a:lnTo>
                  <a:lnTo>
                    <a:pt x="5452" y="15593"/>
                  </a:lnTo>
                  <a:lnTo>
                    <a:pt x="5780" y="15484"/>
                  </a:lnTo>
                  <a:lnTo>
                    <a:pt x="6070" y="15302"/>
                  </a:lnTo>
                  <a:lnTo>
                    <a:pt x="6361" y="15120"/>
                  </a:lnTo>
                  <a:lnTo>
                    <a:pt x="6652" y="14939"/>
                  </a:lnTo>
                  <a:lnTo>
                    <a:pt x="6906" y="14684"/>
                  </a:lnTo>
                  <a:lnTo>
                    <a:pt x="7124" y="14430"/>
                  </a:lnTo>
                  <a:lnTo>
                    <a:pt x="7342" y="14139"/>
                  </a:lnTo>
                  <a:lnTo>
                    <a:pt x="7524" y="13812"/>
                  </a:lnTo>
                  <a:lnTo>
                    <a:pt x="12613" y="356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0" name="Google Shape;2669;p11">
              <a:extLst>
                <a:ext uri="{FF2B5EF4-FFF2-40B4-BE49-F238E27FC236}">
                  <a16:creationId xmlns:a16="http://schemas.microsoft.com/office/drawing/2014/main" id="{5C88D79B-23D8-99FD-263D-38C6ACD7499D}"/>
                </a:ext>
              </a:extLst>
            </p:cNvPr>
            <p:cNvSpPr/>
            <p:nvPr/>
          </p:nvSpPr>
          <p:spPr>
            <a:xfrm>
              <a:off x="745125" y="1323675"/>
              <a:ext cx="1558350" cy="2955850"/>
            </a:xfrm>
            <a:custGeom>
              <a:avLst/>
              <a:gdLst/>
              <a:ahLst/>
              <a:cxnLst/>
              <a:rect l="l" t="t" r="r" b="b"/>
              <a:pathLst>
                <a:path w="62334" h="118234" extrusionOk="0">
                  <a:moveTo>
                    <a:pt x="60844" y="1"/>
                  </a:moveTo>
                  <a:lnTo>
                    <a:pt x="60626" y="37"/>
                  </a:lnTo>
                  <a:lnTo>
                    <a:pt x="60407" y="74"/>
                  </a:lnTo>
                  <a:lnTo>
                    <a:pt x="60189" y="183"/>
                  </a:lnTo>
                  <a:lnTo>
                    <a:pt x="59971" y="292"/>
                  </a:lnTo>
                  <a:lnTo>
                    <a:pt x="59753" y="473"/>
                  </a:lnTo>
                  <a:lnTo>
                    <a:pt x="53756" y="6761"/>
                  </a:lnTo>
                  <a:lnTo>
                    <a:pt x="1" y="114672"/>
                  </a:lnTo>
                  <a:lnTo>
                    <a:pt x="7161" y="118234"/>
                  </a:lnTo>
                  <a:lnTo>
                    <a:pt x="60916" y="10323"/>
                  </a:lnTo>
                  <a:lnTo>
                    <a:pt x="62297" y="1746"/>
                  </a:lnTo>
                  <a:lnTo>
                    <a:pt x="62334" y="1491"/>
                  </a:lnTo>
                  <a:lnTo>
                    <a:pt x="62297" y="1237"/>
                  </a:lnTo>
                  <a:lnTo>
                    <a:pt x="62225" y="982"/>
                  </a:lnTo>
                  <a:lnTo>
                    <a:pt x="62152" y="801"/>
                  </a:lnTo>
                  <a:lnTo>
                    <a:pt x="62007" y="582"/>
                  </a:lnTo>
                  <a:lnTo>
                    <a:pt x="61861" y="437"/>
                  </a:lnTo>
                  <a:lnTo>
                    <a:pt x="61680" y="292"/>
                  </a:lnTo>
                  <a:lnTo>
                    <a:pt x="61498" y="183"/>
                  </a:lnTo>
                  <a:lnTo>
                    <a:pt x="61280" y="74"/>
                  </a:lnTo>
                  <a:lnTo>
                    <a:pt x="61062" y="37"/>
                  </a:lnTo>
                  <a:lnTo>
                    <a:pt x="60844" y="1"/>
                  </a:lnTo>
                  <a:close/>
                </a:path>
              </a:pathLst>
            </a:custGeom>
            <a:solidFill>
              <a:srgbClr val="FCBF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1" name="Google Shape;2670;p11">
              <a:extLst>
                <a:ext uri="{FF2B5EF4-FFF2-40B4-BE49-F238E27FC236}">
                  <a16:creationId xmlns:a16="http://schemas.microsoft.com/office/drawing/2014/main" id="{217EA44F-5D6B-DF14-EEA8-5974D8BDD489}"/>
                </a:ext>
              </a:extLst>
            </p:cNvPr>
            <p:cNvSpPr/>
            <p:nvPr/>
          </p:nvSpPr>
          <p:spPr>
            <a:xfrm>
              <a:off x="2087200" y="1269175"/>
              <a:ext cx="238100" cy="312600"/>
            </a:xfrm>
            <a:custGeom>
              <a:avLst/>
              <a:gdLst/>
              <a:ahLst/>
              <a:cxnLst/>
              <a:rect l="l" t="t" r="r" b="b"/>
              <a:pathLst>
                <a:path w="9524" h="12504" extrusionOk="0">
                  <a:moveTo>
                    <a:pt x="8324" y="0"/>
                  </a:moveTo>
                  <a:lnTo>
                    <a:pt x="8142" y="37"/>
                  </a:lnTo>
                  <a:lnTo>
                    <a:pt x="7997" y="109"/>
                  </a:lnTo>
                  <a:lnTo>
                    <a:pt x="7851" y="218"/>
                  </a:lnTo>
                  <a:lnTo>
                    <a:pt x="7706" y="327"/>
                  </a:lnTo>
                  <a:lnTo>
                    <a:pt x="73" y="8941"/>
                  </a:lnTo>
                  <a:lnTo>
                    <a:pt x="1" y="9087"/>
                  </a:lnTo>
                  <a:lnTo>
                    <a:pt x="328" y="9414"/>
                  </a:lnTo>
                  <a:lnTo>
                    <a:pt x="546" y="9741"/>
                  </a:lnTo>
                  <a:lnTo>
                    <a:pt x="691" y="10032"/>
                  </a:lnTo>
                  <a:lnTo>
                    <a:pt x="764" y="10286"/>
                  </a:lnTo>
                  <a:lnTo>
                    <a:pt x="836" y="10504"/>
                  </a:lnTo>
                  <a:lnTo>
                    <a:pt x="946" y="10686"/>
                  </a:lnTo>
                  <a:lnTo>
                    <a:pt x="1055" y="10831"/>
                  </a:lnTo>
                  <a:lnTo>
                    <a:pt x="1236" y="10940"/>
                  </a:lnTo>
                  <a:lnTo>
                    <a:pt x="1382" y="10977"/>
                  </a:lnTo>
                  <a:lnTo>
                    <a:pt x="1563" y="10977"/>
                  </a:lnTo>
                  <a:lnTo>
                    <a:pt x="1709" y="10940"/>
                  </a:lnTo>
                  <a:lnTo>
                    <a:pt x="1891" y="10868"/>
                  </a:lnTo>
                  <a:lnTo>
                    <a:pt x="2218" y="10722"/>
                  </a:lnTo>
                  <a:lnTo>
                    <a:pt x="2581" y="10504"/>
                  </a:lnTo>
                  <a:lnTo>
                    <a:pt x="2945" y="10322"/>
                  </a:lnTo>
                  <a:lnTo>
                    <a:pt x="3272" y="10141"/>
                  </a:lnTo>
                  <a:lnTo>
                    <a:pt x="3453" y="10104"/>
                  </a:lnTo>
                  <a:lnTo>
                    <a:pt x="3599" y="10068"/>
                  </a:lnTo>
                  <a:lnTo>
                    <a:pt x="3780" y="10104"/>
                  </a:lnTo>
                  <a:lnTo>
                    <a:pt x="3926" y="10141"/>
                  </a:lnTo>
                  <a:lnTo>
                    <a:pt x="4071" y="10250"/>
                  </a:lnTo>
                  <a:lnTo>
                    <a:pt x="4180" y="10322"/>
                  </a:lnTo>
                  <a:lnTo>
                    <a:pt x="4253" y="10395"/>
                  </a:lnTo>
                  <a:lnTo>
                    <a:pt x="4289" y="10504"/>
                  </a:lnTo>
                  <a:lnTo>
                    <a:pt x="4326" y="10686"/>
                  </a:lnTo>
                  <a:lnTo>
                    <a:pt x="4326" y="10904"/>
                  </a:lnTo>
                  <a:lnTo>
                    <a:pt x="4362" y="11086"/>
                  </a:lnTo>
                  <a:lnTo>
                    <a:pt x="4398" y="11267"/>
                  </a:lnTo>
                  <a:lnTo>
                    <a:pt x="4435" y="11376"/>
                  </a:lnTo>
                  <a:lnTo>
                    <a:pt x="4507" y="11449"/>
                  </a:lnTo>
                  <a:lnTo>
                    <a:pt x="4616" y="11558"/>
                  </a:lnTo>
                  <a:lnTo>
                    <a:pt x="4762" y="11631"/>
                  </a:lnTo>
                  <a:lnTo>
                    <a:pt x="5016" y="11740"/>
                  </a:lnTo>
                  <a:lnTo>
                    <a:pt x="5271" y="11776"/>
                  </a:lnTo>
                  <a:lnTo>
                    <a:pt x="5452" y="11776"/>
                  </a:lnTo>
                  <a:lnTo>
                    <a:pt x="5634" y="11740"/>
                  </a:lnTo>
                  <a:lnTo>
                    <a:pt x="5961" y="11704"/>
                  </a:lnTo>
                  <a:lnTo>
                    <a:pt x="6107" y="11704"/>
                  </a:lnTo>
                  <a:lnTo>
                    <a:pt x="6288" y="11776"/>
                  </a:lnTo>
                  <a:lnTo>
                    <a:pt x="6434" y="11849"/>
                  </a:lnTo>
                  <a:lnTo>
                    <a:pt x="6470" y="11922"/>
                  </a:lnTo>
                  <a:lnTo>
                    <a:pt x="6506" y="12031"/>
                  </a:lnTo>
                  <a:lnTo>
                    <a:pt x="6543" y="12103"/>
                  </a:lnTo>
                  <a:lnTo>
                    <a:pt x="6652" y="12212"/>
                  </a:lnTo>
                  <a:lnTo>
                    <a:pt x="6870" y="12321"/>
                  </a:lnTo>
                  <a:lnTo>
                    <a:pt x="7233" y="12503"/>
                  </a:lnTo>
                  <a:lnTo>
                    <a:pt x="9487" y="1236"/>
                  </a:lnTo>
                  <a:lnTo>
                    <a:pt x="9523" y="1018"/>
                  </a:lnTo>
                  <a:lnTo>
                    <a:pt x="9487" y="836"/>
                  </a:lnTo>
                  <a:lnTo>
                    <a:pt x="9450" y="691"/>
                  </a:lnTo>
                  <a:lnTo>
                    <a:pt x="9378" y="545"/>
                  </a:lnTo>
                  <a:lnTo>
                    <a:pt x="9305" y="400"/>
                  </a:lnTo>
                  <a:lnTo>
                    <a:pt x="9196" y="291"/>
                  </a:lnTo>
                  <a:lnTo>
                    <a:pt x="9087" y="182"/>
                  </a:lnTo>
                  <a:lnTo>
                    <a:pt x="8942" y="109"/>
                  </a:lnTo>
                  <a:lnTo>
                    <a:pt x="8796" y="37"/>
                  </a:lnTo>
                  <a:lnTo>
                    <a:pt x="8651" y="0"/>
                  </a:lnTo>
                  <a:close/>
                </a:path>
              </a:pathLst>
            </a:custGeom>
            <a:solidFill>
              <a:srgbClr val="FFAE8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2" name="Google Shape;2671;p11">
              <a:extLst>
                <a:ext uri="{FF2B5EF4-FFF2-40B4-BE49-F238E27FC236}">
                  <a16:creationId xmlns:a16="http://schemas.microsoft.com/office/drawing/2014/main" id="{5E8E3B55-7546-6C87-7DAE-7A4BE2518AA2}"/>
                </a:ext>
              </a:extLst>
            </p:cNvPr>
            <p:cNvSpPr/>
            <p:nvPr/>
          </p:nvSpPr>
          <p:spPr>
            <a:xfrm>
              <a:off x="2238025" y="1242825"/>
              <a:ext cx="94525" cy="119950"/>
            </a:xfrm>
            <a:custGeom>
              <a:avLst/>
              <a:gdLst/>
              <a:ahLst/>
              <a:cxnLst/>
              <a:rect l="l" t="t" r="r" b="b"/>
              <a:pathLst>
                <a:path w="3781" h="4798" extrusionOk="0">
                  <a:moveTo>
                    <a:pt x="3090" y="0"/>
                  </a:moveTo>
                  <a:lnTo>
                    <a:pt x="2909" y="37"/>
                  </a:lnTo>
                  <a:lnTo>
                    <a:pt x="2763" y="182"/>
                  </a:lnTo>
                  <a:lnTo>
                    <a:pt x="37" y="3271"/>
                  </a:lnTo>
                  <a:lnTo>
                    <a:pt x="1" y="3344"/>
                  </a:lnTo>
                  <a:lnTo>
                    <a:pt x="37" y="3417"/>
                  </a:lnTo>
                  <a:lnTo>
                    <a:pt x="255" y="3635"/>
                  </a:lnTo>
                  <a:lnTo>
                    <a:pt x="473" y="3744"/>
                  </a:lnTo>
                  <a:lnTo>
                    <a:pt x="691" y="3816"/>
                  </a:lnTo>
                  <a:lnTo>
                    <a:pt x="910" y="3816"/>
                  </a:lnTo>
                  <a:lnTo>
                    <a:pt x="1346" y="3780"/>
                  </a:lnTo>
                  <a:lnTo>
                    <a:pt x="1564" y="3816"/>
                  </a:lnTo>
                  <a:lnTo>
                    <a:pt x="1746" y="3889"/>
                  </a:lnTo>
                  <a:lnTo>
                    <a:pt x="1964" y="4035"/>
                  </a:lnTo>
                  <a:lnTo>
                    <a:pt x="2218" y="4253"/>
                  </a:lnTo>
                  <a:lnTo>
                    <a:pt x="2763" y="4798"/>
                  </a:lnTo>
                  <a:lnTo>
                    <a:pt x="2872" y="4798"/>
                  </a:lnTo>
                  <a:lnTo>
                    <a:pt x="2945" y="4761"/>
                  </a:lnTo>
                  <a:lnTo>
                    <a:pt x="2945" y="4725"/>
                  </a:lnTo>
                  <a:lnTo>
                    <a:pt x="3781" y="691"/>
                  </a:lnTo>
                  <a:lnTo>
                    <a:pt x="3781" y="473"/>
                  </a:lnTo>
                  <a:lnTo>
                    <a:pt x="3708" y="291"/>
                  </a:lnTo>
                  <a:lnTo>
                    <a:pt x="3599" y="146"/>
                  </a:lnTo>
                  <a:lnTo>
                    <a:pt x="3454" y="37"/>
                  </a:lnTo>
                  <a:lnTo>
                    <a:pt x="327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3" name="Google Shape;2672;p11">
              <a:extLst>
                <a:ext uri="{FF2B5EF4-FFF2-40B4-BE49-F238E27FC236}">
                  <a16:creationId xmlns:a16="http://schemas.microsoft.com/office/drawing/2014/main" id="{478A1414-8206-2974-CF7B-B56982CA1400}"/>
                </a:ext>
              </a:extLst>
            </p:cNvPr>
            <p:cNvSpPr/>
            <p:nvPr/>
          </p:nvSpPr>
          <p:spPr>
            <a:xfrm>
              <a:off x="716050" y="2627600"/>
              <a:ext cx="139975" cy="259875"/>
            </a:xfrm>
            <a:custGeom>
              <a:avLst/>
              <a:gdLst/>
              <a:ahLst/>
              <a:cxnLst/>
              <a:rect l="l" t="t" r="r" b="b"/>
              <a:pathLst>
                <a:path w="5599" h="10395" extrusionOk="0">
                  <a:moveTo>
                    <a:pt x="3853" y="0"/>
                  </a:moveTo>
                  <a:lnTo>
                    <a:pt x="3781" y="36"/>
                  </a:lnTo>
                  <a:lnTo>
                    <a:pt x="3672" y="109"/>
                  </a:lnTo>
                  <a:lnTo>
                    <a:pt x="3563" y="218"/>
                  </a:lnTo>
                  <a:lnTo>
                    <a:pt x="3454" y="363"/>
                  </a:lnTo>
                  <a:lnTo>
                    <a:pt x="3199" y="763"/>
                  </a:lnTo>
                  <a:lnTo>
                    <a:pt x="2690" y="1817"/>
                  </a:lnTo>
                  <a:lnTo>
                    <a:pt x="2182" y="2871"/>
                  </a:lnTo>
                  <a:lnTo>
                    <a:pt x="1128" y="4834"/>
                  </a:lnTo>
                  <a:lnTo>
                    <a:pt x="1" y="6797"/>
                  </a:lnTo>
                  <a:lnTo>
                    <a:pt x="110" y="7015"/>
                  </a:lnTo>
                  <a:lnTo>
                    <a:pt x="401" y="7487"/>
                  </a:lnTo>
                  <a:lnTo>
                    <a:pt x="582" y="7814"/>
                  </a:lnTo>
                  <a:lnTo>
                    <a:pt x="837" y="8105"/>
                  </a:lnTo>
                  <a:lnTo>
                    <a:pt x="1128" y="8396"/>
                  </a:lnTo>
                  <a:lnTo>
                    <a:pt x="1418" y="8687"/>
                  </a:lnTo>
                  <a:lnTo>
                    <a:pt x="1818" y="8941"/>
                  </a:lnTo>
                  <a:lnTo>
                    <a:pt x="2327" y="9196"/>
                  </a:lnTo>
                  <a:lnTo>
                    <a:pt x="3454" y="9777"/>
                  </a:lnTo>
                  <a:lnTo>
                    <a:pt x="4508" y="10213"/>
                  </a:lnTo>
                  <a:lnTo>
                    <a:pt x="4908" y="10359"/>
                  </a:lnTo>
                  <a:lnTo>
                    <a:pt x="5126" y="10395"/>
                  </a:lnTo>
                  <a:lnTo>
                    <a:pt x="5271" y="10395"/>
                  </a:lnTo>
                  <a:lnTo>
                    <a:pt x="5380" y="10322"/>
                  </a:lnTo>
                  <a:lnTo>
                    <a:pt x="5489" y="10250"/>
                  </a:lnTo>
                  <a:lnTo>
                    <a:pt x="5525" y="10140"/>
                  </a:lnTo>
                  <a:lnTo>
                    <a:pt x="5562" y="9995"/>
                  </a:lnTo>
                  <a:lnTo>
                    <a:pt x="5598" y="9813"/>
                  </a:lnTo>
                  <a:lnTo>
                    <a:pt x="5562" y="9450"/>
                  </a:lnTo>
                  <a:lnTo>
                    <a:pt x="5489" y="9050"/>
                  </a:lnTo>
                  <a:lnTo>
                    <a:pt x="5380" y="8650"/>
                  </a:lnTo>
                  <a:lnTo>
                    <a:pt x="5235" y="8251"/>
                  </a:lnTo>
                  <a:lnTo>
                    <a:pt x="5089" y="7960"/>
                  </a:lnTo>
                  <a:lnTo>
                    <a:pt x="4944" y="7633"/>
                  </a:lnTo>
                  <a:lnTo>
                    <a:pt x="4835" y="7269"/>
                  </a:lnTo>
                  <a:lnTo>
                    <a:pt x="4726" y="6833"/>
                  </a:lnTo>
                  <a:lnTo>
                    <a:pt x="4726" y="6324"/>
                  </a:lnTo>
                  <a:lnTo>
                    <a:pt x="4726" y="5706"/>
                  </a:lnTo>
                  <a:lnTo>
                    <a:pt x="4798" y="5016"/>
                  </a:lnTo>
                  <a:lnTo>
                    <a:pt x="4908" y="4216"/>
                  </a:lnTo>
                  <a:lnTo>
                    <a:pt x="5089" y="3307"/>
                  </a:lnTo>
                  <a:lnTo>
                    <a:pt x="4980" y="2508"/>
                  </a:lnTo>
                  <a:lnTo>
                    <a:pt x="4835" y="1781"/>
                  </a:lnTo>
                  <a:lnTo>
                    <a:pt x="4617" y="1018"/>
                  </a:lnTo>
                  <a:lnTo>
                    <a:pt x="4508" y="654"/>
                  </a:lnTo>
                  <a:lnTo>
                    <a:pt x="4362" y="363"/>
                  </a:lnTo>
                  <a:lnTo>
                    <a:pt x="4217" y="145"/>
                  </a:lnTo>
                  <a:lnTo>
                    <a:pt x="4144" y="73"/>
                  </a:lnTo>
                  <a:lnTo>
                    <a:pt x="4072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4" name="Google Shape;2673;p11">
              <a:extLst>
                <a:ext uri="{FF2B5EF4-FFF2-40B4-BE49-F238E27FC236}">
                  <a16:creationId xmlns:a16="http://schemas.microsoft.com/office/drawing/2014/main" id="{AB4A0B16-9892-34DF-9602-D4C76947936D}"/>
                </a:ext>
              </a:extLst>
            </p:cNvPr>
            <p:cNvSpPr/>
            <p:nvPr/>
          </p:nvSpPr>
          <p:spPr>
            <a:xfrm>
              <a:off x="716050" y="2627600"/>
              <a:ext cx="139975" cy="259875"/>
            </a:xfrm>
            <a:custGeom>
              <a:avLst/>
              <a:gdLst/>
              <a:ahLst/>
              <a:cxnLst/>
              <a:rect l="l" t="t" r="r" b="b"/>
              <a:pathLst>
                <a:path w="5599" h="10395" fill="none" extrusionOk="0">
                  <a:moveTo>
                    <a:pt x="5089" y="3307"/>
                  </a:moveTo>
                  <a:lnTo>
                    <a:pt x="5089" y="3307"/>
                  </a:lnTo>
                  <a:lnTo>
                    <a:pt x="4908" y="4216"/>
                  </a:lnTo>
                  <a:lnTo>
                    <a:pt x="4798" y="5016"/>
                  </a:lnTo>
                  <a:lnTo>
                    <a:pt x="4726" y="5706"/>
                  </a:lnTo>
                  <a:lnTo>
                    <a:pt x="4726" y="6324"/>
                  </a:lnTo>
                  <a:lnTo>
                    <a:pt x="4726" y="6833"/>
                  </a:lnTo>
                  <a:lnTo>
                    <a:pt x="4835" y="7269"/>
                  </a:lnTo>
                  <a:lnTo>
                    <a:pt x="4944" y="7633"/>
                  </a:lnTo>
                  <a:lnTo>
                    <a:pt x="5089" y="7960"/>
                  </a:lnTo>
                  <a:lnTo>
                    <a:pt x="5089" y="7960"/>
                  </a:lnTo>
                  <a:lnTo>
                    <a:pt x="5235" y="8251"/>
                  </a:lnTo>
                  <a:lnTo>
                    <a:pt x="5380" y="8650"/>
                  </a:lnTo>
                  <a:lnTo>
                    <a:pt x="5489" y="9050"/>
                  </a:lnTo>
                  <a:lnTo>
                    <a:pt x="5562" y="9450"/>
                  </a:lnTo>
                  <a:lnTo>
                    <a:pt x="5598" y="9813"/>
                  </a:lnTo>
                  <a:lnTo>
                    <a:pt x="5562" y="9995"/>
                  </a:lnTo>
                  <a:lnTo>
                    <a:pt x="5525" y="10140"/>
                  </a:lnTo>
                  <a:lnTo>
                    <a:pt x="5489" y="10250"/>
                  </a:lnTo>
                  <a:lnTo>
                    <a:pt x="5380" y="10322"/>
                  </a:lnTo>
                  <a:lnTo>
                    <a:pt x="5271" y="10395"/>
                  </a:lnTo>
                  <a:lnTo>
                    <a:pt x="5126" y="10395"/>
                  </a:lnTo>
                  <a:lnTo>
                    <a:pt x="5126" y="10395"/>
                  </a:lnTo>
                  <a:lnTo>
                    <a:pt x="4908" y="10359"/>
                  </a:lnTo>
                  <a:lnTo>
                    <a:pt x="4508" y="10213"/>
                  </a:lnTo>
                  <a:lnTo>
                    <a:pt x="3454" y="9777"/>
                  </a:lnTo>
                  <a:lnTo>
                    <a:pt x="2327" y="9196"/>
                  </a:lnTo>
                  <a:lnTo>
                    <a:pt x="1818" y="8941"/>
                  </a:lnTo>
                  <a:lnTo>
                    <a:pt x="1418" y="8687"/>
                  </a:lnTo>
                  <a:lnTo>
                    <a:pt x="1418" y="8687"/>
                  </a:lnTo>
                  <a:lnTo>
                    <a:pt x="1128" y="8396"/>
                  </a:lnTo>
                  <a:lnTo>
                    <a:pt x="837" y="8105"/>
                  </a:lnTo>
                  <a:lnTo>
                    <a:pt x="582" y="7814"/>
                  </a:lnTo>
                  <a:lnTo>
                    <a:pt x="401" y="7487"/>
                  </a:lnTo>
                  <a:lnTo>
                    <a:pt x="110" y="7015"/>
                  </a:lnTo>
                  <a:lnTo>
                    <a:pt x="1" y="6797"/>
                  </a:lnTo>
                  <a:lnTo>
                    <a:pt x="1" y="6797"/>
                  </a:lnTo>
                  <a:lnTo>
                    <a:pt x="1128" y="4834"/>
                  </a:lnTo>
                  <a:lnTo>
                    <a:pt x="2182" y="2871"/>
                  </a:lnTo>
                  <a:lnTo>
                    <a:pt x="2690" y="1817"/>
                  </a:lnTo>
                  <a:lnTo>
                    <a:pt x="3199" y="763"/>
                  </a:lnTo>
                  <a:lnTo>
                    <a:pt x="3199" y="763"/>
                  </a:lnTo>
                  <a:lnTo>
                    <a:pt x="3454" y="363"/>
                  </a:lnTo>
                  <a:lnTo>
                    <a:pt x="3563" y="218"/>
                  </a:lnTo>
                  <a:lnTo>
                    <a:pt x="3672" y="109"/>
                  </a:lnTo>
                  <a:lnTo>
                    <a:pt x="3781" y="36"/>
                  </a:lnTo>
                  <a:lnTo>
                    <a:pt x="3853" y="0"/>
                  </a:lnTo>
                  <a:lnTo>
                    <a:pt x="3963" y="0"/>
                  </a:lnTo>
                  <a:lnTo>
                    <a:pt x="4072" y="0"/>
                  </a:lnTo>
                  <a:lnTo>
                    <a:pt x="4144" y="73"/>
                  </a:lnTo>
                  <a:lnTo>
                    <a:pt x="4217" y="145"/>
                  </a:lnTo>
                  <a:lnTo>
                    <a:pt x="4362" y="363"/>
                  </a:lnTo>
                  <a:lnTo>
                    <a:pt x="4508" y="654"/>
                  </a:lnTo>
                  <a:lnTo>
                    <a:pt x="4617" y="1018"/>
                  </a:lnTo>
                  <a:lnTo>
                    <a:pt x="4835" y="1781"/>
                  </a:lnTo>
                  <a:lnTo>
                    <a:pt x="4980" y="2508"/>
                  </a:lnTo>
                  <a:lnTo>
                    <a:pt x="5089" y="330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5" name="Google Shape;2674;p11">
              <a:extLst>
                <a:ext uri="{FF2B5EF4-FFF2-40B4-BE49-F238E27FC236}">
                  <a16:creationId xmlns:a16="http://schemas.microsoft.com/office/drawing/2014/main" id="{595A5C21-135E-A69D-EAF4-3B3EF86F9FC3}"/>
                </a:ext>
              </a:extLst>
            </p:cNvPr>
            <p:cNvSpPr/>
            <p:nvPr/>
          </p:nvSpPr>
          <p:spPr>
            <a:xfrm>
              <a:off x="835100" y="2710275"/>
              <a:ext cx="8200" cy="47275"/>
            </a:xfrm>
            <a:custGeom>
              <a:avLst/>
              <a:gdLst/>
              <a:ahLst/>
              <a:cxnLst/>
              <a:rect l="l" t="t" r="r" b="b"/>
              <a:pathLst>
                <a:path w="328" h="1891" extrusionOk="0">
                  <a:moveTo>
                    <a:pt x="327" y="0"/>
                  </a:moveTo>
                  <a:lnTo>
                    <a:pt x="182" y="691"/>
                  </a:lnTo>
                  <a:lnTo>
                    <a:pt x="146" y="909"/>
                  </a:lnTo>
                  <a:lnTo>
                    <a:pt x="146" y="909"/>
                  </a:lnTo>
                  <a:lnTo>
                    <a:pt x="327" y="0"/>
                  </a:lnTo>
                  <a:close/>
                  <a:moveTo>
                    <a:pt x="146" y="909"/>
                  </a:moveTo>
                  <a:lnTo>
                    <a:pt x="73" y="1273"/>
                  </a:lnTo>
                  <a:lnTo>
                    <a:pt x="0" y="1890"/>
                  </a:lnTo>
                  <a:lnTo>
                    <a:pt x="73" y="1345"/>
                  </a:lnTo>
                  <a:lnTo>
                    <a:pt x="146" y="909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6" name="Google Shape;2675;p11">
              <a:extLst>
                <a:ext uri="{FF2B5EF4-FFF2-40B4-BE49-F238E27FC236}">
                  <a16:creationId xmlns:a16="http://schemas.microsoft.com/office/drawing/2014/main" id="{2F668885-3215-00FE-14CA-ACAB7FB81DC6}"/>
                </a:ext>
              </a:extLst>
            </p:cNvPr>
            <p:cNvSpPr/>
            <p:nvPr/>
          </p:nvSpPr>
          <p:spPr>
            <a:xfrm>
              <a:off x="834175" y="2710275"/>
              <a:ext cx="9125" cy="60900"/>
            </a:xfrm>
            <a:custGeom>
              <a:avLst/>
              <a:gdLst/>
              <a:ahLst/>
              <a:cxnLst/>
              <a:rect l="l" t="t" r="r" b="b"/>
              <a:pathLst>
                <a:path w="365" h="2436" fill="none" extrusionOk="0">
                  <a:moveTo>
                    <a:pt x="364" y="0"/>
                  </a:moveTo>
                  <a:lnTo>
                    <a:pt x="364" y="0"/>
                  </a:lnTo>
                  <a:lnTo>
                    <a:pt x="219" y="691"/>
                  </a:lnTo>
                  <a:lnTo>
                    <a:pt x="110" y="1345"/>
                  </a:lnTo>
                  <a:lnTo>
                    <a:pt x="37" y="1890"/>
                  </a:lnTo>
                  <a:lnTo>
                    <a:pt x="1" y="2436"/>
                  </a:lnTo>
                  <a:lnTo>
                    <a:pt x="1" y="2436"/>
                  </a:lnTo>
                  <a:lnTo>
                    <a:pt x="1" y="2436"/>
                  </a:lnTo>
                  <a:lnTo>
                    <a:pt x="1" y="2436"/>
                  </a:lnTo>
                  <a:lnTo>
                    <a:pt x="37" y="1890"/>
                  </a:lnTo>
                  <a:lnTo>
                    <a:pt x="110" y="1273"/>
                  </a:lnTo>
                  <a:lnTo>
                    <a:pt x="110" y="1273"/>
                  </a:lnTo>
                  <a:lnTo>
                    <a:pt x="364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7" name="Google Shape;2676;p11">
              <a:extLst>
                <a:ext uri="{FF2B5EF4-FFF2-40B4-BE49-F238E27FC236}">
                  <a16:creationId xmlns:a16="http://schemas.microsoft.com/office/drawing/2014/main" id="{8EE8093E-E047-697A-C2DD-BC2F5497E66F}"/>
                </a:ext>
              </a:extLst>
            </p:cNvPr>
            <p:cNvSpPr/>
            <p:nvPr/>
          </p:nvSpPr>
          <p:spPr>
            <a:xfrm>
              <a:off x="791475" y="2693925"/>
              <a:ext cx="51825" cy="77250"/>
            </a:xfrm>
            <a:custGeom>
              <a:avLst/>
              <a:gdLst/>
              <a:ahLst/>
              <a:cxnLst/>
              <a:rect l="l" t="t" r="r" b="b"/>
              <a:pathLst>
                <a:path w="2073" h="3090" extrusionOk="0">
                  <a:moveTo>
                    <a:pt x="582" y="0"/>
                  </a:moveTo>
                  <a:lnTo>
                    <a:pt x="437" y="37"/>
                  </a:lnTo>
                  <a:lnTo>
                    <a:pt x="328" y="146"/>
                  </a:lnTo>
                  <a:lnTo>
                    <a:pt x="219" y="291"/>
                  </a:lnTo>
                  <a:lnTo>
                    <a:pt x="110" y="509"/>
                  </a:lnTo>
                  <a:lnTo>
                    <a:pt x="37" y="727"/>
                  </a:lnTo>
                  <a:lnTo>
                    <a:pt x="1" y="982"/>
                  </a:lnTo>
                  <a:lnTo>
                    <a:pt x="1" y="1200"/>
                  </a:lnTo>
                  <a:lnTo>
                    <a:pt x="73" y="1418"/>
                  </a:lnTo>
                  <a:lnTo>
                    <a:pt x="255" y="1745"/>
                  </a:lnTo>
                  <a:lnTo>
                    <a:pt x="618" y="2181"/>
                  </a:lnTo>
                  <a:lnTo>
                    <a:pt x="836" y="2435"/>
                  </a:lnTo>
                  <a:lnTo>
                    <a:pt x="1127" y="2690"/>
                  </a:lnTo>
                  <a:lnTo>
                    <a:pt x="1418" y="2908"/>
                  </a:lnTo>
                  <a:lnTo>
                    <a:pt x="1709" y="3090"/>
                  </a:lnTo>
                  <a:lnTo>
                    <a:pt x="1745" y="2544"/>
                  </a:lnTo>
                  <a:lnTo>
                    <a:pt x="1818" y="1999"/>
                  </a:lnTo>
                  <a:lnTo>
                    <a:pt x="1927" y="1345"/>
                  </a:lnTo>
                  <a:lnTo>
                    <a:pt x="2072" y="654"/>
                  </a:lnTo>
                  <a:lnTo>
                    <a:pt x="1781" y="436"/>
                  </a:lnTo>
                  <a:lnTo>
                    <a:pt x="1636" y="327"/>
                  </a:lnTo>
                  <a:lnTo>
                    <a:pt x="1527" y="291"/>
                  </a:lnTo>
                  <a:lnTo>
                    <a:pt x="1127" y="255"/>
                  </a:lnTo>
                  <a:lnTo>
                    <a:pt x="909" y="182"/>
                  </a:lnTo>
                  <a:lnTo>
                    <a:pt x="800" y="146"/>
                  </a:lnTo>
                  <a:lnTo>
                    <a:pt x="727" y="73"/>
                  </a:lnTo>
                  <a:lnTo>
                    <a:pt x="655" y="0"/>
                  </a:lnTo>
                  <a:close/>
                </a:path>
              </a:pathLst>
            </a:custGeom>
            <a:solidFill>
              <a:srgbClr val="B988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8" name="Google Shape;2677;p11">
              <a:extLst>
                <a:ext uri="{FF2B5EF4-FFF2-40B4-BE49-F238E27FC236}">
                  <a16:creationId xmlns:a16="http://schemas.microsoft.com/office/drawing/2014/main" id="{B81F10A7-EA8D-678F-D2EE-105903DE591F}"/>
                </a:ext>
              </a:extLst>
            </p:cNvPr>
            <p:cNvSpPr/>
            <p:nvPr/>
          </p:nvSpPr>
          <p:spPr>
            <a:xfrm>
              <a:off x="791475" y="2693925"/>
              <a:ext cx="51825" cy="77250"/>
            </a:xfrm>
            <a:custGeom>
              <a:avLst/>
              <a:gdLst/>
              <a:ahLst/>
              <a:cxnLst/>
              <a:rect l="l" t="t" r="r" b="b"/>
              <a:pathLst>
                <a:path w="2073" h="3090" fill="none" extrusionOk="0">
                  <a:moveTo>
                    <a:pt x="582" y="0"/>
                  </a:moveTo>
                  <a:lnTo>
                    <a:pt x="582" y="0"/>
                  </a:lnTo>
                  <a:lnTo>
                    <a:pt x="437" y="37"/>
                  </a:lnTo>
                  <a:lnTo>
                    <a:pt x="328" y="146"/>
                  </a:lnTo>
                  <a:lnTo>
                    <a:pt x="219" y="291"/>
                  </a:lnTo>
                  <a:lnTo>
                    <a:pt x="110" y="509"/>
                  </a:lnTo>
                  <a:lnTo>
                    <a:pt x="37" y="727"/>
                  </a:lnTo>
                  <a:lnTo>
                    <a:pt x="1" y="982"/>
                  </a:lnTo>
                  <a:lnTo>
                    <a:pt x="1" y="1200"/>
                  </a:lnTo>
                  <a:lnTo>
                    <a:pt x="73" y="1418"/>
                  </a:lnTo>
                  <a:lnTo>
                    <a:pt x="73" y="1418"/>
                  </a:lnTo>
                  <a:lnTo>
                    <a:pt x="255" y="1745"/>
                  </a:lnTo>
                  <a:lnTo>
                    <a:pt x="618" y="2181"/>
                  </a:lnTo>
                  <a:lnTo>
                    <a:pt x="836" y="2435"/>
                  </a:lnTo>
                  <a:lnTo>
                    <a:pt x="1127" y="2690"/>
                  </a:lnTo>
                  <a:lnTo>
                    <a:pt x="1418" y="2908"/>
                  </a:lnTo>
                  <a:lnTo>
                    <a:pt x="1709" y="3090"/>
                  </a:lnTo>
                  <a:lnTo>
                    <a:pt x="1709" y="3090"/>
                  </a:lnTo>
                  <a:lnTo>
                    <a:pt x="1745" y="2544"/>
                  </a:lnTo>
                  <a:lnTo>
                    <a:pt x="1818" y="1999"/>
                  </a:lnTo>
                  <a:lnTo>
                    <a:pt x="1927" y="1345"/>
                  </a:lnTo>
                  <a:lnTo>
                    <a:pt x="2072" y="654"/>
                  </a:lnTo>
                  <a:lnTo>
                    <a:pt x="2072" y="654"/>
                  </a:lnTo>
                  <a:lnTo>
                    <a:pt x="2072" y="654"/>
                  </a:lnTo>
                  <a:lnTo>
                    <a:pt x="2072" y="654"/>
                  </a:lnTo>
                  <a:lnTo>
                    <a:pt x="1781" y="436"/>
                  </a:lnTo>
                  <a:lnTo>
                    <a:pt x="1636" y="327"/>
                  </a:lnTo>
                  <a:lnTo>
                    <a:pt x="1527" y="291"/>
                  </a:lnTo>
                  <a:lnTo>
                    <a:pt x="1527" y="291"/>
                  </a:lnTo>
                  <a:lnTo>
                    <a:pt x="1127" y="255"/>
                  </a:lnTo>
                  <a:lnTo>
                    <a:pt x="909" y="182"/>
                  </a:lnTo>
                  <a:lnTo>
                    <a:pt x="800" y="146"/>
                  </a:lnTo>
                  <a:lnTo>
                    <a:pt x="727" y="73"/>
                  </a:lnTo>
                  <a:lnTo>
                    <a:pt x="727" y="73"/>
                  </a:lnTo>
                  <a:lnTo>
                    <a:pt x="655" y="0"/>
                  </a:lnTo>
                  <a:lnTo>
                    <a:pt x="58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9" name="Google Shape;2678;p11">
              <a:extLst>
                <a:ext uri="{FF2B5EF4-FFF2-40B4-BE49-F238E27FC236}">
                  <a16:creationId xmlns:a16="http://schemas.microsoft.com/office/drawing/2014/main" id="{82D65BA7-2E69-B66D-3666-A65A68AE8DBD}"/>
                </a:ext>
              </a:extLst>
            </p:cNvPr>
            <p:cNvSpPr/>
            <p:nvPr/>
          </p:nvSpPr>
          <p:spPr>
            <a:xfrm>
              <a:off x="1061350" y="2599425"/>
              <a:ext cx="178100" cy="96325"/>
            </a:xfrm>
            <a:custGeom>
              <a:avLst/>
              <a:gdLst/>
              <a:ahLst/>
              <a:cxnLst/>
              <a:rect l="l" t="t" r="r" b="b"/>
              <a:pathLst>
                <a:path w="7124" h="3853" extrusionOk="0">
                  <a:moveTo>
                    <a:pt x="2399" y="0"/>
                  </a:moveTo>
                  <a:lnTo>
                    <a:pt x="2145" y="37"/>
                  </a:lnTo>
                  <a:lnTo>
                    <a:pt x="1818" y="109"/>
                  </a:lnTo>
                  <a:lnTo>
                    <a:pt x="1527" y="218"/>
                  </a:lnTo>
                  <a:lnTo>
                    <a:pt x="1236" y="327"/>
                  </a:lnTo>
                  <a:lnTo>
                    <a:pt x="982" y="509"/>
                  </a:lnTo>
                  <a:lnTo>
                    <a:pt x="727" y="655"/>
                  </a:lnTo>
                  <a:lnTo>
                    <a:pt x="509" y="836"/>
                  </a:lnTo>
                  <a:lnTo>
                    <a:pt x="327" y="1054"/>
                  </a:lnTo>
                  <a:lnTo>
                    <a:pt x="182" y="1236"/>
                  </a:lnTo>
                  <a:lnTo>
                    <a:pt x="73" y="1454"/>
                  </a:lnTo>
                  <a:lnTo>
                    <a:pt x="37" y="1636"/>
                  </a:lnTo>
                  <a:lnTo>
                    <a:pt x="0" y="1818"/>
                  </a:lnTo>
                  <a:lnTo>
                    <a:pt x="37" y="1963"/>
                  </a:lnTo>
                  <a:lnTo>
                    <a:pt x="109" y="2108"/>
                  </a:lnTo>
                  <a:lnTo>
                    <a:pt x="255" y="2181"/>
                  </a:lnTo>
                  <a:lnTo>
                    <a:pt x="473" y="2254"/>
                  </a:lnTo>
                  <a:lnTo>
                    <a:pt x="763" y="2290"/>
                  </a:lnTo>
                  <a:lnTo>
                    <a:pt x="1054" y="2326"/>
                  </a:lnTo>
                  <a:lnTo>
                    <a:pt x="1381" y="2399"/>
                  </a:lnTo>
                  <a:lnTo>
                    <a:pt x="1672" y="2472"/>
                  </a:lnTo>
                  <a:lnTo>
                    <a:pt x="1927" y="2581"/>
                  </a:lnTo>
                  <a:lnTo>
                    <a:pt x="2435" y="2835"/>
                  </a:lnTo>
                  <a:lnTo>
                    <a:pt x="2908" y="3126"/>
                  </a:lnTo>
                  <a:lnTo>
                    <a:pt x="3635" y="3635"/>
                  </a:lnTo>
                  <a:lnTo>
                    <a:pt x="3889" y="3817"/>
                  </a:lnTo>
                  <a:lnTo>
                    <a:pt x="3998" y="3853"/>
                  </a:lnTo>
                  <a:lnTo>
                    <a:pt x="4071" y="3853"/>
                  </a:lnTo>
                  <a:lnTo>
                    <a:pt x="5743" y="3344"/>
                  </a:lnTo>
                  <a:lnTo>
                    <a:pt x="7124" y="2944"/>
                  </a:lnTo>
                  <a:lnTo>
                    <a:pt x="6979" y="2581"/>
                  </a:lnTo>
                  <a:lnTo>
                    <a:pt x="6761" y="2217"/>
                  </a:lnTo>
                  <a:lnTo>
                    <a:pt x="6506" y="1890"/>
                  </a:lnTo>
                  <a:lnTo>
                    <a:pt x="6215" y="1600"/>
                  </a:lnTo>
                  <a:lnTo>
                    <a:pt x="5925" y="1345"/>
                  </a:lnTo>
                  <a:lnTo>
                    <a:pt x="5597" y="1091"/>
                  </a:lnTo>
                  <a:lnTo>
                    <a:pt x="5234" y="836"/>
                  </a:lnTo>
                  <a:lnTo>
                    <a:pt x="4871" y="655"/>
                  </a:lnTo>
                  <a:lnTo>
                    <a:pt x="4507" y="473"/>
                  </a:lnTo>
                  <a:lnTo>
                    <a:pt x="4144" y="327"/>
                  </a:lnTo>
                  <a:lnTo>
                    <a:pt x="3780" y="182"/>
                  </a:lnTo>
                  <a:lnTo>
                    <a:pt x="3417" y="109"/>
                  </a:lnTo>
                  <a:lnTo>
                    <a:pt x="3053" y="37"/>
                  </a:lnTo>
                  <a:lnTo>
                    <a:pt x="2726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0" name="Google Shape;2679;p11">
              <a:extLst>
                <a:ext uri="{FF2B5EF4-FFF2-40B4-BE49-F238E27FC236}">
                  <a16:creationId xmlns:a16="http://schemas.microsoft.com/office/drawing/2014/main" id="{A194F3D4-BD0A-1934-D5F6-4DCA2EA32253}"/>
                </a:ext>
              </a:extLst>
            </p:cNvPr>
            <p:cNvSpPr/>
            <p:nvPr/>
          </p:nvSpPr>
          <p:spPr>
            <a:xfrm>
              <a:off x="1228525" y="3339050"/>
              <a:ext cx="176300" cy="98175"/>
            </a:xfrm>
            <a:custGeom>
              <a:avLst/>
              <a:gdLst/>
              <a:ahLst/>
              <a:cxnLst/>
              <a:rect l="l" t="t" r="r" b="b"/>
              <a:pathLst>
                <a:path w="7052" h="3927" extrusionOk="0">
                  <a:moveTo>
                    <a:pt x="4072" y="1"/>
                  </a:moveTo>
                  <a:lnTo>
                    <a:pt x="3890" y="37"/>
                  </a:lnTo>
                  <a:lnTo>
                    <a:pt x="3454" y="182"/>
                  </a:lnTo>
                  <a:lnTo>
                    <a:pt x="3018" y="364"/>
                  </a:lnTo>
                  <a:lnTo>
                    <a:pt x="2581" y="582"/>
                  </a:lnTo>
                  <a:lnTo>
                    <a:pt x="2182" y="800"/>
                  </a:lnTo>
                  <a:lnTo>
                    <a:pt x="1782" y="982"/>
                  </a:lnTo>
                  <a:lnTo>
                    <a:pt x="1491" y="1055"/>
                  </a:lnTo>
                  <a:lnTo>
                    <a:pt x="1346" y="1055"/>
                  </a:lnTo>
                  <a:lnTo>
                    <a:pt x="1237" y="1018"/>
                  </a:lnTo>
                  <a:lnTo>
                    <a:pt x="1200" y="1018"/>
                  </a:lnTo>
                  <a:lnTo>
                    <a:pt x="1091" y="1055"/>
                  </a:lnTo>
                  <a:lnTo>
                    <a:pt x="909" y="1200"/>
                  </a:lnTo>
                  <a:lnTo>
                    <a:pt x="728" y="1491"/>
                  </a:lnTo>
                  <a:lnTo>
                    <a:pt x="510" y="1818"/>
                  </a:lnTo>
                  <a:lnTo>
                    <a:pt x="146" y="2436"/>
                  </a:lnTo>
                  <a:lnTo>
                    <a:pt x="1" y="2727"/>
                  </a:lnTo>
                  <a:lnTo>
                    <a:pt x="292" y="2981"/>
                  </a:lnTo>
                  <a:lnTo>
                    <a:pt x="655" y="3199"/>
                  </a:lnTo>
                  <a:lnTo>
                    <a:pt x="1019" y="3417"/>
                  </a:lnTo>
                  <a:lnTo>
                    <a:pt x="1382" y="3563"/>
                  </a:lnTo>
                  <a:lnTo>
                    <a:pt x="1782" y="3672"/>
                  </a:lnTo>
                  <a:lnTo>
                    <a:pt x="2182" y="3781"/>
                  </a:lnTo>
                  <a:lnTo>
                    <a:pt x="2581" y="3853"/>
                  </a:lnTo>
                  <a:lnTo>
                    <a:pt x="2981" y="3890"/>
                  </a:lnTo>
                  <a:lnTo>
                    <a:pt x="3381" y="3926"/>
                  </a:lnTo>
                  <a:lnTo>
                    <a:pt x="3781" y="3890"/>
                  </a:lnTo>
                  <a:lnTo>
                    <a:pt x="4181" y="3853"/>
                  </a:lnTo>
                  <a:lnTo>
                    <a:pt x="4544" y="3817"/>
                  </a:lnTo>
                  <a:lnTo>
                    <a:pt x="4908" y="3744"/>
                  </a:lnTo>
                  <a:lnTo>
                    <a:pt x="5235" y="3635"/>
                  </a:lnTo>
                  <a:lnTo>
                    <a:pt x="5489" y="3490"/>
                  </a:lnTo>
                  <a:lnTo>
                    <a:pt x="5743" y="3345"/>
                  </a:lnTo>
                  <a:lnTo>
                    <a:pt x="5998" y="3163"/>
                  </a:lnTo>
                  <a:lnTo>
                    <a:pt x="6252" y="2945"/>
                  </a:lnTo>
                  <a:lnTo>
                    <a:pt x="6434" y="2727"/>
                  </a:lnTo>
                  <a:lnTo>
                    <a:pt x="6616" y="2472"/>
                  </a:lnTo>
                  <a:lnTo>
                    <a:pt x="6761" y="2218"/>
                  </a:lnTo>
                  <a:lnTo>
                    <a:pt x="6870" y="1927"/>
                  </a:lnTo>
                  <a:lnTo>
                    <a:pt x="6979" y="1673"/>
                  </a:lnTo>
                  <a:lnTo>
                    <a:pt x="7016" y="1455"/>
                  </a:lnTo>
                  <a:lnTo>
                    <a:pt x="7052" y="1200"/>
                  </a:lnTo>
                  <a:lnTo>
                    <a:pt x="7016" y="1018"/>
                  </a:lnTo>
                  <a:lnTo>
                    <a:pt x="6979" y="837"/>
                  </a:lnTo>
                  <a:lnTo>
                    <a:pt x="6870" y="728"/>
                  </a:lnTo>
                  <a:lnTo>
                    <a:pt x="6761" y="655"/>
                  </a:lnTo>
                  <a:lnTo>
                    <a:pt x="6579" y="619"/>
                  </a:lnTo>
                  <a:lnTo>
                    <a:pt x="6361" y="619"/>
                  </a:lnTo>
                  <a:lnTo>
                    <a:pt x="6107" y="728"/>
                  </a:lnTo>
                  <a:lnTo>
                    <a:pt x="5707" y="909"/>
                  </a:lnTo>
                  <a:lnTo>
                    <a:pt x="5344" y="1018"/>
                  </a:lnTo>
                  <a:lnTo>
                    <a:pt x="5089" y="1055"/>
                  </a:lnTo>
                  <a:lnTo>
                    <a:pt x="4871" y="1091"/>
                  </a:lnTo>
                  <a:lnTo>
                    <a:pt x="4726" y="1055"/>
                  </a:lnTo>
                  <a:lnTo>
                    <a:pt x="4617" y="982"/>
                  </a:lnTo>
                  <a:lnTo>
                    <a:pt x="4544" y="909"/>
                  </a:lnTo>
                  <a:lnTo>
                    <a:pt x="4508" y="800"/>
                  </a:lnTo>
                  <a:lnTo>
                    <a:pt x="4471" y="546"/>
                  </a:lnTo>
                  <a:lnTo>
                    <a:pt x="4471" y="291"/>
                  </a:lnTo>
                  <a:lnTo>
                    <a:pt x="4435" y="182"/>
                  </a:lnTo>
                  <a:lnTo>
                    <a:pt x="4399" y="110"/>
                  </a:lnTo>
                  <a:lnTo>
                    <a:pt x="4362" y="37"/>
                  </a:lnTo>
                  <a:lnTo>
                    <a:pt x="4253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1" name="Google Shape;2680;p11">
              <a:extLst>
                <a:ext uri="{FF2B5EF4-FFF2-40B4-BE49-F238E27FC236}">
                  <a16:creationId xmlns:a16="http://schemas.microsoft.com/office/drawing/2014/main" id="{B47749CA-3076-AD79-A7BE-3BD1B2016B12}"/>
                </a:ext>
              </a:extLst>
            </p:cNvPr>
            <p:cNvSpPr/>
            <p:nvPr/>
          </p:nvSpPr>
          <p:spPr>
            <a:xfrm>
              <a:off x="590675" y="2782975"/>
              <a:ext cx="699675" cy="762375"/>
            </a:xfrm>
            <a:custGeom>
              <a:avLst/>
              <a:gdLst/>
              <a:ahLst/>
              <a:cxnLst/>
              <a:rect l="l" t="t" r="r" b="b"/>
              <a:pathLst>
                <a:path w="27987" h="30495" extrusionOk="0">
                  <a:moveTo>
                    <a:pt x="7306" y="0"/>
                  </a:moveTo>
                  <a:lnTo>
                    <a:pt x="6688" y="37"/>
                  </a:lnTo>
                  <a:lnTo>
                    <a:pt x="6361" y="109"/>
                  </a:lnTo>
                  <a:lnTo>
                    <a:pt x="6034" y="218"/>
                  </a:lnTo>
                  <a:lnTo>
                    <a:pt x="5634" y="400"/>
                  </a:lnTo>
                  <a:lnTo>
                    <a:pt x="5198" y="618"/>
                  </a:lnTo>
                  <a:lnTo>
                    <a:pt x="4253" y="1163"/>
                  </a:lnTo>
                  <a:lnTo>
                    <a:pt x="3308" y="1854"/>
                  </a:lnTo>
                  <a:lnTo>
                    <a:pt x="2326" y="2581"/>
                  </a:lnTo>
                  <a:lnTo>
                    <a:pt x="1454" y="3271"/>
                  </a:lnTo>
                  <a:lnTo>
                    <a:pt x="727" y="3962"/>
                  </a:lnTo>
                  <a:lnTo>
                    <a:pt x="182" y="4507"/>
                  </a:lnTo>
                  <a:lnTo>
                    <a:pt x="109" y="4652"/>
                  </a:lnTo>
                  <a:lnTo>
                    <a:pt x="36" y="4834"/>
                  </a:lnTo>
                  <a:lnTo>
                    <a:pt x="0" y="5052"/>
                  </a:lnTo>
                  <a:lnTo>
                    <a:pt x="0" y="5343"/>
                  </a:lnTo>
                  <a:lnTo>
                    <a:pt x="36" y="6070"/>
                  </a:lnTo>
                  <a:lnTo>
                    <a:pt x="182" y="6906"/>
                  </a:lnTo>
                  <a:lnTo>
                    <a:pt x="400" y="7887"/>
                  </a:lnTo>
                  <a:lnTo>
                    <a:pt x="691" y="8941"/>
                  </a:lnTo>
                  <a:lnTo>
                    <a:pt x="1054" y="10104"/>
                  </a:lnTo>
                  <a:lnTo>
                    <a:pt x="1527" y="11304"/>
                  </a:lnTo>
                  <a:lnTo>
                    <a:pt x="1345" y="11195"/>
                  </a:lnTo>
                  <a:lnTo>
                    <a:pt x="1345" y="11195"/>
                  </a:lnTo>
                  <a:lnTo>
                    <a:pt x="1563" y="11449"/>
                  </a:lnTo>
                  <a:lnTo>
                    <a:pt x="1926" y="12285"/>
                  </a:lnTo>
                  <a:lnTo>
                    <a:pt x="2326" y="13157"/>
                  </a:lnTo>
                  <a:lnTo>
                    <a:pt x="2726" y="13993"/>
                  </a:lnTo>
                  <a:lnTo>
                    <a:pt x="3199" y="14829"/>
                  </a:lnTo>
                  <a:lnTo>
                    <a:pt x="3380" y="15811"/>
                  </a:lnTo>
                  <a:lnTo>
                    <a:pt x="3489" y="16792"/>
                  </a:lnTo>
                  <a:lnTo>
                    <a:pt x="3526" y="17737"/>
                  </a:lnTo>
                  <a:lnTo>
                    <a:pt x="3526" y="18718"/>
                  </a:lnTo>
                  <a:lnTo>
                    <a:pt x="3489" y="19590"/>
                  </a:lnTo>
                  <a:lnTo>
                    <a:pt x="3453" y="20463"/>
                  </a:lnTo>
                  <a:lnTo>
                    <a:pt x="3308" y="21917"/>
                  </a:lnTo>
                  <a:lnTo>
                    <a:pt x="3162" y="22971"/>
                  </a:lnTo>
                  <a:lnTo>
                    <a:pt x="2980" y="23988"/>
                  </a:lnTo>
                  <a:lnTo>
                    <a:pt x="2762" y="24970"/>
                  </a:lnTo>
                  <a:lnTo>
                    <a:pt x="2472" y="25915"/>
                  </a:lnTo>
                  <a:lnTo>
                    <a:pt x="2108" y="26823"/>
                  </a:lnTo>
                  <a:lnTo>
                    <a:pt x="1745" y="27659"/>
                  </a:lnTo>
                  <a:lnTo>
                    <a:pt x="1309" y="28459"/>
                  </a:lnTo>
                  <a:lnTo>
                    <a:pt x="836" y="29186"/>
                  </a:lnTo>
                  <a:lnTo>
                    <a:pt x="763" y="29258"/>
                  </a:lnTo>
                  <a:lnTo>
                    <a:pt x="727" y="29367"/>
                  </a:lnTo>
                  <a:lnTo>
                    <a:pt x="727" y="29513"/>
                  </a:lnTo>
                  <a:lnTo>
                    <a:pt x="763" y="29586"/>
                  </a:lnTo>
                  <a:lnTo>
                    <a:pt x="872" y="29695"/>
                  </a:lnTo>
                  <a:lnTo>
                    <a:pt x="981" y="29804"/>
                  </a:lnTo>
                  <a:lnTo>
                    <a:pt x="1163" y="29876"/>
                  </a:lnTo>
                  <a:lnTo>
                    <a:pt x="1599" y="30058"/>
                  </a:lnTo>
                  <a:lnTo>
                    <a:pt x="2145" y="30167"/>
                  </a:lnTo>
                  <a:lnTo>
                    <a:pt x="2799" y="30276"/>
                  </a:lnTo>
                  <a:lnTo>
                    <a:pt x="3598" y="30385"/>
                  </a:lnTo>
                  <a:lnTo>
                    <a:pt x="4434" y="30422"/>
                  </a:lnTo>
                  <a:lnTo>
                    <a:pt x="6361" y="30494"/>
                  </a:lnTo>
                  <a:lnTo>
                    <a:pt x="8287" y="30494"/>
                  </a:lnTo>
                  <a:lnTo>
                    <a:pt x="10286" y="30422"/>
                  </a:lnTo>
                  <a:lnTo>
                    <a:pt x="12212" y="30312"/>
                  </a:lnTo>
                  <a:lnTo>
                    <a:pt x="14066" y="30167"/>
                  </a:lnTo>
                  <a:lnTo>
                    <a:pt x="15738" y="29985"/>
                  </a:lnTo>
                  <a:lnTo>
                    <a:pt x="17083" y="29767"/>
                  </a:lnTo>
                  <a:lnTo>
                    <a:pt x="17628" y="29622"/>
                  </a:lnTo>
                  <a:lnTo>
                    <a:pt x="18064" y="29513"/>
                  </a:lnTo>
                  <a:lnTo>
                    <a:pt x="18355" y="29367"/>
                  </a:lnTo>
                  <a:lnTo>
                    <a:pt x="18573" y="29258"/>
                  </a:lnTo>
                  <a:lnTo>
                    <a:pt x="18645" y="29077"/>
                  </a:lnTo>
                  <a:lnTo>
                    <a:pt x="18718" y="28822"/>
                  </a:lnTo>
                  <a:lnTo>
                    <a:pt x="18755" y="28386"/>
                  </a:lnTo>
                  <a:lnTo>
                    <a:pt x="18682" y="27841"/>
                  </a:lnTo>
                  <a:lnTo>
                    <a:pt x="18573" y="27187"/>
                  </a:lnTo>
                  <a:lnTo>
                    <a:pt x="18427" y="26460"/>
                  </a:lnTo>
                  <a:lnTo>
                    <a:pt x="18209" y="25697"/>
                  </a:lnTo>
                  <a:lnTo>
                    <a:pt x="17955" y="24861"/>
                  </a:lnTo>
                  <a:lnTo>
                    <a:pt x="17410" y="23080"/>
                  </a:lnTo>
                  <a:lnTo>
                    <a:pt x="20826" y="24243"/>
                  </a:lnTo>
                  <a:lnTo>
                    <a:pt x="23843" y="25297"/>
                  </a:lnTo>
                  <a:lnTo>
                    <a:pt x="26060" y="26096"/>
                  </a:lnTo>
                  <a:lnTo>
                    <a:pt x="26751" y="26387"/>
                  </a:lnTo>
                  <a:lnTo>
                    <a:pt x="27078" y="26533"/>
                  </a:lnTo>
                  <a:lnTo>
                    <a:pt x="27078" y="26569"/>
                  </a:lnTo>
                  <a:lnTo>
                    <a:pt x="27114" y="26533"/>
                  </a:lnTo>
                  <a:lnTo>
                    <a:pt x="27187" y="26423"/>
                  </a:lnTo>
                  <a:lnTo>
                    <a:pt x="27368" y="25951"/>
                  </a:lnTo>
                  <a:lnTo>
                    <a:pt x="27550" y="25260"/>
                  </a:lnTo>
                  <a:lnTo>
                    <a:pt x="27732" y="24461"/>
                  </a:lnTo>
                  <a:lnTo>
                    <a:pt x="27877" y="23625"/>
                  </a:lnTo>
                  <a:lnTo>
                    <a:pt x="27986" y="22862"/>
                  </a:lnTo>
                  <a:lnTo>
                    <a:pt x="27986" y="22534"/>
                  </a:lnTo>
                  <a:lnTo>
                    <a:pt x="27986" y="22244"/>
                  </a:lnTo>
                  <a:lnTo>
                    <a:pt x="27950" y="22026"/>
                  </a:lnTo>
                  <a:lnTo>
                    <a:pt x="27914" y="21917"/>
                  </a:lnTo>
                  <a:lnTo>
                    <a:pt x="27768" y="21808"/>
                  </a:lnTo>
                  <a:lnTo>
                    <a:pt x="27550" y="21699"/>
                  </a:lnTo>
                  <a:lnTo>
                    <a:pt x="26823" y="21480"/>
                  </a:lnTo>
                  <a:lnTo>
                    <a:pt x="25842" y="21190"/>
                  </a:lnTo>
                  <a:lnTo>
                    <a:pt x="24752" y="20935"/>
                  </a:lnTo>
                  <a:lnTo>
                    <a:pt x="22644" y="20426"/>
                  </a:lnTo>
                  <a:lnTo>
                    <a:pt x="21444" y="20099"/>
                  </a:lnTo>
                  <a:lnTo>
                    <a:pt x="20463" y="19809"/>
                  </a:lnTo>
                  <a:lnTo>
                    <a:pt x="19118" y="19409"/>
                  </a:lnTo>
                  <a:lnTo>
                    <a:pt x="17555" y="18936"/>
                  </a:lnTo>
                  <a:lnTo>
                    <a:pt x="15847" y="18427"/>
                  </a:lnTo>
                  <a:lnTo>
                    <a:pt x="15520" y="17264"/>
                  </a:lnTo>
                  <a:lnTo>
                    <a:pt x="15447" y="16828"/>
                  </a:lnTo>
                  <a:lnTo>
                    <a:pt x="15411" y="16501"/>
                  </a:lnTo>
                  <a:lnTo>
                    <a:pt x="15447" y="16210"/>
                  </a:lnTo>
                  <a:lnTo>
                    <a:pt x="15556" y="15920"/>
                  </a:lnTo>
                  <a:lnTo>
                    <a:pt x="15701" y="15665"/>
                  </a:lnTo>
                  <a:lnTo>
                    <a:pt x="15920" y="15447"/>
                  </a:lnTo>
                  <a:lnTo>
                    <a:pt x="16138" y="15193"/>
                  </a:lnTo>
                  <a:lnTo>
                    <a:pt x="16392" y="14975"/>
                  </a:lnTo>
                  <a:lnTo>
                    <a:pt x="16974" y="14575"/>
                  </a:lnTo>
                  <a:lnTo>
                    <a:pt x="17555" y="14175"/>
                  </a:lnTo>
                  <a:lnTo>
                    <a:pt x="18064" y="13775"/>
                  </a:lnTo>
                  <a:lnTo>
                    <a:pt x="18282" y="13557"/>
                  </a:lnTo>
                  <a:lnTo>
                    <a:pt x="18464" y="13339"/>
                  </a:lnTo>
                  <a:lnTo>
                    <a:pt x="18609" y="13121"/>
                  </a:lnTo>
                  <a:lnTo>
                    <a:pt x="18682" y="12903"/>
                  </a:lnTo>
                  <a:lnTo>
                    <a:pt x="18682" y="12648"/>
                  </a:lnTo>
                  <a:lnTo>
                    <a:pt x="18645" y="12394"/>
                  </a:lnTo>
                  <a:lnTo>
                    <a:pt x="18536" y="12103"/>
                  </a:lnTo>
                  <a:lnTo>
                    <a:pt x="18391" y="11776"/>
                  </a:lnTo>
                  <a:lnTo>
                    <a:pt x="18028" y="11122"/>
                  </a:lnTo>
                  <a:lnTo>
                    <a:pt x="17591" y="10504"/>
                  </a:lnTo>
                  <a:lnTo>
                    <a:pt x="16865" y="9559"/>
                  </a:lnTo>
                  <a:lnTo>
                    <a:pt x="16719" y="9305"/>
                  </a:lnTo>
                  <a:lnTo>
                    <a:pt x="16828" y="9305"/>
                  </a:lnTo>
                  <a:lnTo>
                    <a:pt x="17010" y="9414"/>
                  </a:lnTo>
                  <a:lnTo>
                    <a:pt x="17228" y="9414"/>
                  </a:lnTo>
                  <a:lnTo>
                    <a:pt x="17301" y="9341"/>
                  </a:lnTo>
                  <a:lnTo>
                    <a:pt x="17337" y="9196"/>
                  </a:lnTo>
                  <a:lnTo>
                    <a:pt x="17337" y="9050"/>
                  </a:lnTo>
                  <a:lnTo>
                    <a:pt x="17264" y="8614"/>
                  </a:lnTo>
                  <a:lnTo>
                    <a:pt x="17083" y="8069"/>
                  </a:lnTo>
                  <a:lnTo>
                    <a:pt x="16792" y="7415"/>
                  </a:lnTo>
                  <a:lnTo>
                    <a:pt x="16428" y="6688"/>
                  </a:lnTo>
                  <a:lnTo>
                    <a:pt x="15992" y="5888"/>
                  </a:lnTo>
                  <a:lnTo>
                    <a:pt x="15520" y="5052"/>
                  </a:lnTo>
                  <a:lnTo>
                    <a:pt x="14975" y="4216"/>
                  </a:lnTo>
                  <a:lnTo>
                    <a:pt x="14393" y="3417"/>
                  </a:lnTo>
                  <a:lnTo>
                    <a:pt x="13775" y="2617"/>
                  </a:lnTo>
                  <a:lnTo>
                    <a:pt x="13121" y="1890"/>
                  </a:lnTo>
                  <a:lnTo>
                    <a:pt x="12503" y="1272"/>
                  </a:lnTo>
                  <a:lnTo>
                    <a:pt x="12176" y="981"/>
                  </a:lnTo>
                  <a:lnTo>
                    <a:pt x="11849" y="763"/>
                  </a:lnTo>
                  <a:lnTo>
                    <a:pt x="11558" y="545"/>
                  </a:lnTo>
                  <a:lnTo>
                    <a:pt x="11231" y="364"/>
                  </a:lnTo>
                  <a:lnTo>
                    <a:pt x="10722" y="291"/>
                  </a:lnTo>
                  <a:lnTo>
                    <a:pt x="9523" y="146"/>
                  </a:lnTo>
                  <a:lnTo>
                    <a:pt x="8033" y="37"/>
                  </a:lnTo>
                  <a:lnTo>
                    <a:pt x="7306" y="0"/>
                  </a:lnTo>
                  <a:close/>
                </a:path>
              </a:pathLst>
            </a:custGeom>
            <a:solidFill>
              <a:srgbClr val="D7600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2" name="Google Shape;2681;p11">
              <a:extLst>
                <a:ext uri="{FF2B5EF4-FFF2-40B4-BE49-F238E27FC236}">
                  <a16:creationId xmlns:a16="http://schemas.microsoft.com/office/drawing/2014/main" id="{9004F06B-185D-07A4-AEE5-169824A05560}"/>
                </a:ext>
              </a:extLst>
            </p:cNvPr>
            <p:cNvSpPr/>
            <p:nvPr/>
          </p:nvSpPr>
          <p:spPr>
            <a:xfrm>
              <a:off x="590675" y="2782975"/>
              <a:ext cx="699675" cy="762375"/>
            </a:xfrm>
            <a:custGeom>
              <a:avLst/>
              <a:gdLst/>
              <a:ahLst/>
              <a:cxnLst/>
              <a:rect l="l" t="t" r="r" b="b"/>
              <a:pathLst>
                <a:path w="27987" h="30495" fill="none" extrusionOk="0">
                  <a:moveTo>
                    <a:pt x="763" y="29258"/>
                  </a:moveTo>
                  <a:lnTo>
                    <a:pt x="763" y="29258"/>
                  </a:lnTo>
                  <a:lnTo>
                    <a:pt x="727" y="29367"/>
                  </a:lnTo>
                  <a:lnTo>
                    <a:pt x="727" y="29513"/>
                  </a:lnTo>
                  <a:lnTo>
                    <a:pt x="763" y="29586"/>
                  </a:lnTo>
                  <a:lnTo>
                    <a:pt x="872" y="29695"/>
                  </a:lnTo>
                  <a:lnTo>
                    <a:pt x="981" y="29804"/>
                  </a:lnTo>
                  <a:lnTo>
                    <a:pt x="1163" y="29876"/>
                  </a:lnTo>
                  <a:lnTo>
                    <a:pt x="1599" y="30058"/>
                  </a:lnTo>
                  <a:lnTo>
                    <a:pt x="2145" y="30167"/>
                  </a:lnTo>
                  <a:lnTo>
                    <a:pt x="2799" y="30276"/>
                  </a:lnTo>
                  <a:lnTo>
                    <a:pt x="3598" y="30385"/>
                  </a:lnTo>
                  <a:lnTo>
                    <a:pt x="4434" y="30422"/>
                  </a:lnTo>
                  <a:lnTo>
                    <a:pt x="4434" y="30422"/>
                  </a:lnTo>
                  <a:lnTo>
                    <a:pt x="6361" y="30494"/>
                  </a:lnTo>
                  <a:lnTo>
                    <a:pt x="6361" y="30494"/>
                  </a:lnTo>
                  <a:lnTo>
                    <a:pt x="8287" y="30494"/>
                  </a:lnTo>
                  <a:lnTo>
                    <a:pt x="10286" y="30422"/>
                  </a:lnTo>
                  <a:lnTo>
                    <a:pt x="12212" y="30312"/>
                  </a:lnTo>
                  <a:lnTo>
                    <a:pt x="14066" y="30167"/>
                  </a:lnTo>
                  <a:lnTo>
                    <a:pt x="15738" y="29985"/>
                  </a:lnTo>
                  <a:lnTo>
                    <a:pt x="17083" y="29767"/>
                  </a:lnTo>
                  <a:lnTo>
                    <a:pt x="17628" y="29622"/>
                  </a:lnTo>
                  <a:lnTo>
                    <a:pt x="18064" y="29513"/>
                  </a:lnTo>
                  <a:lnTo>
                    <a:pt x="18355" y="29367"/>
                  </a:lnTo>
                  <a:lnTo>
                    <a:pt x="18573" y="29258"/>
                  </a:lnTo>
                  <a:lnTo>
                    <a:pt x="18573" y="29258"/>
                  </a:lnTo>
                  <a:lnTo>
                    <a:pt x="18645" y="29077"/>
                  </a:lnTo>
                  <a:lnTo>
                    <a:pt x="18718" y="28822"/>
                  </a:lnTo>
                  <a:lnTo>
                    <a:pt x="18718" y="28822"/>
                  </a:lnTo>
                  <a:lnTo>
                    <a:pt x="18718" y="28822"/>
                  </a:lnTo>
                  <a:lnTo>
                    <a:pt x="18755" y="28386"/>
                  </a:lnTo>
                  <a:lnTo>
                    <a:pt x="18682" y="27841"/>
                  </a:lnTo>
                  <a:lnTo>
                    <a:pt x="18573" y="27187"/>
                  </a:lnTo>
                  <a:lnTo>
                    <a:pt x="18427" y="26460"/>
                  </a:lnTo>
                  <a:lnTo>
                    <a:pt x="18209" y="25697"/>
                  </a:lnTo>
                  <a:lnTo>
                    <a:pt x="17955" y="24861"/>
                  </a:lnTo>
                  <a:lnTo>
                    <a:pt x="17410" y="23080"/>
                  </a:lnTo>
                  <a:lnTo>
                    <a:pt x="17410" y="23080"/>
                  </a:lnTo>
                  <a:lnTo>
                    <a:pt x="20826" y="24243"/>
                  </a:lnTo>
                  <a:lnTo>
                    <a:pt x="23843" y="25297"/>
                  </a:lnTo>
                  <a:lnTo>
                    <a:pt x="26060" y="26096"/>
                  </a:lnTo>
                  <a:lnTo>
                    <a:pt x="26751" y="26387"/>
                  </a:lnTo>
                  <a:lnTo>
                    <a:pt x="27078" y="26533"/>
                  </a:lnTo>
                  <a:lnTo>
                    <a:pt x="27078" y="26533"/>
                  </a:lnTo>
                  <a:lnTo>
                    <a:pt x="27078" y="26569"/>
                  </a:lnTo>
                  <a:lnTo>
                    <a:pt x="27114" y="26533"/>
                  </a:lnTo>
                  <a:lnTo>
                    <a:pt x="27187" y="26423"/>
                  </a:lnTo>
                  <a:lnTo>
                    <a:pt x="27368" y="25951"/>
                  </a:lnTo>
                  <a:lnTo>
                    <a:pt x="27550" y="25260"/>
                  </a:lnTo>
                  <a:lnTo>
                    <a:pt x="27732" y="24461"/>
                  </a:lnTo>
                  <a:lnTo>
                    <a:pt x="27877" y="23625"/>
                  </a:lnTo>
                  <a:lnTo>
                    <a:pt x="27986" y="22862"/>
                  </a:lnTo>
                  <a:lnTo>
                    <a:pt x="27986" y="22534"/>
                  </a:lnTo>
                  <a:lnTo>
                    <a:pt x="27986" y="22244"/>
                  </a:lnTo>
                  <a:lnTo>
                    <a:pt x="27950" y="22026"/>
                  </a:lnTo>
                  <a:lnTo>
                    <a:pt x="27914" y="21917"/>
                  </a:lnTo>
                  <a:lnTo>
                    <a:pt x="27914" y="21917"/>
                  </a:lnTo>
                  <a:lnTo>
                    <a:pt x="27768" y="21808"/>
                  </a:lnTo>
                  <a:lnTo>
                    <a:pt x="27550" y="21699"/>
                  </a:lnTo>
                  <a:lnTo>
                    <a:pt x="26823" y="21480"/>
                  </a:lnTo>
                  <a:lnTo>
                    <a:pt x="25842" y="21190"/>
                  </a:lnTo>
                  <a:lnTo>
                    <a:pt x="24752" y="20935"/>
                  </a:lnTo>
                  <a:lnTo>
                    <a:pt x="22644" y="20426"/>
                  </a:lnTo>
                  <a:lnTo>
                    <a:pt x="21444" y="20099"/>
                  </a:lnTo>
                  <a:lnTo>
                    <a:pt x="21444" y="20099"/>
                  </a:lnTo>
                  <a:lnTo>
                    <a:pt x="20463" y="19809"/>
                  </a:lnTo>
                  <a:lnTo>
                    <a:pt x="19118" y="19409"/>
                  </a:lnTo>
                  <a:lnTo>
                    <a:pt x="17555" y="18936"/>
                  </a:lnTo>
                  <a:lnTo>
                    <a:pt x="15847" y="18427"/>
                  </a:lnTo>
                  <a:lnTo>
                    <a:pt x="15847" y="18427"/>
                  </a:lnTo>
                  <a:lnTo>
                    <a:pt x="15520" y="17264"/>
                  </a:lnTo>
                  <a:lnTo>
                    <a:pt x="15447" y="16828"/>
                  </a:lnTo>
                  <a:lnTo>
                    <a:pt x="15411" y="16501"/>
                  </a:lnTo>
                  <a:lnTo>
                    <a:pt x="15411" y="16501"/>
                  </a:lnTo>
                  <a:lnTo>
                    <a:pt x="15447" y="16210"/>
                  </a:lnTo>
                  <a:lnTo>
                    <a:pt x="15556" y="15920"/>
                  </a:lnTo>
                  <a:lnTo>
                    <a:pt x="15701" y="15665"/>
                  </a:lnTo>
                  <a:lnTo>
                    <a:pt x="15920" y="15447"/>
                  </a:lnTo>
                  <a:lnTo>
                    <a:pt x="16138" y="15193"/>
                  </a:lnTo>
                  <a:lnTo>
                    <a:pt x="16392" y="14975"/>
                  </a:lnTo>
                  <a:lnTo>
                    <a:pt x="16974" y="14575"/>
                  </a:lnTo>
                  <a:lnTo>
                    <a:pt x="17555" y="14175"/>
                  </a:lnTo>
                  <a:lnTo>
                    <a:pt x="18064" y="13775"/>
                  </a:lnTo>
                  <a:lnTo>
                    <a:pt x="18282" y="13557"/>
                  </a:lnTo>
                  <a:lnTo>
                    <a:pt x="18464" y="13339"/>
                  </a:lnTo>
                  <a:lnTo>
                    <a:pt x="18609" y="13121"/>
                  </a:lnTo>
                  <a:lnTo>
                    <a:pt x="18682" y="12903"/>
                  </a:lnTo>
                  <a:lnTo>
                    <a:pt x="18682" y="12903"/>
                  </a:lnTo>
                  <a:lnTo>
                    <a:pt x="18682" y="12648"/>
                  </a:lnTo>
                  <a:lnTo>
                    <a:pt x="18645" y="12394"/>
                  </a:lnTo>
                  <a:lnTo>
                    <a:pt x="18536" y="12103"/>
                  </a:lnTo>
                  <a:lnTo>
                    <a:pt x="18391" y="11776"/>
                  </a:lnTo>
                  <a:lnTo>
                    <a:pt x="18028" y="11122"/>
                  </a:lnTo>
                  <a:lnTo>
                    <a:pt x="17591" y="10504"/>
                  </a:lnTo>
                  <a:lnTo>
                    <a:pt x="16865" y="9559"/>
                  </a:lnTo>
                  <a:lnTo>
                    <a:pt x="16719" y="9305"/>
                  </a:lnTo>
                  <a:lnTo>
                    <a:pt x="16756" y="9305"/>
                  </a:lnTo>
                  <a:lnTo>
                    <a:pt x="16828" y="9305"/>
                  </a:lnTo>
                  <a:lnTo>
                    <a:pt x="16828" y="9305"/>
                  </a:lnTo>
                  <a:lnTo>
                    <a:pt x="17010" y="9414"/>
                  </a:lnTo>
                  <a:lnTo>
                    <a:pt x="17119" y="9414"/>
                  </a:lnTo>
                  <a:lnTo>
                    <a:pt x="17228" y="9414"/>
                  </a:lnTo>
                  <a:lnTo>
                    <a:pt x="17301" y="9341"/>
                  </a:lnTo>
                  <a:lnTo>
                    <a:pt x="17337" y="9196"/>
                  </a:lnTo>
                  <a:lnTo>
                    <a:pt x="17337" y="9050"/>
                  </a:lnTo>
                  <a:lnTo>
                    <a:pt x="17264" y="8614"/>
                  </a:lnTo>
                  <a:lnTo>
                    <a:pt x="17083" y="8069"/>
                  </a:lnTo>
                  <a:lnTo>
                    <a:pt x="16792" y="7415"/>
                  </a:lnTo>
                  <a:lnTo>
                    <a:pt x="16428" y="6688"/>
                  </a:lnTo>
                  <a:lnTo>
                    <a:pt x="15992" y="5888"/>
                  </a:lnTo>
                  <a:lnTo>
                    <a:pt x="15520" y="5052"/>
                  </a:lnTo>
                  <a:lnTo>
                    <a:pt x="14975" y="4216"/>
                  </a:lnTo>
                  <a:lnTo>
                    <a:pt x="14393" y="3417"/>
                  </a:lnTo>
                  <a:lnTo>
                    <a:pt x="13775" y="2617"/>
                  </a:lnTo>
                  <a:lnTo>
                    <a:pt x="13121" y="1890"/>
                  </a:lnTo>
                  <a:lnTo>
                    <a:pt x="12503" y="1272"/>
                  </a:lnTo>
                  <a:lnTo>
                    <a:pt x="12176" y="981"/>
                  </a:lnTo>
                  <a:lnTo>
                    <a:pt x="11849" y="763"/>
                  </a:lnTo>
                  <a:lnTo>
                    <a:pt x="11558" y="545"/>
                  </a:lnTo>
                  <a:lnTo>
                    <a:pt x="11231" y="364"/>
                  </a:lnTo>
                  <a:lnTo>
                    <a:pt x="11231" y="364"/>
                  </a:lnTo>
                  <a:lnTo>
                    <a:pt x="10722" y="291"/>
                  </a:lnTo>
                  <a:lnTo>
                    <a:pt x="9523" y="146"/>
                  </a:lnTo>
                  <a:lnTo>
                    <a:pt x="8033" y="37"/>
                  </a:lnTo>
                  <a:lnTo>
                    <a:pt x="7306" y="0"/>
                  </a:lnTo>
                  <a:lnTo>
                    <a:pt x="6688" y="37"/>
                  </a:lnTo>
                  <a:lnTo>
                    <a:pt x="6688" y="37"/>
                  </a:lnTo>
                  <a:lnTo>
                    <a:pt x="6361" y="109"/>
                  </a:lnTo>
                  <a:lnTo>
                    <a:pt x="6034" y="218"/>
                  </a:lnTo>
                  <a:lnTo>
                    <a:pt x="5634" y="400"/>
                  </a:lnTo>
                  <a:lnTo>
                    <a:pt x="5198" y="618"/>
                  </a:lnTo>
                  <a:lnTo>
                    <a:pt x="4253" y="1163"/>
                  </a:lnTo>
                  <a:lnTo>
                    <a:pt x="3308" y="1854"/>
                  </a:lnTo>
                  <a:lnTo>
                    <a:pt x="2326" y="2581"/>
                  </a:lnTo>
                  <a:lnTo>
                    <a:pt x="1454" y="3271"/>
                  </a:lnTo>
                  <a:lnTo>
                    <a:pt x="727" y="3962"/>
                  </a:lnTo>
                  <a:lnTo>
                    <a:pt x="182" y="4507"/>
                  </a:lnTo>
                  <a:lnTo>
                    <a:pt x="182" y="4507"/>
                  </a:lnTo>
                  <a:lnTo>
                    <a:pt x="109" y="4652"/>
                  </a:lnTo>
                  <a:lnTo>
                    <a:pt x="36" y="4834"/>
                  </a:lnTo>
                  <a:lnTo>
                    <a:pt x="0" y="5052"/>
                  </a:lnTo>
                  <a:lnTo>
                    <a:pt x="0" y="5343"/>
                  </a:lnTo>
                  <a:lnTo>
                    <a:pt x="36" y="6070"/>
                  </a:lnTo>
                  <a:lnTo>
                    <a:pt x="182" y="6906"/>
                  </a:lnTo>
                  <a:lnTo>
                    <a:pt x="400" y="7887"/>
                  </a:lnTo>
                  <a:lnTo>
                    <a:pt x="691" y="8941"/>
                  </a:lnTo>
                  <a:lnTo>
                    <a:pt x="1054" y="10104"/>
                  </a:lnTo>
                  <a:lnTo>
                    <a:pt x="1527" y="11304"/>
                  </a:lnTo>
                  <a:lnTo>
                    <a:pt x="1527" y="11304"/>
                  </a:lnTo>
                  <a:lnTo>
                    <a:pt x="1345" y="11195"/>
                  </a:lnTo>
                  <a:lnTo>
                    <a:pt x="1345" y="11195"/>
                  </a:lnTo>
                  <a:lnTo>
                    <a:pt x="1563" y="11449"/>
                  </a:lnTo>
                  <a:lnTo>
                    <a:pt x="1563" y="11449"/>
                  </a:lnTo>
                  <a:lnTo>
                    <a:pt x="1926" y="12285"/>
                  </a:lnTo>
                  <a:lnTo>
                    <a:pt x="2326" y="13157"/>
                  </a:lnTo>
                  <a:lnTo>
                    <a:pt x="2726" y="13993"/>
                  </a:lnTo>
                  <a:lnTo>
                    <a:pt x="3199" y="14829"/>
                  </a:lnTo>
                  <a:lnTo>
                    <a:pt x="3199" y="14829"/>
                  </a:lnTo>
                  <a:lnTo>
                    <a:pt x="3380" y="15811"/>
                  </a:lnTo>
                  <a:lnTo>
                    <a:pt x="3489" y="16792"/>
                  </a:lnTo>
                  <a:lnTo>
                    <a:pt x="3526" y="17737"/>
                  </a:lnTo>
                  <a:lnTo>
                    <a:pt x="3526" y="18718"/>
                  </a:lnTo>
                  <a:lnTo>
                    <a:pt x="3489" y="19590"/>
                  </a:lnTo>
                  <a:lnTo>
                    <a:pt x="3453" y="20463"/>
                  </a:lnTo>
                  <a:lnTo>
                    <a:pt x="3308" y="21917"/>
                  </a:lnTo>
                  <a:lnTo>
                    <a:pt x="3308" y="21917"/>
                  </a:lnTo>
                  <a:lnTo>
                    <a:pt x="3162" y="22971"/>
                  </a:lnTo>
                  <a:lnTo>
                    <a:pt x="2980" y="23988"/>
                  </a:lnTo>
                  <a:lnTo>
                    <a:pt x="2762" y="24970"/>
                  </a:lnTo>
                  <a:lnTo>
                    <a:pt x="2472" y="25915"/>
                  </a:lnTo>
                  <a:lnTo>
                    <a:pt x="2108" y="26823"/>
                  </a:lnTo>
                  <a:lnTo>
                    <a:pt x="1745" y="27659"/>
                  </a:lnTo>
                  <a:lnTo>
                    <a:pt x="1309" y="28459"/>
                  </a:lnTo>
                  <a:lnTo>
                    <a:pt x="836" y="29186"/>
                  </a:lnTo>
                  <a:lnTo>
                    <a:pt x="836" y="29186"/>
                  </a:lnTo>
                  <a:lnTo>
                    <a:pt x="763" y="2925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3" name="Google Shape;2682;p11">
              <a:extLst>
                <a:ext uri="{FF2B5EF4-FFF2-40B4-BE49-F238E27FC236}">
                  <a16:creationId xmlns:a16="http://schemas.microsoft.com/office/drawing/2014/main" id="{1D4C5F83-35AB-B5A6-3919-92075000F1B7}"/>
                </a:ext>
              </a:extLst>
            </p:cNvPr>
            <p:cNvSpPr/>
            <p:nvPr/>
          </p:nvSpPr>
          <p:spPr>
            <a:xfrm>
              <a:off x="750575" y="3030125"/>
              <a:ext cx="177225" cy="194475"/>
            </a:xfrm>
            <a:custGeom>
              <a:avLst/>
              <a:gdLst/>
              <a:ahLst/>
              <a:cxnLst/>
              <a:rect l="l" t="t" r="r" b="b"/>
              <a:pathLst>
                <a:path w="7089" h="7779" extrusionOk="0">
                  <a:moveTo>
                    <a:pt x="292" y="0"/>
                  </a:moveTo>
                  <a:lnTo>
                    <a:pt x="110" y="982"/>
                  </a:lnTo>
                  <a:lnTo>
                    <a:pt x="1" y="1781"/>
                  </a:lnTo>
                  <a:lnTo>
                    <a:pt x="1" y="2435"/>
                  </a:lnTo>
                  <a:lnTo>
                    <a:pt x="37" y="2944"/>
                  </a:lnTo>
                  <a:lnTo>
                    <a:pt x="110" y="3380"/>
                  </a:lnTo>
                  <a:lnTo>
                    <a:pt x="255" y="3707"/>
                  </a:lnTo>
                  <a:lnTo>
                    <a:pt x="364" y="3962"/>
                  </a:lnTo>
                  <a:lnTo>
                    <a:pt x="510" y="4180"/>
                  </a:lnTo>
                  <a:lnTo>
                    <a:pt x="619" y="4289"/>
                  </a:lnTo>
                  <a:lnTo>
                    <a:pt x="801" y="4434"/>
                  </a:lnTo>
                  <a:lnTo>
                    <a:pt x="1382" y="4834"/>
                  </a:lnTo>
                  <a:lnTo>
                    <a:pt x="2182" y="5307"/>
                  </a:lnTo>
                  <a:lnTo>
                    <a:pt x="3127" y="5816"/>
                  </a:lnTo>
                  <a:lnTo>
                    <a:pt x="5235" y="6870"/>
                  </a:lnTo>
                  <a:lnTo>
                    <a:pt x="7088" y="7778"/>
                  </a:lnTo>
                  <a:lnTo>
                    <a:pt x="5162" y="6542"/>
                  </a:lnTo>
                  <a:lnTo>
                    <a:pt x="3672" y="5525"/>
                  </a:lnTo>
                  <a:lnTo>
                    <a:pt x="3054" y="5089"/>
                  </a:lnTo>
                  <a:lnTo>
                    <a:pt x="2509" y="4652"/>
                  </a:lnTo>
                  <a:lnTo>
                    <a:pt x="2036" y="4253"/>
                  </a:lnTo>
                  <a:lnTo>
                    <a:pt x="1673" y="3816"/>
                  </a:lnTo>
                  <a:lnTo>
                    <a:pt x="1346" y="3417"/>
                  </a:lnTo>
                  <a:lnTo>
                    <a:pt x="1055" y="3017"/>
                  </a:lnTo>
                  <a:lnTo>
                    <a:pt x="837" y="2617"/>
                  </a:lnTo>
                  <a:lnTo>
                    <a:pt x="692" y="2145"/>
                  </a:lnTo>
                  <a:lnTo>
                    <a:pt x="546" y="1672"/>
                  </a:lnTo>
                  <a:lnTo>
                    <a:pt x="437" y="1163"/>
                  </a:lnTo>
                  <a:lnTo>
                    <a:pt x="364" y="618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A44E1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4" name="Google Shape;2683;p11">
              <a:extLst>
                <a:ext uri="{FF2B5EF4-FFF2-40B4-BE49-F238E27FC236}">
                  <a16:creationId xmlns:a16="http://schemas.microsoft.com/office/drawing/2014/main" id="{B87F5457-C638-E944-C3F2-7384FE9A7242}"/>
                </a:ext>
              </a:extLst>
            </p:cNvPr>
            <p:cNvSpPr/>
            <p:nvPr/>
          </p:nvSpPr>
          <p:spPr>
            <a:xfrm>
              <a:off x="750575" y="3030125"/>
              <a:ext cx="177225" cy="194475"/>
            </a:xfrm>
            <a:custGeom>
              <a:avLst/>
              <a:gdLst/>
              <a:ahLst/>
              <a:cxnLst/>
              <a:rect l="l" t="t" r="r" b="b"/>
              <a:pathLst>
                <a:path w="7089" h="7779" fill="none" extrusionOk="0">
                  <a:moveTo>
                    <a:pt x="292" y="0"/>
                  </a:moveTo>
                  <a:lnTo>
                    <a:pt x="292" y="0"/>
                  </a:lnTo>
                  <a:lnTo>
                    <a:pt x="110" y="982"/>
                  </a:lnTo>
                  <a:lnTo>
                    <a:pt x="1" y="1781"/>
                  </a:lnTo>
                  <a:lnTo>
                    <a:pt x="1" y="2435"/>
                  </a:lnTo>
                  <a:lnTo>
                    <a:pt x="37" y="2944"/>
                  </a:lnTo>
                  <a:lnTo>
                    <a:pt x="110" y="3380"/>
                  </a:lnTo>
                  <a:lnTo>
                    <a:pt x="255" y="3707"/>
                  </a:lnTo>
                  <a:lnTo>
                    <a:pt x="364" y="3962"/>
                  </a:lnTo>
                  <a:lnTo>
                    <a:pt x="510" y="4180"/>
                  </a:lnTo>
                  <a:lnTo>
                    <a:pt x="510" y="4180"/>
                  </a:lnTo>
                  <a:lnTo>
                    <a:pt x="619" y="4289"/>
                  </a:lnTo>
                  <a:lnTo>
                    <a:pt x="801" y="4434"/>
                  </a:lnTo>
                  <a:lnTo>
                    <a:pt x="1382" y="4834"/>
                  </a:lnTo>
                  <a:lnTo>
                    <a:pt x="2182" y="5307"/>
                  </a:lnTo>
                  <a:lnTo>
                    <a:pt x="3127" y="5816"/>
                  </a:lnTo>
                  <a:lnTo>
                    <a:pt x="5235" y="6870"/>
                  </a:lnTo>
                  <a:lnTo>
                    <a:pt x="7088" y="7778"/>
                  </a:lnTo>
                  <a:lnTo>
                    <a:pt x="7088" y="7778"/>
                  </a:lnTo>
                  <a:lnTo>
                    <a:pt x="5162" y="6542"/>
                  </a:lnTo>
                  <a:lnTo>
                    <a:pt x="3672" y="5525"/>
                  </a:lnTo>
                  <a:lnTo>
                    <a:pt x="3054" y="5089"/>
                  </a:lnTo>
                  <a:lnTo>
                    <a:pt x="2509" y="4652"/>
                  </a:lnTo>
                  <a:lnTo>
                    <a:pt x="2036" y="4253"/>
                  </a:lnTo>
                  <a:lnTo>
                    <a:pt x="1673" y="3816"/>
                  </a:lnTo>
                  <a:lnTo>
                    <a:pt x="1346" y="3417"/>
                  </a:lnTo>
                  <a:lnTo>
                    <a:pt x="1055" y="3017"/>
                  </a:lnTo>
                  <a:lnTo>
                    <a:pt x="837" y="2617"/>
                  </a:lnTo>
                  <a:lnTo>
                    <a:pt x="692" y="2145"/>
                  </a:lnTo>
                  <a:lnTo>
                    <a:pt x="546" y="1672"/>
                  </a:lnTo>
                  <a:lnTo>
                    <a:pt x="437" y="1163"/>
                  </a:lnTo>
                  <a:lnTo>
                    <a:pt x="364" y="618"/>
                  </a:lnTo>
                  <a:lnTo>
                    <a:pt x="292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5" name="Google Shape;2684;p11">
              <a:extLst>
                <a:ext uri="{FF2B5EF4-FFF2-40B4-BE49-F238E27FC236}">
                  <a16:creationId xmlns:a16="http://schemas.microsoft.com/office/drawing/2014/main" id="{B2CD252F-AE2C-54A4-7AD3-DBD5FC3217E0}"/>
                </a:ext>
              </a:extLst>
            </p:cNvPr>
            <p:cNvSpPr/>
            <p:nvPr/>
          </p:nvSpPr>
          <p:spPr>
            <a:xfrm>
              <a:off x="678800" y="3237300"/>
              <a:ext cx="25" cy="20900"/>
            </a:xfrm>
            <a:custGeom>
              <a:avLst/>
              <a:gdLst/>
              <a:ahLst/>
              <a:cxnLst/>
              <a:rect l="l" t="t" r="r" b="b"/>
              <a:pathLst>
                <a:path w="1" h="836" extrusionOk="0">
                  <a:moveTo>
                    <a:pt x="1" y="0"/>
                  </a:moveTo>
                  <a:lnTo>
                    <a:pt x="1" y="0"/>
                  </a:lnTo>
                  <a:lnTo>
                    <a:pt x="1" y="836"/>
                  </a:lnTo>
                  <a:lnTo>
                    <a:pt x="1" y="83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6" name="Google Shape;2685;p11">
              <a:extLst>
                <a:ext uri="{FF2B5EF4-FFF2-40B4-BE49-F238E27FC236}">
                  <a16:creationId xmlns:a16="http://schemas.microsoft.com/office/drawing/2014/main" id="{73F6FDE5-E689-9238-95DF-9A1B59972B94}"/>
                </a:ext>
              </a:extLst>
            </p:cNvPr>
            <p:cNvSpPr/>
            <p:nvPr/>
          </p:nvSpPr>
          <p:spPr>
            <a:xfrm>
              <a:off x="678800" y="3237300"/>
              <a:ext cx="25" cy="20900"/>
            </a:xfrm>
            <a:custGeom>
              <a:avLst/>
              <a:gdLst/>
              <a:ahLst/>
              <a:cxnLst/>
              <a:rect l="l" t="t" r="r" b="b"/>
              <a:pathLst>
                <a:path w="1" h="836" fill="none" extrusionOk="0">
                  <a:moveTo>
                    <a:pt x="1" y="0"/>
                  </a:moveTo>
                  <a:lnTo>
                    <a:pt x="1" y="0"/>
                  </a:lnTo>
                  <a:lnTo>
                    <a:pt x="1" y="836"/>
                  </a:lnTo>
                  <a:lnTo>
                    <a:pt x="1" y="836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7" name="Google Shape;2686;p11">
              <a:extLst>
                <a:ext uri="{FF2B5EF4-FFF2-40B4-BE49-F238E27FC236}">
                  <a16:creationId xmlns:a16="http://schemas.microsoft.com/office/drawing/2014/main" id="{8E438575-2C09-870A-ED82-DF281EC36E7E}"/>
                </a:ext>
              </a:extLst>
            </p:cNvPr>
            <p:cNvSpPr/>
            <p:nvPr/>
          </p:nvSpPr>
          <p:spPr>
            <a:xfrm>
              <a:off x="677900" y="3236375"/>
              <a:ext cx="320775" cy="125425"/>
            </a:xfrm>
            <a:custGeom>
              <a:avLst/>
              <a:gdLst/>
              <a:ahLst/>
              <a:cxnLst/>
              <a:rect l="l" t="t" r="r" b="b"/>
              <a:pathLst>
                <a:path w="12831" h="5017" extrusionOk="0">
                  <a:moveTo>
                    <a:pt x="37" y="1"/>
                  </a:moveTo>
                  <a:lnTo>
                    <a:pt x="37" y="37"/>
                  </a:lnTo>
                  <a:lnTo>
                    <a:pt x="37" y="873"/>
                  </a:lnTo>
                  <a:lnTo>
                    <a:pt x="0" y="1345"/>
                  </a:lnTo>
                  <a:lnTo>
                    <a:pt x="37" y="1345"/>
                  </a:lnTo>
                  <a:lnTo>
                    <a:pt x="291" y="1382"/>
                  </a:lnTo>
                  <a:lnTo>
                    <a:pt x="727" y="1491"/>
                  </a:lnTo>
                  <a:lnTo>
                    <a:pt x="2217" y="1927"/>
                  </a:lnTo>
                  <a:lnTo>
                    <a:pt x="6470" y="3163"/>
                  </a:lnTo>
                  <a:lnTo>
                    <a:pt x="10686" y="4435"/>
                  </a:lnTo>
                  <a:lnTo>
                    <a:pt x="12176" y="4871"/>
                  </a:lnTo>
                  <a:lnTo>
                    <a:pt x="12612" y="4980"/>
                  </a:lnTo>
                  <a:lnTo>
                    <a:pt x="12830" y="5016"/>
                  </a:lnTo>
                  <a:lnTo>
                    <a:pt x="10868" y="4253"/>
                  </a:lnTo>
                  <a:lnTo>
                    <a:pt x="6470" y="2581"/>
                  </a:lnTo>
                  <a:lnTo>
                    <a:pt x="2072" y="873"/>
                  </a:lnTo>
                  <a:lnTo>
                    <a:pt x="618" y="291"/>
                  </a:lnTo>
                  <a:lnTo>
                    <a:pt x="182" y="11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A44E1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8" name="Google Shape;2687;p11">
              <a:extLst>
                <a:ext uri="{FF2B5EF4-FFF2-40B4-BE49-F238E27FC236}">
                  <a16:creationId xmlns:a16="http://schemas.microsoft.com/office/drawing/2014/main" id="{C543494A-4522-519A-5A3D-E63D61D49453}"/>
                </a:ext>
              </a:extLst>
            </p:cNvPr>
            <p:cNvSpPr/>
            <p:nvPr/>
          </p:nvSpPr>
          <p:spPr>
            <a:xfrm>
              <a:off x="677900" y="3236375"/>
              <a:ext cx="320775" cy="125425"/>
            </a:xfrm>
            <a:custGeom>
              <a:avLst/>
              <a:gdLst/>
              <a:ahLst/>
              <a:cxnLst/>
              <a:rect l="l" t="t" r="r" b="b"/>
              <a:pathLst>
                <a:path w="12831" h="5017" fill="none" extrusionOk="0">
                  <a:moveTo>
                    <a:pt x="37" y="1"/>
                  </a:moveTo>
                  <a:lnTo>
                    <a:pt x="37" y="1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873"/>
                  </a:lnTo>
                  <a:lnTo>
                    <a:pt x="37" y="873"/>
                  </a:lnTo>
                  <a:lnTo>
                    <a:pt x="0" y="1345"/>
                  </a:lnTo>
                  <a:lnTo>
                    <a:pt x="0" y="1345"/>
                  </a:lnTo>
                  <a:lnTo>
                    <a:pt x="37" y="1345"/>
                  </a:lnTo>
                  <a:lnTo>
                    <a:pt x="37" y="1345"/>
                  </a:lnTo>
                  <a:lnTo>
                    <a:pt x="291" y="1382"/>
                  </a:lnTo>
                  <a:lnTo>
                    <a:pt x="727" y="1491"/>
                  </a:lnTo>
                  <a:lnTo>
                    <a:pt x="2217" y="1927"/>
                  </a:lnTo>
                  <a:lnTo>
                    <a:pt x="6470" y="3163"/>
                  </a:lnTo>
                  <a:lnTo>
                    <a:pt x="6470" y="3163"/>
                  </a:lnTo>
                  <a:lnTo>
                    <a:pt x="10686" y="4435"/>
                  </a:lnTo>
                  <a:lnTo>
                    <a:pt x="12176" y="4871"/>
                  </a:lnTo>
                  <a:lnTo>
                    <a:pt x="12612" y="4980"/>
                  </a:lnTo>
                  <a:lnTo>
                    <a:pt x="12830" y="5016"/>
                  </a:lnTo>
                  <a:lnTo>
                    <a:pt x="12830" y="5016"/>
                  </a:lnTo>
                  <a:lnTo>
                    <a:pt x="12830" y="5016"/>
                  </a:lnTo>
                  <a:lnTo>
                    <a:pt x="12830" y="5016"/>
                  </a:lnTo>
                  <a:lnTo>
                    <a:pt x="10868" y="4253"/>
                  </a:lnTo>
                  <a:lnTo>
                    <a:pt x="6470" y="2581"/>
                  </a:lnTo>
                  <a:lnTo>
                    <a:pt x="2072" y="873"/>
                  </a:lnTo>
                  <a:lnTo>
                    <a:pt x="618" y="291"/>
                  </a:lnTo>
                  <a:lnTo>
                    <a:pt x="182" y="110"/>
                  </a:lnTo>
                  <a:lnTo>
                    <a:pt x="3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9" name="Google Shape;2688;p11">
              <a:extLst>
                <a:ext uri="{FF2B5EF4-FFF2-40B4-BE49-F238E27FC236}">
                  <a16:creationId xmlns:a16="http://schemas.microsoft.com/office/drawing/2014/main" id="{424C8D71-CF16-C533-EA4A-BC2C7E20316D}"/>
                </a:ext>
              </a:extLst>
            </p:cNvPr>
            <p:cNvSpPr/>
            <p:nvPr/>
          </p:nvSpPr>
          <p:spPr>
            <a:xfrm>
              <a:off x="1008650" y="30155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1C1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0" name="Google Shape;2689;p11">
              <a:extLst>
                <a:ext uri="{FF2B5EF4-FFF2-40B4-BE49-F238E27FC236}">
                  <a16:creationId xmlns:a16="http://schemas.microsoft.com/office/drawing/2014/main" id="{C7C37CB3-A620-BA5D-377B-F534D7F35A1D}"/>
                </a:ext>
              </a:extLst>
            </p:cNvPr>
            <p:cNvSpPr/>
            <p:nvPr/>
          </p:nvSpPr>
          <p:spPr>
            <a:xfrm>
              <a:off x="1008650" y="30155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1" name="Google Shape;2690;p11">
              <a:extLst>
                <a:ext uri="{FF2B5EF4-FFF2-40B4-BE49-F238E27FC236}">
                  <a16:creationId xmlns:a16="http://schemas.microsoft.com/office/drawing/2014/main" id="{6D272CA1-2A0E-3E9C-52DF-8F6B0C92551A}"/>
                </a:ext>
              </a:extLst>
            </p:cNvPr>
            <p:cNvSpPr/>
            <p:nvPr/>
          </p:nvSpPr>
          <p:spPr>
            <a:xfrm>
              <a:off x="923225" y="2912900"/>
              <a:ext cx="85450" cy="102700"/>
            </a:xfrm>
            <a:custGeom>
              <a:avLst/>
              <a:gdLst/>
              <a:ahLst/>
              <a:cxnLst/>
              <a:rect l="l" t="t" r="r" b="b"/>
              <a:pathLst>
                <a:path w="3418" h="4108" extrusionOk="0">
                  <a:moveTo>
                    <a:pt x="1" y="1"/>
                  </a:moveTo>
                  <a:lnTo>
                    <a:pt x="1418" y="1382"/>
                  </a:lnTo>
                  <a:lnTo>
                    <a:pt x="1891" y="1854"/>
                  </a:lnTo>
                  <a:lnTo>
                    <a:pt x="2254" y="2254"/>
                  </a:lnTo>
                  <a:lnTo>
                    <a:pt x="2509" y="2654"/>
                  </a:lnTo>
                  <a:lnTo>
                    <a:pt x="2799" y="3054"/>
                  </a:lnTo>
                  <a:lnTo>
                    <a:pt x="3417" y="4108"/>
                  </a:lnTo>
                  <a:lnTo>
                    <a:pt x="2472" y="1782"/>
                  </a:lnTo>
                  <a:lnTo>
                    <a:pt x="2145" y="982"/>
                  </a:lnTo>
                  <a:lnTo>
                    <a:pt x="1891" y="837"/>
                  </a:lnTo>
                  <a:lnTo>
                    <a:pt x="1273" y="509"/>
                  </a:lnTo>
                  <a:lnTo>
                    <a:pt x="546" y="182"/>
                  </a:lnTo>
                  <a:lnTo>
                    <a:pt x="255" y="7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A44E1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2" name="Google Shape;2691;p11">
              <a:extLst>
                <a:ext uri="{FF2B5EF4-FFF2-40B4-BE49-F238E27FC236}">
                  <a16:creationId xmlns:a16="http://schemas.microsoft.com/office/drawing/2014/main" id="{301386EC-E2DE-CE98-C510-9BAA1BF6A805}"/>
                </a:ext>
              </a:extLst>
            </p:cNvPr>
            <p:cNvSpPr/>
            <p:nvPr/>
          </p:nvSpPr>
          <p:spPr>
            <a:xfrm>
              <a:off x="923225" y="2912900"/>
              <a:ext cx="85450" cy="102700"/>
            </a:xfrm>
            <a:custGeom>
              <a:avLst/>
              <a:gdLst/>
              <a:ahLst/>
              <a:cxnLst/>
              <a:rect l="l" t="t" r="r" b="b"/>
              <a:pathLst>
                <a:path w="3418" h="4108" fill="none" extrusionOk="0">
                  <a:moveTo>
                    <a:pt x="1" y="1"/>
                  </a:moveTo>
                  <a:lnTo>
                    <a:pt x="1" y="1"/>
                  </a:lnTo>
                  <a:lnTo>
                    <a:pt x="1418" y="1382"/>
                  </a:lnTo>
                  <a:lnTo>
                    <a:pt x="1891" y="1854"/>
                  </a:lnTo>
                  <a:lnTo>
                    <a:pt x="2254" y="2254"/>
                  </a:lnTo>
                  <a:lnTo>
                    <a:pt x="2509" y="2654"/>
                  </a:lnTo>
                  <a:lnTo>
                    <a:pt x="2799" y="3054"/>
                  </a:lnTo>
                  <a:lnTo>
                    <a:pt x="3417" y="4108"/>
                  </a:lnTo>
                  <a:lnTo>
                    <a:pt x="3417" y="4108"/>
                  </a:lnTo>
                  <a:lnTo>
                    <a:pt x="3417" y="4108"/>
                  </a:lnTo>
                  <a:lnTo>
                    <a:pt x="3417" y="4108"/>
                  </a:lnTo>
                  <a:lnTo>
                    <a:pt x="2472" y="1782"/>
                  </a:lnTo>
                  <a:lnTo>
                    <a:pt x="2145" y="982"/>
                  </a:lnTo>
                  <a:lnTo>
                    <a:pt x="2145" y="982"/>
                  </a:lnTo>
                  <a:lnTo>
                    <a:pt x="1891" y="837"/>
                  </a:lnTo>
                  <a:lnTo>
                    <a:pt x="1273" y="509"/>
                  </a:lnTo>
                  <a:lnTo>
                    <a:pt x="546" y="182"/>
                  </a:lnTo>
                  <a:lnTo>
                    <a:pt x="255" y="73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3" name="Google Shape;2692;p11">
              <a:extLst>
                <a:ext uri="{FF2B5EF4-FFF2-40B4-BE49-F238E27FC236}">
                  <a16:creationId xmlns:a16="http://schemas.microsoft.com/office/drawing/2014/main" id="{0A0F12F6-6789-0D61-55B6-C72EE18F0934}"/>
                </a:ext>
              </a:extLst>
            </p:cNvPr>
            <p:cNvSpPr/>
            <p:nvPr/>
          </p:nvSpPr>
          <p:spPr>
            <a:xfrm>
              <a:off x="277175" y="3514425"/>
              <a:ext cx="442550" cy="985000"/>
            </a:xfrm>
            <a:custGeom>
              <a:avLst/>
              <a:gdLst/>
              <a:ahLst/>
              <a:cxnLst/>
              <a:rect l="l" t="t" r="r" b="b"/>
              <a:pathLst>
                <a:path w="17702" h="39400" extrusionOk="0">
                  <a:moveTo>
                    <a:pt x="13303" y="0"/>
                  </a:moveTo>
                  <a:lnTo>
                    <a:pt x="12722" y="1018"/>
                  </a:lnTo>
                  <a:lnTo>
                    <a:pt x="12177" y="2036"/>
                  </a:lnTo>
                  <a:lnTo>
                    <a:pt x="11704" y="3090"/>
                  </a:lnTo>
                  <a:lnTo>
                    <a:pt x="11268" y="4108"/>
                  </a:lnTo>
                  <a:lnTo>
                    <a:pt x="10905" y="5125"/>
                  </a:lnTo>
                  <a:lnTo>
                    <a:pt x="10577" y="6179"/>
                  </a:lnTo>
                  <a:lnTo>
                    <a:pt x="10287" y="7233"/>
                  </a:lnTo>
                  <a:lnTo>
                    <a:pt x="10032" y="8287"/>
                  </a:lnTo>
                  <a:lnTo>
                    <a:pt x="9814" y="9341"/>
                  </a:lnTo>
                  <a:lnTo>
                    <a:pt x="9632" y="10395"/>
                  </a:lnTo>
                  <a:lnTo>
                    <a:pt x="9269" y="12576"/>
                  </a:lnTo>
                  <a:lnTo>
                    <a:pt x="8942" y="14757"/>
                  </a:lnTo>
                  <a:lnTo>
                    <a:pt x="8578" y="16974"/>
                  </a:lnTo>
                  <a:lnTo>
                    <a:pt x="8179" y="19264"/>
                  </a:lnTo>
                  <a:lnTo>
                    <a:pt x="7924" y="20427"/>
                  </a:lnTo>
                  <a:lnTo>
                    <a:pt x="7670" y="21590"/>
                  </a:lnTo>
                  <a:lnTo>
                    <a:pt x="7343" y="22753"/>
                  </a:lnTo>
                  <a:lnTo>
                    <a:pt x="7016" y="23952"/>
                  </a:lnTo>
                  <a:lnTo>
                    <a:pt x="6616" y="25152"/>
                  </a:lnTo>
                  <a:lnTo>
                    <a:pt x="6143" y="26351"/>
                  </a:lnTo>
                  <a:lnTo>
                    <a:pt x="5634" y="27587"/>
                  </a:lnTo>
                  <a:lnTo>
                    <a:pt x="5053" y="28823"/>
                  </a:lnTo>
                  <a:lnTo>
                    <a:pt x="4435" y="30095"/>
                  </a:lnTo>
                  <a:lnTo>
                    <a:pt x="3708" y="31367"/>
                  </a:lnTo>
                  <a:lnTo>
                    <a:pt x="2909" y="32639"/>
                  </a:lnTo>
                  <a:lnTo>
                    <a:pt x="2036" y="33947"/>
                  </a:lnTo>
                  <a:lnTo>
                    <a:pt x="1055" y="35292"/>
                  </a:lnTo>
                  <a:lnTo>
                    <a:pt x="1" y="36601"/>
                  </a:lnTo>
                  <a:lnTo>
                    <a:pt x="219" y="36855"/>
                  </a:lnTo>
                  <a:lnTo>
                    <a:pt x="473" y="37073"/>
                  </a:lnTo>
                  <a:lnTo>
                    <a:pt x="728" y="37255"/>
                  </a:lnTo>
                  <a:lnTo>
                    <a:pt x="1019" y="37437"/>
                  </a:lnTo>
                  <a:lnTo>
                    <a:pt x="1346" y="37582"/>
                  </a:lnTo>
                  <a:lnTo>
                    <a:pt x="1709" y="37691"/>
                  </a:lnTo>
                  <a:lnTo>
                    <a:pt x="2436" y="37873"/>
                  </a:lnTo>
                  <a:lnTo>
                    <a:pt x="3199" y="38018"/>
                  </a:lnTo>
                  <a:lnTo>
                    <a:pt x="4035" y="38091"/>
                  </a:lnTo>
                  <a:lnTo>
                    <a:pt x="4908" y="38127"/>
                  </a:lnTo>
                  <a:lnTo>
                    <a:pt x="8942" y="38127"/>
                  </a:lnTo>
                  <a:lnTo>
                    <a:pt x="9487" y="38163"/>
                  </a:lnTo>
                  <a:lnTo>
                    <a:pt x="9996" y="38236"/>
                  </a:lnTo>
                  <a:lnTo>
                    <a:pt x="10468" y="38272"/>
                  </a:lnTo>
                  <a:lnTo>
                    <a:pt x="10905" y="38382"/>
                  </a:lnTo>
                  <a:lnTo>
                    <a:pt x="11304" y="38527"/>
                  </a:lnTo>
                  <a:lnTo>
                    <a:pt x="11668" y="38672"/>
                  </a:lnTo>
                  <a:lnTo>
                    <a:pt x="12031" y="38854"/>
                  </a:lnTo>
                  <a:lnTo>
                    <a:pt x="12504" y="39036"/>
                  </a:lnTo>
                  <a:lnTo>
                    <a:pt x="13049" y="39217"/>
                  </a:lnTo>
                  <a:lnTo>
                    <a:pt x="13703" y="39399"/>
                  </a:lnTo>
                  <a:lnTo>
                    <a:pt x="14103" y="38382"/>
                  </a:lnTo>
                  <a:lnTo>
                    <a:pt x="14503" y="37364"/>
                  </a:lnTo>
                  <a:lnTo>
                    <a:pt x="14903" y="36273"/>
                  </a:lnTo>
                  <a:lnTo>
                    <a:pt x="15230" y="35183"/>
                  </a:lnTo>
                  <a:lnTo>
                    <a:pt x="15557" y="34093"/>
                  </a:lnTo>
                  <a:lnTo>
                    <a:pt x="15848" y="32930"/>
                  </a:lnTo>
                  <a:lnTo>
                    <a:pt x="16102" y="31767"/>
                  </a:lnTo>
                  <a:lnTo>
                    <a:pt x="16356" y="30604"/>
                  </a:lnTo>
                  <a:lnTo>
                    <a:pt x="16575" y="29404"/>
                  </a:lnTo>
                  <a:lnTo>
                    <a:pt x="16793" y="28205"/>
                  </a:lnTo>
                  <a:lnTo>
                    <a:pt x="16974" y="26969"/>
                  </a:lnTo>
                  <a:lnTo>
                    <a:pt x="17120" y="25733"/>
                  </a:lnTo>
                  <a:lnTo>
                    <a:pt x="17374" y="23225"/>
                  </a:lnTo>
                  <a:lnTo>
                    <a:pt x="17556" y="20681"/>
                  </a:lnTo>
                  <a:lnTo>
                    <a:pt x="17665" y="18137"/>
                  </a:lnTo>
                  <a:lnTo>
                    <a:pt x="17701" y="15556"/>
                  </a:lnTo>
                  <a:lnTo>
                    <a:pt x="17701" y="13049"/>
                  </a:lnTo>
                  <a:lnTo>
                    <a:pt x="17629" y="10541"/>
                  </a:lnTo>
                  <a:lnTo>
                    <a:pt x="17520" y="8106"/>
                  </a:lnTo>
                  <a:lnTo>
                    <a:pt x="17374" y="5707"/>
                  </a:lnTo>
                  <a:lnTo>
                    <a:pt x="17192" y="3381"/>
                  </a:lnTo>
                  <a:lnTo>
                    <a:pt x="16974" y="1164"/>
                  </a:lnTo>
                  <a:lnTo>
                    <a:pt x="16211" y="1127"/>
                  </a:lnTo>
                  <a:lnTo>
                    <a:pt x="15484" y="1054"/>
                  </a:lnTo>
                  <a:lnTo>
                    <a:pt x="14830" y="945"/>
                  </a:lnTo>
                  <a:lnTo>
                    <a:pt x="14285" y="836"/>
                  </a:lnTo>
                  <a:lnTo>
                    <a:pt x="13849" y="691"/>
                  </a:lnTo>
                  <a:lnTo>
                    <a:pt x="13521" y="546"/>
                  </a:lnTo>
                  <a:lnTo>
                    <a:pt x="13412" y="473"/>
                  </a:lnTo>
                  <a:lnTo>
                    <a:pt x="13340" y="364"/>
                  </a:lnTo>
                  <a:lnTo>
                    <a:pt x="13303" y="255"/>
                  </a:lnTo>
                  <a:lnTo>
                    <a:pt x="13267" y="182"/>
                  </a:lnTo>
                  <a:lnTo>
                    <a:pt x="13303" y="0"/>
                  </a:lnTo>
                  <a:close/>
                </a:path>
              </a:pathLst>
            </a:custGeom>
            <a:solidFill>
              <a:srgbClr val="BB750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4" name="Google Shape;2693;p11">
              <a:extLst>
                <a:ext uri="{FF2B5EF4-FFF2-40B4-BE49-F238E27FC236}">
                  <a16:creationId xmlns:a16="http://schemas.microsoft.com/office/drawing/2014/main" id="{AE3727FB-FF0B-F7A9-9489-22CE0FE62344}"/>
                </a:ext>
              </a:extLst>
            </p:cNvPr>
            <p:cNvSpPr/>
            <p:nvPr/>
          </p:nvSpPr>
          <p:spPr>
            <a:xfrm>
              <a:off x="277175" y="3514425"/>
              <a:ext cx="442550" cy="985000"/>
            </a:xfrm>
            <a:custGeom>
              <a:avLst/>
              <a:gdLst/>
              <a:ahLst/>
              <a:cxnLst/>
              <a:rect l="l" t="t" r="r" b="b"/>
              <a:pathLst>
                <a:path w="17702" h="39400" fill="none" extrusionOk="0">
                  <a:moveTo>
                    <a:pt x="13303" y="0"/>
                  </a:moveTo>
                  <a:lnTo>
                    <a:pt x="13303" y="0"/>
                  </a:lnTo>
                  <a:lnTo>
                    <a:pt x="12722" y="1018"/>
                  </a:lnTo>
                  <a:lnTo>
                    <a:pt x="12177" y="2036"/>
                  </a:lnTo>
                  <a:lnTo>
                    <a:pt x="11704" y="3090"/>
                  </a:lnTo>
                  <a:lnTo>
                    <a:pt x="11268" y="4108"/>
                  </a:lnTo>
                  <a:lnTo>
                    <a:pt x="10905" y="5125"/>
                  </a:lnTo>
                  <a:lnTo>
                    <a:pt x="10577" y="6179"/>
                  </a:lnTo>
                  <a:lnTo>
                    <a:pt x="10287" y="7233"/>
                  </a:lnTo>
                  <a:lnTo>
                    <a:pt x="10032" y="8287"/>
                  </a:lnTo>
                  <a:lnTo>
                    <a:pt x="9814" y="9341"/>
                  </a:lnTo>
                  <a:lnTo>
                    <a:pt x="9632" y="10395"/>
                  </a:lnTo>
                  <a:lnTo>
                    <a:pt x="9269" y="12576"/>
                  </a:lnTo>
                  <a:lnTo>
                    <a:pt x="8942" y="14757"/>
                  </a:lnTo>
                  <a:lnTo>
                    <a:pt x="8578" y="16974"/>
                  </a:lnTo>
                  <a:lnTo>
                    <a:pt x="8179" y="19264"/>
                  </a:lnTo>
                  <a:lnTo>
                    <a:pt x="7924" y="20427"/>
                  </a:lnTo>
                  <a:lnTo>
                    <a:pt x="7670" y="21590"/>
                  </a:lnTo>
                  <a:lnTo>
                    <a:pt x="7343" y="22753"/>
                  </a:lnTo>
                  <a:lnTo>
                    <a:pt x="7016" y="23952"/>
                  </a:lnTo>
                  <a:lnTo>
                    <a:pt x="6616" y="25152"/>
                  </a:lnTo>
                  <a:lnTo>
                    <a:pt x="6143" y="26351"/>
                  </a:lnTo>
                  <a:lnTo>
                    <a:pt x="5634" y="27587"/>
                  </a:lnTo>
                  <a:lnTo>
                    <a:pt x="5053" y="28823"/>
                  </a:lnTo>
                  <a:lnTo>
                    <a:pt x="4435" y="30095"/>
                  </a:lnTo>
                  <a:lnTo>
                    <a:pt x="3708" y="31367"/>
                  </a:lnTo>
                  <a:lnTo>
                    <a:pt x="2909" y="32639"/>
                  </a:lnTo>
                  <a:lnTo>
                    <a:pt x="2036" y="33947"/>
                  </a:lnTo>
                  <a:lnTo>
                    <a:pt x="1055" y="35292"/>
                  </a:lnTo>
                  <a:lnTo>
                    <a:pt x="1" y="36601"/>
                  </a:lnTo>
                  <a:lnTo>
                    <a:pt x="1" y="36601"/>
                  </a:lnTo>
                  <a:lnTo>
                    <a:pt x="219" y="36855"/>
                  </a:lnTo>
                  <a:lnTo>
                    <a:pt x="473" y="37073"/>
                  </a:lnTo>
                  <a:lnTo>
                    <a:pt x="728" y="37255"/>
                  </a:lnTo>
                  <a:lnTo>
                    <a:pt x="1019" y="37437"/>
                  </a:lnTo>
                  <a:lnTo>
                    <a:pt x="1346" y="37582"/>
                  </a:lnTo>
                  <a:lnTo>
                    <a:pt x="1709" y="37691"/>
                  </a:lnTo>
                  <a:lnTo>
                    <a:pt x="2436" y="37873"/>
                  </a:lnTo>
                  <a:lnTo>
                    <a:pt x="3199" y="38018"/>
                  </a:lnTo>
                  <a:lnTo>
                    <a:pt x="4035" y="38091"/>
                  </a:lnTo>
                  <a:lnTo>
                    <a:pt x="4908" y="38127"/>
                  </a:lnTo>
                  <a:lnTo>
                    <a:pt x="5780" y="38127"/>
                  </a:lnTo>
                  <a:lnTo>
                    <a:pt x="5780" y="38127"/>
                  </a:lnTo>
                  <a:lnTo>
                    <a:pt x="6798" y="38127"/>
                  </a:lnTo>
                  <a:lnTo>
                    <a:pt x="6798" y="38127"/>
                  </a:lnTo>
                  <a:lnTo>
                    <a:pt x="7815" y="38127"/>
                  </a:lnTo>
                  <a:lnTo>
                    <a:pt x="7815" y="38127"/>
                  </a:lnTo>
                  <a:lnTo>
                    <a:pt x="8942" y="38127"/>
                  </a:lnTo>
                  <a:lnTo>
                    <a:pt x="9487" y="38163"/>
                  </a:lnTo>
                  <a:lnTo>
                    <a:pt x="9996" y="38236"/>
                  </a:lnTo>
                  <a:lnTo>
                    <a:pt x="10468" y="38272"/>
                  </a:lnTo>
                  <a:lnTo>
                    <a:pt x="10905" y="38382"/>
                  </a:lnTo>
                  <a:lnTo>
                    <a:pt x="11304" y="38527"/>
                  </a:lnTo>
                  <a:lnTo>
                    <a:pt x="11668" y="38672"/>
                  </a:lnTo>
                  <a:lnTo>
                    <a:pt x="11668" y="38672"/>
                  </a:lnTo>
                  <a:lnTo>
                    <a:pt x="12031" y="38854"/>
                  </a:lnTo>
                  <a:lnTo>
                    <a:pt x="12504" y="39036"/>
                  </a:lnTo>
                  <a:lnTo>
                    <a:pt x="13049" y="39217"/>
                  </a:lnTo>
                  <a:lnTo>
                    <a:pt x="13703" y="39399"/>
                  </a:lnTo>
                  <a:lnTo>
                    <a:pt x="13703" y="39399"/>
                  </a:lnTo>
                  <a:lnTo>
                    <a:pt x="14103" y="38382"/>
                  </a:lnTo>
                  <a:lnTo>
                    <a:pt x="14503" y="37364"/>
                  </a:lnTo>
                  <a:lnTo>
                    <a:pt x="14903" y="36273"/>
                  </a:lnTo>
                  <a:lnTo>
                    <a:pt x="15230" y="35183"/>
                  </a:lnTo>
                  <a:lnTo>
                    <a:pt x="15557" y="34093"/>
                  </a:lnTo>
                  <a:lnTo>
                    <a:pt x="15848" y="32930"/>
                  </a:lnTo>
                  <a:lnTo>
                    <a:pt x="16102" y="31767"/>
                  </a:lnTo>
                  <a:lnTo>
                    <a:pt x="16356" y="30604"/>
                  </a:lnTo>
                  <a:lnTo>
                    <a:pt x="16575" y="29404"/>
                  </a:lnTo>
                  <a:lnTo>
                    <a:pt x="16793" y="28205"/>
                  </a:lnTo>
                  <a:lnTo>
                    <a:pt x="16974" y="26969"/>
                  </a:lnTo>
                  <a:lnTo>
                    <a:pt x="17120" y="25733"/>
                  </a:lnTo>
                  <a:lnTo>
                    <a:pt x="17374" y="23225"/>
                  </a:lnTo>
                  <a:lnTo>
                    <a:pt x="17556" y="20681"/>
                  </a:lnTo>
                  <a:lnTo>
                    <a:pt x="17665" y="18137"/>
                  </a:lnTo>
                  <a:lnTo>
                    <a:pt x="17701" y="15556"/>
                  </a:lnTo>
                  <a:lnTo>
                    <a:pt x="17701" y="13049"/>
                  </a:lnTo>
                  <a:lnTo>
                    <a:pt x="17629" y="10541"/>
                  </a:lnTo>
                  <a:lnTo>
                    <a:pt x="17520" y="8106"/>
                  </a:lnTo>
                  <a:lnTo>
                    <a:pt x="17374" y="5707"/>
                  </a:lnTo>
                  <a:lnTo>
                    <a:pt x="17192" y="3381"/>
                  </a:lnTo>
                  <a:lnTo>
                    <a:pt x="16974" y="1164"/>
                  </a:lnTo>
                  <a:lnTo>
                    <a:pt x="16974" y="1164"/>
                  </a:lnTo>
                  <a:lnTo>
                    <a:pt x="16974" y="1164"/>
                  </a:lnTo>
                  <a:lnTo>
                    <a:pt x="16211" y="1127"/>
                  </a:lnTo>
                  <a:lnTo>
                    <a:pt x="15484" y="1054"/>
                  </a:lnTo>
                  <a:lnTo>
                    <a:pt x="14830" y="945"/>
                  </a:lnTo>
                  <a:lnTo>
                    <a:pt x="14285" y="836"/>
                  </a:lnTo>
                  <a:lnTo>
                    <a:pt x="13849" y="691"/>
                  </a:lnTo>
                  <a:lnTo>
                    <a:pt x="13521" y="546"/>
                  </a:lnTo>
                  <a:lnTo>
                    <a:pt x="13412" y="473"/>
                  </a:lnTo>
                  <a:lnTo>
                    <a:pt x="13340" y="364"/>
                  </a:lnTo>
                  <a:lnTo>
                    <a:pt x="13303" y="255"/>
                  </a:lnTo>
                  <a:lnTo>
                    <a:pt x="13267" y="182"/>
                  </a:lnTo>
                  <a:lnTo>
                    <a:pt x="13267" y="182"/>
                  </a:lnTo>
                  <a:lnTo>
                    <a:pt x="13267" y="182"/>
                  </a:lnTo>
                  <a:lnTo>
                    <a:pt x="13267" y="182"/>
                  </a:lnTo>
                  <a:lnTo>
                    <a:pt x="13267" y="182"/>
                  </a:lnTo>
                  <a:lnTo>
                    <a:pt x="13267" y="182"/>
                  </a:lnTo>
                  <a:lnTo>
                    <a:pt x="1330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5" name="Google Shape;2694;p11">
              <a:extLst>
                <a:ext uri="{FF2B5EF4-FFF2-40B4-BE49-F238E27FC236}">
                  <a16:creationId xmlns:a16="http://schemas.microsoft.com/office/drawing/2014/main" id="{1411E310-4A0E-506D-9AD4-4DE050F4F2C1}"/>
                </a:ext>
              </a:extLst>
            </p:cNvPr>
            <p:cNvSpPr/>
            <p:nvPr/>
          </p:nvSpPr>
          <p:spPr>
            <a:xfrm>
              <a:off x="608850" y="3416300"/>
              <a:ext cx="48175" cy="102700"/>
            </a:xfrm>
            <a:custGeom>
              <a:avLst/>
              <a:gdLst/>
              <a:ahLst/>
              <a:cxnLst/>
              <a:rect l="l" t="t" r="r" b="b"/>
              <a:pathLst>
                <a:path w="1927" h="4108" extrusionOk="0">
                  <a:moveTo>
                    <a:pt x="0" y="4107"/>
                  </a:moveTo>
                  <a:lnTo>
                    <a:pt x="0" y="4107"/>
                  </a:lnTo>
                  <a:lnTo>
                    <a:pt x="0" y="4107"/>
                  </a:lnTo>
                  <a:lnTo>
                    <a:pt x="0" y="4107"/>
                  </a:lnTo>
                  <a:lnTo>
                    <a:pt x="0" y="4107"/>
                  </a:lnTo>
                  <a:close/>
                  <a:moveTo>
                    <a:pt x="1926" y="0"/>
                  </a:moveTo>
                  <a:lnTo>
                    <a:pt x="1926" y="0"/>
                  </a:lnTo>
                  <a:lnTo>
                    <a:pt x="1926" y="0"/>
                  </a:lnTo>
                  <a:lnTo>
                    <a:pt x="1563" y="1090"/>
                  </a:lnTo>
                  <a:lnTo>
                    <a:pt x="1127" y="2072"/>
                  </a:lnTo>
                  <a:lnTo>
                    <a:pt x="909" y="2544"/>
                  </a:lnTo>
                  <a:lnTo>
                    <a:pt x="654" y="3017"/>
                  </a:lnTo>
                  <a:lnTo>
                    <a:pt x="364" y="3453"/>
                  </a:lnTo>
                  <a:lnTo>
                    <a:pt x="109" y="3853"/>
                  </a:lnTo>
                  <a:lnTo>
                    <a:pt x="109" y="3853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0" y="4107"/>
                  </a:lnTo>
                  <a:lnTo>
                    <a:pt x="0" y="4107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109" y="3853"/>
                  </a:lnTo>
                  <a:lnTo>
                    <a:pt x="109" y="3853"/>
                  </a:lnTo>
                  <a:lnTo>
                    <a:pt x="364" y="3453"/>
                  </a:lnTo>
                  <a:lnTo>
                    <a:pt x="654" y="3017"/>
                  </a:lnTo>
                  <a:lnTo>
                    <a:pt x="909" y="2544"/>
                  </a:lnTo>
                  <a:lnTo>
                    <a:pt x="1127" y="2072"/>
                  </a:lnTo>
                  <a:lnTo>
                    <a:pt x="1563" y="1090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rgbClr val="B9561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6" name="Google Shape;2695;p11">
              <a:extLst>
                <a:ext uri="{FF2B5EF4-FFF2-40B4-BE49-F238E27FC236}">
                  <a16:creationId xmlns:a16="http://schemas.microsoft.com/office/drawing/2014/main" id="{70F8BBED-4EFA-57FF-CD81-5EDD81258695}"/>
                </a:ext>
              </a:extLst>
            </p:cNvPr>
            <p:cNvSpPr/>
            <p:nvPr/>
          </p:nvSpPr>
          <p:spPr>
            <a:xfrm>
              <a:off x="608850" y="35189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7" name="Google Shape;2696;p11">
              <a:extLst>
                <a:ext uri="{FF2B5EF4-FFF2-40B4-BE49-F238E27FC236}">
                  <a16:creationId xmlns:a16="http://schemas.microsoft.com/office/drawing/2014/main" id="{9FDBDCCA-99F2-7491-5EDB-A6158572A396}"/>
                </a:ext>
              </a:extLst>
            </p:cNvPr>
            <p:cNvSpPr/>
            <p:nvPr/>
          </p:nvSpPr>
          <p:spPr>
            <a:xfrm>
              <a:off x="608850" y="3416300"/>
              <a:ext cx="48175" cy="102700"/>
            </a:xfrm>
            <a:custGeom>
              <a:avLst/>
              <a:gdLst/>
              <a:ahLst/>
              <a:cxnLst/>
              <a:rect l="l" t="t" r="r" b="b"/>
              <a:pathLst>
                <a:path w="1927" h="4108" fill="none" extrusionOk="0">
                  <a:moveTo>
                    <a:pt x="1926" y="0"/>
                  </a:moveTo>
                  <a:lnTo>
                    <a:pt x="1926" y="0"/>
                  </a:lnTo>
                  <a:lnTo>
                    <a:pt x="1926" y="0"/>
                  </a:lnTo>
                  <a:lnTo>
                    <a:pt x="1563" y="1090"/>
                  </a:lnTo>
                  <a:lnTo>
                    <a:pt x="1127" y="2072"/>
                  </a:lnTo>
                  <a:lnTo>
                    <a:pt x="909" y="2544"/>
                  </a:lnTo>
                  <a:lnTo>
                    <a:pt x="654" y="3017"/>
                  </a:lnTo>
                  <a:lnTo>
                    <a:pt x="364" y="3453"/>
                  </a:lnTo>
                  <a:lnTo>
                    <a:pt x="109" y="3853"/>
                  </a:lnTo>
                  <a:lnTo>
                    <a:pt x="109" y="3853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0" y="4107"/>
                  </a:lnTo>
                  <a:lnTo>
                    <a:pt x="0" y="4107"/>
                  </a:lnTo>
                  <a:lnTo>
                    <a:pt x="36" y="3925"/>
                  </a:lnTo>
                  <a:lnTo>
                    <a:pt x="36" y="3925"/>
                  </a:lnTo>
                  <a:lnTo>
                    <a:pt x="109" y="3853"/>
                  </a:lnTo>
                  <a:lnTo>
                    <a:pt x="109" y="3853"/>
                  </a:lnTo>
                  <a:lnTo>
                    <a:pt x="364" y="3453"/>
                  </a:lnTo>
                  <a:lnTo>
                    <a:pt x="654" y="3017"/>
                  </a:lnTo>
                  <a:lnTo>
                    <a:pt x="909" y="2544"/>
                  </a:lnTo>
                  <a:lnTo>
                    <a:pt x="1127" y="2072"/>
                  </a:lnTo>
                  <a:lnTo>
                    <a:pt x="1563" y="1090"/>
                  </a:lnTo>
                  <a:lnTo>
                    <a:pt x="1926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8" name="Google Shape;2697;p11">
              <a:extLst>
                <a:ext uri="{FF2B5EF4-FFF2-40B4-BE49-F238E27FC236}">
                  <a16:creationId xmlns:a16="http://schemas.microsoft.com/office/drawing/2014/main" id="{AA6FF98B-13F5-F731-D1A8-9581DB390F2F}"/>
                </a:ext>
              </a:extLst>
            </p:cNvPr>
            <p:cNvSpPr/>
            <p:nvPr/>
          </p:nvSpPr>
          <p:spPr>
            <a:xfrm>
              <a:off x="608850" y="3330875"/>
              <a:ext cx="92700" cy="212650"/>
            </a:xfrm>
            <a:custGeom>
              <a:avLst/>
              <a:gdLst/>
              <a:ahLst/>
              <a:cxnLst/>
              <a:rect l="l" t="t" r="r" b="b"/>
              <a:pathLst>
                <a:path w="3708" h="8506" extrusionOk="0">
                  <a:moveTo>
                    <a:pt x="2581" y="1"/>
                  </a:moveTo>
                  <a:lnTo>
                    <a:pt x="2472" y="873"/>
                  </a:lnTo>
                  <a:lnTo>
                    <a:pt x="2326" y="1745"/>
                  </a:lnTo>
                  <a:lnTo>
                    <a:pt x="2144" y="2618"/>
                  </a:lnTo>
                  <a:lnTo>
                    <a:pt x="1926" y="3417"/>
                  </a:lnTo>
                  <a:lnTo>
                    <a:pt x="1563" y="4507"/>
                  </a:lnTo>
                  <a:lnTo>
                    <a:pt x="1127" y="5489"/>
                  </a:lnTo>
                  <a:lnTo>
                    <a:pt x="909" y="5961"/>
                  </a:lnTo>
                  <a:lnTo>
                    <a:pt x="654" y="6434"/>
                  </a:lnTo>
                  <a:lnTo>
                    <a:pt x="364" y="6870"/>
                  </a:lnTo>
                  <a:lnTo>
                    <a:pt x="109" y="7270"/>
                  </a:lnTo>
                  <a:lnTo>
                    <a:pt x="36" y="7342"/>
                  </a:lnTo>
                  <a:lnTo>
                    <a:pt x="0" y="7524"/>
                  </a:lnTo>
                  <a:lnTo>
                    <a:pt x="36" y="7597"/>
                  </a:lnTo>
                  <a:lnTo>
                    <a:pt x="73" y="7706"/>
                  </a:lnTo>
                  <a:lnTo>
                    <a:pt x="145" y="7815"/>
                  </a:lnTo>
                  <a:lnTo>
                    <a:pt x="254" y="7888"/>
                  </a:lnTo>
                  <a:lnTo>
                    <a:pt x="582" y="8033"/>
                  </a:lnTo>
                  <a:lnTo>
                    <a:pt x="1018" y="8178"/>
                  </a:lnTo>
                  <a:lnTo>
                    <a:pt x="1563" y="8287"/>
                  </a:lnTo>
                  <a:lnTo>
                    <a:pt x="2217" y="8396"/>
                  </a:lnTo>
                  <a:lnTo>
                    <a:pt x="2944" y="8469"/>
                  </a:lnTo>
                  <a:lnTo>
                    <a:pt x="3707" y="8506"/>
                  </a:lnTo>
                  <a:lnTo>
                    <a:pt x="3526" y="6652"/>
                  </a:lnTo>
                  <a:lnTo>
                    <a:pt x="3308" y="4835"/>
                  </a:lnTo>
                  <a:lnTo>
                    <a:pt x="2944" y="2254"/>
                  </a:lnTo>
                  <a:lnTo>
                    <a:pt x="2581" y="1"/>
                  </a:lnTo>
                  <a:close/>
                </a:path>
              </a:pathLst>
            </a:custGeom>
            <a:solidFill>
              <a:srgbClr val="B9561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9" name="Google Shape;2698;p11">
              <a:extLst>
                <a:ext uri="{FF2B5EF4-FFF2-40B4-BE49-F238E27FC236}">
                  <a16:creationId xmlns:a16="http://schemas.microsoft.com/office/drawing/2014/main" id="{8EC42C3C-3B81-981A-7FE1-95B4135E78A0}"/>
                </a:ext>
              </a:extLst>
            </p:cNvPr>
            <p:cNvSpPr/>
            <p:nvPr/>
          </p:nvSpPr>
          <p:spPr>
            <a:xfrm>
              <a:off x="608850" y="3330875"/>
              <a:ext cx="92700" cy="212650"/>
            </a:xfrm>
            <a:custGeom>
              <a:avLst/>
              <a:gdLst/>
              <a:ahLst/>
              <a:cxnLst/>
              <a:rect l="l" t="t" r="r" b="b"/>
              <a:pathLst>
                <a:path w="3708" h="8506" fill="none" extrusionOk="0">
                  <a:moveTo>
                    <a:pt x="2581" y="1"/>
                  </a:moveTo>
                  <a:lnTo>
                    <a:pt x="2581" y="1"/>
                  </a:lnTo>
                  <a:lnTo>
                    <a:pt x="2581" y="1"/>
                  </a:lnTo>
                  <a:lnTo>
                    <a:pt x="2472" y="873"/>
                  </a:lnTo>
                  <a:lnTo>
                    <a:pt x="2326" y="1745"/>
                  </a:lnTo>
                  <a:lnTo>
                    <a:pt x="2144" y="2618"/>
                  </a:lnTo>
                  <a:lnTo>
                    <a:pt x="1926" y="3417"/>
                  </a:lnTo>
                  <a:lnTo>
                    <a:pt x="1926" y="3417"/>
                  </a:lnTo>
                  <a:lnTo>
                    <a:pt x="1563" y="4507"/>
                  </a:lnTo>
                  <a:lnTo>
                    <a:pt x="1127" y="5489"/>
                  </a:lnTo>
                  <a:lnTo>
                    <a:pt x="909" y="5961"/>
                  </a:lnTo>
                  <a:lnTo>
                    <a:pt x="654" y="6434"/>
                  </a:lnTo>
                  <a:lnTo>
                    <a:pt x="364" y="6870"/>
                  </a:lnTo>
                  <a:lnTo>
                    <a:pt x="109" y="7270"/>
                  </a:lnTo>
                  <a:lnTo>
                    <a:pt x="109" y="7270"/>
                  </a:lnTo>
                  <a:lnTo>
                    <a:pt x="36" y="7342"/>
                  </a:lnTo>
                  <a:lnTo>
                    <a:pt x="36" y="7342"/>
                  </a:lnTo>
                  <a:lnTo>
                    <a:pt x="0" y="7524"/>
                  </a:lnTo>
                  <a:lnTo>
                    <a:pt x="0" y="7524"/>
                  </a:lnTo>
                  <a:lnTo>
                    <a:pt x="0" y="7524"/>
                  </a:lnTo>
                  <a:lnTo>
                    <a:pt x="0" y="7524"/>
                  </a:lnTo>
                  <a:lnTo>
                    <a:pt x="0" y="7524"/>
                  </a:lnTo>
                  <a:lnTo>
                    <a:pt x="0" y="7524"/>
                  </a:lnTo>
                  <a:lnTo>
                    <a:pt x="36" y="7597"/>
                  </a:lnTo>
                  <a:lnTo>
                    <a:pt x="73" y="7706"/>
                  </a:lnTo>
                  <a:lnTo>
                    <a:pt x="145" y="7815"/>
                  </a:lnTo>
                  <a:lnTo>
                    <a:pt x="254" y="7888"/>
                  </a:lnTo>
                  <a:lnTo>
                    <a:pt x="582" y="8033"/>
                  </a:lnTo>
                  <a:lnTo>
                    <a:pt x="1018" y="8178"/>
                  </a:lnTo>
                  <a:lnTo>
                    <a:pt x="1563" y="8287"/>
                  </a:lnTo>
                  <a:lnTo>
                    <a:pt x="2217" y="8396"/>
                  </a:lnTo>
                  <a:lnTo>
                    <a:pt x="2944" y="8469"/>
                  </a:lnTo>
                  <a:lnTo>
                    <a:pt x="3707" y="8506"/>
                  </a:lnTo>
                  <a:lnTo>
                    <a:pt x="3707" y="8506"/>
                  </a:lnTo>
                  <a:lnTo>
                    <a:pt x="3707" y="8506"/>
                  </a:lnTo>
                  <a:lnTo>
                    <a:pt x="3707" y="8506"/>
                  </a:lnTo>
                  <a:lnTo>
                    <a:pt x="3526" y="6652"/>
                  </a:lnTo>
                  <a:lnTo>
                    <a:pt x="3308" y="4835"/>
                  </a:lnTo>
                  <a:lnTo>
                    <a:pt x="3308" y="4835"/>
                  </a:lnTo>
                  <a:lnTo>
                    <a:pt x="2944" y="2254"/>
                  </a:lnTo>
                  <a:lnTo>
                    <a:pt x="2581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0" name="Google Shape;2699;p11">
              <a:extLst>
                <a:ext uri="{FF2B5EF4-FFF2-40B4-BE49-F238E27FC236}">
                  <a16:creationId xmlns:a16="http://schemas.microsoft.com/office/drawing/2014/main" id="{62344557-338E-5FD8-74C6-41E95F4489EF}"/>
                </a:ext>
              </a:extLst>
            </p:cNvPr>
            <p:cNvSpPr/>
            <p:nvPr/>
          </p:nvSpPr>
          <p:spPr>
            <a:xfrm>
              <a:off x="712425" y="2539450"/>
              <a:ext cx="203550" cy="181750"/>
            </a:xfrm>
            <a:custGeom>
              <a:avLst/>
              <a:gdLst/>
              <a:ahLst/>
              <a:cxnLst/>
              <a:rect l="l" t="t" r="r" b="b"/>
              <a:pathLst>
                <a:path w="8142" h="7270" extrusionOk="0">
                  <a:moveTo>
                    <a:pt x="4943" y="1"/>
                  </a:moveTo>
                  <a:lnTo>
                    <a:pt x="0" y="1382"/>
                  </a:lnTo>
                  <a:lnTo>
                    <a:pt x="473" y="2290"/>
                  </a:lnTo>
                  <a:lnTo>
                    <a:pt x="1672" y="4871"/>
                  </a:lnTo>
                  <a:lnTo>
                    <a:pt x="1890" y="5271"/>
                  </a:lnTo>
                  <a:lnTo>
                    <a:pt x="2109" y="5598"/>
                  </a:lnTo>
                  <a:lnTo>
                    <a:pt x="2399" y="5925"/>
                  </a:lnTo>
                  <a:lnTo>
                    <a:pt x="2654" y="6216"/>
                  </a:lnTo>
                  <a:lnTo>
                    <a:pt x="2944" y="6434"/>
                  </a:lnTo>
                  <a:lnTo>
                    <a:pt x="3272" y="6652"/>
                  </a:lnTo>
                  <a:lnTo>
                    <a:pt x="3599" y="6833"/>
                  </a:lnTo>
                  <a:lnTo>
                    <a:pt x="3962" y="6979"/>
                  </a:lnTo>
                  <a:lnTo>
                    <a:pt x="4326" y="7088"/>
                  </a:lnTo>
                  <a:lnTo>
                    <a:pt x="4725" y="7161"/>
                  </a:lnTo>
                  <a:lnTo>
                    <a:pt x="5125" y="7233"/>
                  </a:lnTo>
                  <a:lnTo>
                    <a:pt x="5525" y="7270"/>
                  </a:lnTo>
                  <a:lnTo>
                    <a:pt x="6361" y="7270"/>
                  </a:lnTo>
                  <a:lnTo>
                    <a:pt x="7233" y="7233"/>
                  </a:lnTo>
                  <a:lnTo>
                    <a:pt x="7415" y="7197"/>
                  </a:lnTo>
                  <a:lnTo>
                    <a:pt x="7597" y="7124"/>
                  </a:lnTo>
                  <a:lnTo>
                    <a:pt x="7742" y="7052"/>
                  </a:lnTo>
                  <a:lnTo>
                    <a:pt x="7887" y="6979"/>
                  </a:lnTo>
                  <a:lnTo>
                    <a:pt x="7960" y="6870"/>
                  </a:lnTo>
                  <a:lnTo>
                    <a:pt x="8033" y="6724"/>
                  </a:lnTo>
                  <a:lnTo>
                    <a:pt x="8106" y="6615"/>
                  </a:lnTo>
                  <a:lnTo>
                    <a:pt x="8142" y="6470"/>
                  </a:lnTo>
                  <a:lnTo>
                    <a:pt x="8142" y="6143"/>
                  </a:lnTo>
                  <a:lnTo>
                    <a:pt x="8106" y="5816"/>
                  </a:lnTo>
                  <a:lnTo>
                    <a:pt x="7997" y="5416"/>
                  </a:lnTo>
                  <a:lnTo>
                    <a:pt x="7887" y="5053"/>
                  </a:lnTo>
                  <a:lnTo>
                    <a:pt x="7560" y="4289"/>
                  </a:lnTo>
                  <a:lnTo>
                    <a:pt x="7306" y="3599"/>
                  </a:lnTo>
                  <a:lnTo>
                    <a:pt x="7197" y="3344"/>
                  </a:lnTo>
                  <a:lnTo>
                    <a:pt x="7124" y="3090"/>
                  </a:lnTo>
                  <a:lnTo>
                    <a:pt x="7124" y="2908"/>
                  </a:lnTo>
                  <a:lnTo>
                    <a:pt x="7124" y="2872"/>
                  </a:lnTo>
                  <a:lnTo>
                    <a:pt x="7161" y="2799"/>
                  </a:lnTo>
                  <a:lnTo>
                    <a:pt x="7270" y="2726"/>
                  </a:lnTo>
                  <a:lnTo>
                    <a:pt x="7306" y="2617"/>
                  </a:lnTo>
                  <a:lnTo>
                    <a:pt x="7342" y="2545"/>
                  </a:lnTo>
                  <a:lnTo>
                    <a:pt x="7306" y="2436"/>
                  </a:lnTo>
                  <a:lnTo>
                    <a:pt x="7233" y="2327"/>
                  </a:lnTo>
                  <a:lnTo>
                    <a:pt x="7124" y="2181"/>
                  </a:lnTo>
                  <a:lnTo>
                    <a:pt x="6833" y="1927"/>
                  </a:lnTo>
                  <a:lnTo>
                    <a:pt x="5998" y="1164"/>
                  </a:lnTo>
                  <a:lnTo>
                    <a:pt x="5489" y="618"/>
                  </a:lnTo>
                  <a:lnTo>
                    <a:pt x="4943" y="1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1" name="Google Shape;2700;p11">
              <a:extLst>
                <a:ext uri="{FF2B5EF4-FFF2-40B4-BE49-F238E27FC236}">
                  <a16:creationId xmlns:a16="http://schemas.microsoft.com/office/drawing/2014/main" id="{3D89A988-8293-529F-5389-E74C0D06DFDF}"/>
                </a:ext>
              </a:extLst>
            </p:cNvPr>
            <p:cNvSpPr/>
            <p:nvPr/>
          </p:nvSpPr>
          <p:spPr>
            <a:xfrm>
              <a:off x="274450" y="2480400"/>
              <a:ext cx="574300" cy="476150"/>
            </a:xfrm>
            <a:custGeom>
              <a:avLst/>
              <a:gdLst/>
              <a:ahLst/>
              <a:cxnLst/>
              <a:rect l="l" t="t" r="r" b="b"/>
              <a:pathLst>
                <a:path w="22972" h="19046" extrusionOk="0">
                  <a:moveTo>
                    <a:pt x="19046" y="0"/>
                  </a:moveTo>
                  <a:lnTo>
                    <a:pt x="18610" y="36"/>
                  </a:lnTo>
                  <a:lnTo>
                    <a:pt x="18137" y="36"/>
                  </a:lnTo>
                  <a:lnTo>
                    <a:pt x="17665" y="109"/>
                  </a:lnTo>
                  <a:lnTo>
                    <a:pt x="17120" y="218"/>
                  </a:lnTo>
                  <a:lnTo>
                    <a:pt x="16756" y="291"/>
                  </a:lnTo>
                  <a:lnTo>
                    <a:pt x="16393" y="436"/>
                  </a:lnTo>
                  <a:lnTo>
                    <a:pt x="16066" y="582"/>
                  </a:lnTo>
                  <a:lnTo>
                    <a:pt x="15775" y="763"/>
                  </a:lnTo>
                  <a:lnTo>
                    <a:pt x="15484" y="981"/>
                  </a:lnTo>
                  <a:lnTo>
                    <a:pt x="15230" y="1199"/>
                  </a:lnTo>
                  <a:lnTo>
                    <a:pt x="14975" y="1454"/>
                  </a:lnTo>
                  <a:lnTo>
                    <a:pt x="14757" y="1745"/>
                  </a:lnTo>
                  <a:lnTo>
                    <a:pt x="14539" y="1999"/>
                  </a:lnTo>
                  <a:lnTo>
                    <a:pt x="14321" y="2326"/>
                  </a:lnTo>
                  <a:lnTo>
                    <a:pt x="13994" y="2944"/>
                  </a:lnTo>
                  <a:lnTo>
                    <a:pt x="13667" y="3598"/>
                  </a:lnTo>
                  <a:lnTo>
                    <a:pt x="13449" y="4289"/>
                  </a:lnTo>
                  <a:lnTo>
                    <a:pt x="13231" y="4943"/>
                  </a:lnTo>
                  <a:lnTo>
                    <a:pt x="13049" y="5597"/>
                  </a:lnTo>
                  <a:lnTo>
                    <a:pt x="12722" y="6833"/>
                  </a:lnTo>
                  <a:lnTo>
                    <a:pt x="12576" y="7342"/>
                  </a:lnTo>
                  <a:lnTo>
                    <a:pt x="12431" y="7742"/>
                  </a:lnTo>
                  <a:lnTo>
                    <a:pt x="12286" y="8069"/>
                  </a:lnTo>
                  <a:lnTo>
                    <a:pt x="12213" y="8214"/>
                  </a:lnTo>
                  <a:lnTo>
                    <a:pt x="12140" y="8287"/>
                  </a:lnTo>
                  <a:lnTo>
                    <a:pt x="11777" y="8541"/>
                  </a:lnTo>
                  <a:lnTo>
                    <a:pt x="11450" y="8687"/>
                  </a:lnTo>
                  <a:lnTo>
                    <a:pt x="11086" y="8759"/>
                  </a:lnTo>
                  <a:lnTo>
                    <a:pt x="10650" y="8796"/>
                  </a:lnTo>
                  <a:lnTo>
                    <a:pt x="10105" y="8832"/>
                  </a:lnTo>
                  <a:lnTo>
                    <a:pt x="9414" y="8941"/>
                  </a:lnTo>
                  <a:lnTo>
                    <a:pt x="8506" y="9159"/>
                  </a:lnTo>
                  <a:lnTo>
                    <a:pt x="7379" y="9486"/>
                  </a:lnTo>
                  <a:lnTo>
                    <a:pt x="6797" y="9704"/>
                  </a:lnTo>
                  <a:lnTo>
                    <a:pt x="6361" y="9959"/>
                  </a:lnTo>
                  <a:lnTo>
                    <a:pt x="6034" y="10213"/>
                  </a:lnTo>
                  <a:lnTo>
                    <a:pt x="5780" y="10504"/>
                  </a:lnTo>
                  <a:lnTo>
                    <a:pt x="5598" y="10795"/>
                  </a:lnTo>
                  <a:lnTo>
                    <a:pt x="5489" y="11085"/>
                  </a:lnTo>
                  <a:lnTo>
                    <a:pt x="5453" y="11413"/>
                  </a:lnTo>
                  <a:lnTo>
                    <a:pt x="5416" y="11703"/>
                  </a:lnTo>
                  <a:lnTo>
                    <a:pt x="5489" y="12285"/>
                  </a:lnTo>
                  <a:lnTo>
                    <a:pt x="5525" y="12830"/>
                  </a:lnTo>
                  <a:lnTo>
                    <a:pt x="5525" y="13084"/>
                  </a:lnTo>
                  <a:lnTo>
                    <a:pt x="5489" y="13303"/>
                  </a:lnTo>
                  <a:lnTo>
                    <a:pt x="5380" y="13484"/>
                  </a:lnTo>
                  <a:lnTo>
                    <a:pt x="5235" y="13630"/>
                  </a:lnTo>
                  <a:lnTo>
                    <a:pt x="5053" y="13739"/>
                  </a:lnTo>
                  <a:lnTo>
                    <a:pt x="4871" y="13811"/>
                  </a:lnTo>
                  <a:lnTo>
                    <a:pt x="4580" y="13920"/>
                  </a:lnTo>
                  <a:lnTo>
                    <a:pt x="4253" y="13957"/>
                  </a:lnTo>
                  <a:lnTo>
                    <a:pt x="3926" y="13920"/>
                  </a:lnTo>
                  <a:lnTo>
                    <a:pt x="3563" y="13957"/>
                  </a:lnTo>
                  <a:lnTo>
                    <a:pt x="3199" y="13993"/>
                  </a:lnTo>
                  <a:lnTo>
                    <a:pt x="2836" y="14102"/>
                  </a:lnTo>
                  <a:lnTo>
                    <a:pt x="2618" y="14211"/>
                  </a:lnTo>
                  <a:lnTo>
                    <a:pt x="2400" y="14320"/>
                  </a:lnTo>
                  <a:lnTo>
                    <a:pt x="1927" y="14684"/>
                  </a:lnTo>
                  <a:lnTo>
                    <a:pt x="1455" y="15084"/>
                  </a:lnTo>
                  <a:lnTo>
                    <a:pt x="1019" y="15556"/>
                  </a:lnTo>
                  <a:lnTo>
                    <a:pt x="655" y="16028"/>
                  </a:lnTo>
                  <a:lnTo>
                    <a:pt x="328" y="16537"/>
                  </a:lnTo>
                  <a:lnTo>
                    <a:pt x="110" y="17010"/>
                  </a:lnTo>
                  <a:lnTo>
                    <a:pt x="37" y="17228"/>
                  </a:lnTo>
                  <a:lnTo>
                    <a:pt x="1" y="17410"/>
                  </a:lnTo>
                  <a:lnTo>
                    <a:pt x="1" y="17591"/>
                  </a:lnTo>
                  <a:lnTo>
                    <a:pt x="37" y="17773"/>
                  </a:lnTo>
                  <a:lnTo>
                    <a:pt x="183" y="17991"/>
                  </a:lnTo>
                  <a:lnTo>
                    <a:pt x="364" y="18173"/>
                  </a:lnTo>
                  <a:lnTo>
                    <a:pt x="619" y="18355"/>
                  </a:lnTo>
                  <a:lnTo>
                    <a:pt x="946" y="18500"/>
                  </a:lnTo>
                  <a:lnTo>
                    <a:pt x="1309" y="18645"/>
                  </a:lnTo>
                  <a:lnTo>
                    <a:pt x="1745" y="18754"/>
                  </a:lnTo>
                  <a:lnTo>
                    <a:pt x="2254" y="18863"/>
                  </a:lnTo>
                  <a:lnTo>
                    <a:pt x="2763" y="18936"/>
                  </a:lnTo>
                  <a:lnTo>
                    <a:pt x="3345" y="19009"/>
                  </a:lnTo>
                  <a:lnTo>
                    <a:pt x="3963" y="19045"/>
                  </a:lnTo>
                  <a:lnTo>
                    <a:pt x="5307" y="19045"/>
                  </a:lnTo>
                  <a:lnTo>
                    <a:pt x="5998" y="19009"/>
                  </a:lnTo>
                  <a:lnTo>
                    <a:pt x="6725" y="18936"/>
                  </a:lnTo>
                  <a:lnTo>
                    <a:pt x="7488" y="18863"/>
                  </a:lnTo>
                  <a:lnTo>
                    <a:pt x="8251" y="18754"/>
                  </a:lnTo>
                  <a:lnTo>
                    <a:pt x="9015" y="18609"/>
                  </a:lnTo>
                  <a:lnTo>
                    <a:pt x="9814" y="18427"/>
                  </a:lnTo>
                  <a:lnTo>
                    <a:pt x="10614" y="18246"/>
                  </a:lnTo>
                  <a:lnTo>
                    <a:pt x="11377" y="18028"/>
                  </a:lnTo>
                  <a:lnTo>
                    <a:pt x="12177" y="17773"/>
                  </a:lnTo>
                  <a:lnTo>
                    <a:pt x="12940" y="17482"/>
                  </a:lnTo>
                  <a:lnTo>
                    <a:pt x="13703" y="17155"/>
                  </a:lnTo>
                  <a:lnTo>
                    <a:pt x="14466" y="16828"/>
                  </a:lnTo>
                  <a:lnTo>
                    <a:pt x="15193" y="16465"/>
                  </a:lnTo>
                  <a:lnTo>
                    <a:pt x="15848" y="16101"/>
                  </a:lnTo>
                  <a:lnTo>
                    <a:pt x="16429" y="15738"/>
                  </a:lnTo>
                  <a:lnTo>
                    <a:pt x="16974" y="15374"/>
                  </a:lnTo>
                  <a:lnTo>
                    <a:pt x="17447" y="15047"/>
                  </a:lnTo>
                  <a:lnTo>
                    <a:pt x="17883" y="14720"/>
                  </a:lnTo>
                  <a:lnTo>
                    <a:pt x="18283" y="14393"/>
                  </a:lnTo>
                  <a:lnTo>
                    <a:pt x="18610" y="14066"/>
                  </a:lnTo>
                  <a:lnTo>
                    <a:pt x="18937" y="13775"/>
                  </a:lnTo>
                  <a:lnTo>
                    <a:pt x="19191" y="13448"/>
                  </a:lnTo>
                  <a:lnTo>
                    <a:pt x="19409" y="13157"/>
                  </a:lnTo>
                  <a:lnTo>
                    <a:pt x="19591" y="12866"/>
                  </a:lnTo>
                  <a:lnTo>
                    <a:pt x="19773" y="12576"/>
                  </a:lnTo>
                  <a:lnTo>
                    <a:pt x="19882" y="12285"/>
                  </a:lnTo>
                  <a:lnTo>
                    <a:pt x="20064" y="11740"/>
                  </a:lnTo>
                  <a:lnTo>
                    <a:pt x="20173" y="11231"/>
                  </a:lnTo>
                  <a:lnTo>
                    <a:pt x="20209" y="10758"/>
                  </a:lnTo>
                  <a:lnTo>
                    <a:pt x="20173" y="10322"/>
                  </a:lnTo>
                  <a:lnTo>
                    <a:pt x="20136" y="9886"/>
                  </a:lnTo>
                  <a:lnTo>
                    <a:pt x="20064" y="9123"/>
                  </a:lnTo>
                  <a:lnTo>
                    <a:pt x="20064" y="8759"/>
                  </a:lnTo>
                  <a:lnTo>
                    <a:pt x="20136" y="8469"/>
                  </a:lnTo>
                  <a:lnTo>
                    <a:pt x="20173" y="8287"/>
                  </a:lnTo>
                  <a:lnTo>
                    <a:pt x="20209" y="8141"/>
                  </a:lnTo>
                  <a:lnTo>
                    <a:pt x="20173" y="7778"/>
                  </a:lnTo>
                  <a:lnTo>
                    <a:pt x="20136" y="7596"/>
                  </a:lnTo>
                  <a:lnTo>
                    <a:pt x="20064" y="7451"/>
                  </a:lnTo>
                  <a:lnTo>
                    <a:pt x="19991" y="7306"/>
                  </a:lnTo>
                  <a:lnTo>
                    <a:pt x="19882" y="7196"/>
                  </a:lnTo>
                  <a:lnTo>
                    <a:pt x="19518" y="6869"/>
                  </a:lnTo>
                  <a:lnTo>
                    <a:pt x="19337" y="6688"/>
                  </a:lnTo>
                  <a:lnTo>
                    <a:pt x="19155" y="6506"/>
                  </a:lnTo>
                  <a:lnTo>
                    <a:pt x="19046" y="6324"/>
                  </a:lnTo>
                  <a:lnTo>
                    <a:pt x="19010" y="6142"/>
                  </a:lnTo>
                  <a:lnTo>
                    <a:pt x="19010" y="6033"/>
                  </a:lnTo>
                  <a:lnTo>
                    <a:pt x="19010" y="5961"/>
                  </a:lnTo>
                  <a:lnTo>
                    <a:pt x="19082" y="5852"/>
                  </a:lnTo>
                  <a:lnTo>
                    <a:pt x="19155" y="5743"/>
                  </a:lnTo>
                  <a:lnTo>
                    <a:pt x="19300" y="5597"/>
                  </a:lnTo>
                  <a:lnTo>
                    <a:pt x="19482" y="5488"/>
                  </a:lnTo>
                  <a:lnTo>
                    <a:pt x="19628" y="5416"/>
                  </a:lnTo>
                  <a:lnTo>
                    <a:pt x="19809" y="5379"/>
                  </a:lnTo>
                  <a:lnTo>
                    <a:pt x="19955" y="5343"/>
                  </a:lnTo>
                  <a:lnTo>
                    <a:pt x="20136" y="5379"/>
                  </a:lnTo>
                  <a:lnTo>
                    <a:pt x="20245" y="5416"/>
                  </a:lnTo>
                  <a:lnTo>
                    <a:pt x="20354" y="5488"/>
                  </a:lnTo>
                  <a:lnTo>
                    <a:pt x="20463" y="5561"/>
                  </a:lnTo>
                  <a:lnTo>
                    <a:pt x="20609" y="5634"/>
                  </a:lnTo>
                  <a:lnTo>
                    <a:pt x="20936" y="5634"/>
                  </a:lnTo>
                  <a:lnTo>
                    <a:pt x="21081" y="5597"/>
                  </a:lnTo>
                  <a:lnTo>
                    <a:pt x="21227" y="5525"/>
                  </a:lnTo>
                  <a:lnTo>
                    <a:pt x="21336" y="5452"/>
                  </a:lnTo>
                  <a:lnTo>
                    <a:pt x="21445" y="5343"/>
                  </a:lnTo>
                  <a:lnTo>
                    <a:pt x="21554" y="5125"/>
                  </a:lnTo>
                  <a:lnTo>
                    <a:pt x="21736" y="4870"/>
                  </a:lnTo>
                  <a:lnTo>
                    <a:pt x="22172" y="4289"/>
                  </a:lnTo>
                  <a:lnTo>
                    <a:pt x="22390" y="3925"/>
                  </a:lnTo>
                  <a:lnTo>
                    <a:pt x="22608" y="3562"/>
                  </a:lnTo>
                  <a:lnTo>
                    <a:pt x="22790" y="3126"/>
                  </a:lnTo>
                  <a:lnTo>
                    <a:pt x="22971" y="2653"/>
                  </a:lnTo>
                  <a:lnTo>
                    <a:pt x="22971" y="2508"/>
                  </a:lnTo>
                  <a:lnTo>
                    <a:pt x="22935" y="2290"/>
                  </a:lnTo>
                  <a:lnTo>
                    <a:pt x="22862" y="2108"/>
                  </a:lnTo>
                  <a:lnTo>
                    <a:pt x="22753" y="1890"/>
                  </a:lnTo>
                  <a:lnTo>
                    <a:pt x="22535" y="1490"/>
                  </a:lnTo>
                  <a:lnTo>
                    <a:pt x="22281" y="1199"/>
                  </a:lnTo>
                  <a:lnTo>
                    <a:pt x="21990" y="945"/>
                  </a:lnTo>
                  <a:lnTo>
                    <a:pt x="21590" y="691"/>
                  </a:lnTo>
                  <a:lnTo>
                    <a:pt x="21081" y="436"/>
                  </a:lnTo>
                  <a:lnTo>
                    <a:pt x="20536" y="254"/>
                  </a:lnTo>
                  <a:lnTo>
                    <a:pt x="20209" y="145"/>
                  </a:lnTo>
                  <a:lnTo>
                    <a:pt x="19846" y="73"/>
                  </a:lnTo>
                  <a:lnTo>
                    <a:pt x="19446" y="36"/>
                  </a:lnTo>
                  <a:lnTo>
                    <a:pt x="1904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2" name="Google Shape;2701;p11">
              <a:extLst>
                <a:ext uri="{FF2B5EF4-FFF2-40B4-BE49-F238E27FC236}">
                  <a16:creationId xmlns:a16="http://schemas.microsoft.com/office/drawing/2014/main" id="{D1DEA095-0B0A-F407-0626-D068DA68356F}"/>
                </a:ext>
              </a:extLst>
            </p:cNvPr>
            <p:cNvSpPr/>
            <p:nvPr/>
          </p:nvSpPr>
          <p:spPr>
            <a:xfrm>
              <a:off x="4028975" y="2222325"/>
              <a:ext cx="203550" cy="331700"/>
            </a:xfrm>
            <a:custGeom>
              <a:avLst/>
              <a:gdLst/>
              <a:ahLst/>
              <a:cxnLst/>
              <a:rect l="l" t="t" r="r" b="b"/>
              <a:pathLst>
                <a:path w="8142" h="13268" extrusionOk="0">
                  <a:moveTo>
                    <a:pt x="7778" y="1"/>
                  </a:moveTo>
                  <a:lnTo>
                    <a:pt x="7597" y="74"/>
                  </a:lnTo>
                  <a:lnTo>
                    <a:pt x="7415" y="255"/>
                  </a:lnTo>
                  <a:lnTo>
                    <a:pt x="7233" y="473"/>
                  </a:lnTo>
                  <a:lnTo>
                    <a:pt x="7051" y="764"/>
                  </a:lnTo>
                  <a:lnTo>
                    <a:pt x="6688" y="1418"/>
                  </a:lnTo>
                  <a:lnTo>
                    <a:pt x="5997" y="2872"/>
                  </a:lnTo>
                  <a:lnTo>
                    <a:pt x="5670" y="3417"/>
                  </a:lnTo>
                  <a:lnTo>
                    <a:pt x="5525" y="3599"/>
                  </a:lnTo>
                  <a:lnTo>
                    <a:pt x="5379" y="3708"/>
                  </a:lnTo>
                  <a:lnTo>
                    <a:pt x="5234" y="3781"/>
                  </a:lnTo>
                  <a:lnTo>
                    <a:pt x="5016" y="3817"/>
                  </a:lnTo>
                  <a:lnTo>
                    <a:pt x="4834" y="3781"/>
                  </a:lnTo>
                  <a:lnTo>
                    <a:pt x="4653" y="3708"/>
                  </a:lnTo>
                  <a:lnTo>
                    <a:pt x="4216" y="3563"/>
                  </a:lnTo>
                  <a:lnTo>
                    <a:pt x="3780" y="3345"/>
                  </a:lnTo>
                  <a:lnTo>
                    <a:pt x="3562" y="3272"/>
                  </a:lnTo>
                  <a:lnTo>
                    <a:pt x="3380" y="3236"/>
                  </a:lnTo>
                  <a:lnTo>
                    <a:pt x="3162" y="3199"/>
                  </a:lnTo>
                  <a:lnTo>
                    <a:pt x="2944" y="3236"/>
                  </a:lnTo>
                  <a:lnTo>
                    <a:pt x="2726" y="3308"/>
                  </a:lnTo>
                  <a:lnTo>
                    <a:pt x="2545" y="3454"/>
                  </a:lnTo>
                  <a:lnTo>
                    <a:pt x="2363" y="3672"/>
                  </a:lnTo>
                  <a:lnTo>
                    <a:pt x="2181" y="3963"/>
                  </a:lnTo>
                  <a:lnTo>
                    <a:pt x="2108" y="4108"/>
                  </a:lnTo>
                  <a:lnTo>
                    <a:pt x="2072" y="4253"/>
                  </a:lnTo>
                  <a:lnTo>
                    <a:pt x="2036" y="4580"/>
                  </a:lnTo>
                  <a:lnTo>
                    <a:pt x="2036" y="4944"/>
                  </a:lnTo>
                  <a:lnTo>
                    <a:pt x="2072" y="5344"/>
                  </a:lnTo>
                  <a:lnTo>
                    <a:pt x="2072" y="5816"/>
                  </a:lnTo>
                  <a:lnTo>
                    <a:pt x="2036" y="6361"/>
                  </a:lnTo>
                  <a:lnTo>
                    <a:pt x="1963" y="6979"/>
                  </a:lnTo>
                  <a:lnTo>
                    <a:pt x="1745" y="7706"/>
                  </a:lnTo>
                  <a:lnTo>
                    <a:pt x="1563" y="8251"/>
                  </a:lnTo>
                  <a:lnTo>
                    <a:pt x="1309" y="8869"/>
                  </a:lnTo>
                  <a:lnTo>
                    <a:pt x="691" y="10250"/>
                  </a:lnTo>
                  <a:lnTo>
                    <a:pt x="182" y="11486"/>
                  </a:lnTo>
                  <a:lnTo>
                    <a:pt x="37" y="11959"/>
                  </a:lnTo>
                  <a:lnTo>
                    <a:pt x="0" y="12140"/>
                  </a:lnTo>
                  <a:lnTo>
                    <a:pt x="0" y="12249"/>
                  </a:lnTo>
                  <a:lnTo>
                    <a:pt x="37" y="12358"/>
                  </a:lnTo>
                  <a:lnTo>
                    <a:pt x="146" y="12467"/>
                  </a:lnTo>
                  <a:lnTo>
                    <a:pt x="364" y="12540"/>
                  </a:lnTo>
                  <a:lnTo>
                    <a:pt x="582" y="12649"/>
                  </a:lnTo>
                  <a:lnTo>
                    <a:pt x="1163" y="12831"/>
                  </a:lnTo>
                  <a:lnTo>
                    <a:pt x="1854" y="12976"/>
                  </a:lnTo>
                  <a:lnTo>
                    <a:pt x="3126" y="13194"/>
                  </a:lnTo>
                  <a:lnTo>
                    <a:pt x="3671" y="13267"/>
                  </a:lnTo>
                  <a:lnTo>
                    <a:pt x="3962" y="12431"/>
                  </a:lnTo>
                  <a:lnTo>
                    <a:pt x="4253" y="11450"/>
                  </a:lnTo>
                  <a:lnTo>
                    <a:pt x="4507" y="10396"/>
                  </a:lnTo>
                  <a:lnTo>
                    <a:pt x="4725" y="9378"/>
                  </a:lnTo>
                  <a:lnTo>
                    <a:pt x="4907" y="8469"/>
                  </a:lnTo>
                  <a:lnTo>
                    <a:pt x="5161" y="7524"/>
                  </a:lnTo>
                  <a:lnTo>
                    <a:pt x="5307" y="7088"/>
                  </a:lnTo>
                  <a:lnTo>
                    <a:pt x="5489" y="6688"/>
                  </a:lnTo>
                  <a:lnTo>
                    <a:pt x="5670" y="6289"/>
                  </a:lnTo>
                  <a:lnTo>
                    <a:pt x="5925" y="5889"/>
                  </a:lnTo>
                  <a:lnTo>
                    <a:pt x="6288" y="5307"/>
                  </a:lnTo>
                  <a:lnTo>
                    <a:pt x="6688" y="4508"/>
                  </a:lnTo>
                  <a:lnTo>
                    <a:pt x="7088" y="3599"/>
                  </a:lnTo>
                  <a:lnTo>
                    <a:pt x="7451" y="2654"/>
                  </a:lnTo>
                  <a:lnTo>
                    <a:pt x="7778" y="1745"/>
                  </a:lnTo>
                  <a:lnTo>
                    <a:pt x="8033" y="982"/>
                  </a:lnTo>
                  <a:lnTo>
                    <a:pt x="8142" y="437"/>
                  </a:lnTo>
                  <a:lnTo>
                    <a:pt x="8142" y="255"/>
                  </a:lnTo>
                  <a:lnTo>
                    <a:pt x="8142" y="146"/>
                  </a:lnTo>
                  <a:lnTo>
                    <a:pt x="8033" y="74"/>
                  </a:lnTo>
                  <a:lnTo>
                    <a:pt x="7960" y="37"/>
                  </a:lnTo>
                  <a:lnTo>
                    <a:pt x="7887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3" name="Google Shape;2702;p11">
              <a:extLst>
                <a:ext uri="{FF2B5EF4-FFF2-40B4-BE49-F238E27FC236}">
                  <a16:creationId xmlns:a16="http://schemas.microsoft.com/office/drawing/2014/main" id="{521E34D0-E3E4-83DD-65F0-F3D586F8F752}"/>
                </a:ext>
              </a:extLst>
            </p:cNvPr>
            <p:cNvSpPr/>
            <p:nvPr/>
          </p:nvSpPr>
          <p:spPr>
            <a:xfrm>
              <a:off x="4182525" y="5112725"/>
              <a:ext cx="142700" cy="236275"/>
            </a:xfrm>
            <a:custGeom>
              <a:avLst/>
              <a:gdLst/>
              <a:ahLst/>
              <a:cxnLst/>
              <a:rect l="l" t="t" r="r" b="b"/>
              <a:pathLst>
                <a:path w="5708" h="9451" extrusionOk="0">
                  <a:moveTo>
                    <a:pt x="364" y="1"/>
                  </a:moveTo>
                  <a:lnTo>
                    <a:pt x="182" y="2654"/>
                  </a:lnTo>
                  <a:lnTo>
                    <a:pt x="37" y="4871"/>
                  </a:lnTo>
                  <a:lnTo>
                    <a:pt x="1" y="5889"/>
                  </a:lnTo>
                  <a:lnTo>
                    <a:pt x="37" y="6725"/>
                  </a:lnTo>
                  <a:lnTo>
                    <a:pt x="1346" y="9450"/>
                  </a:lnTo>
                  <a:lnTo>
                    <a:pt x="5016" y="7342"/>
                  </a:lnTo>
                  <a:lnTo>
                    <a:pt x="5707" y="110"/>
                  </a:lnTo>
                  <a:lnTo>
                    <a:pt x="364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4" name="Google Shape;2703;p11">
              <a:extLst>
                <a:ext uri="{FF2B5EF4-FFF2-40B4-BE49-F238E27FC236}">
                  <a16:creationId xmlns:a16="http://schemas.microsoft.com/office/drawing/2014/main" id="{86ADF400-77F4-C686-8878-273C84F9152F}"/>
                </a:ext>
              </a:extLst>
            </p:cNvPr>
            <p:cNvSpPr/>
            <p:nvPr/>
          </p:nvSpPr>
          <p:spPr>
            <a:xfrm>
              <a:off x="3929925" y="5259925"/>
              <a:ext cx="395300" cy="150850"/>
            </a:xfrm>
            <a:custGeom>
              <a:avLst/>
              <a:gdLst/>
              <a:ahLst/>
              <a:cxnLst/>
              <a:rect l="l" t="t" r="r" b="b"/>
              <a:pathLst>
                <a:path w="15812" h="6034" extrusionOk="0">
                  <a:moveTo>
                    <a:pt x="9596" y="1"/>
                  </a:moveTo>
                  <a:lnTo>
                    <a:pt x="9451" y="37"/>
                  </a:lnTo>
                  <a:lnTo>
                    <a:pt x="9378" y="110"/>
                  </a:lnTo>
                  <a:lnTo>
                    <a:pt x="9341" y="255"/>
                  </a:lnTo>
                  <a:lnTo>
                    <a:pt x="9305" y="655"/>
                  </a:lnTo>
                  <a:lnTo>
                    <a:pt x="9269" y="909"/>
                  </a:lnTo>
                  <a:lnTo>
                    <a:pt x="9196" y="1200"/>
                  </a:lnTo>
                  <a:lnTo>
                    <a:pt x="9123" y="1345"/>
                  </a:lnTo>
                  <a:lnTo>
                    <a:pt x="9051" y="1527"/>
                  </a:lnTo>
                  <a:lnTo>
                    <a:pt x="8905" y="1672"/>
                  </a:lnTo>
                  <a:lnTo>
                    <a:pt x="8724" y="1781"/>
                  </a:lnTo>
                  <a:lnTo>
                    <a:pt x="8542" y="1927"/>
                  </a:lnTo>
                  <a:lnTo>
                    <a:pt x="8324" y="2036"/>
                  </a:lnTo>
                  <a:lnTo>
                    <a:pt x="7779" y="2254"/>
                  </a:lnTo>
                  <a:lnTo>
                    <a:pt x="7197" y="2436"/>
                  </a:lnTo>
                  <a:lnTo>
                    <a:pt x="6543" y="2581"/>
                  </a:lnTo>
                  <a:lnTo>
                    <a:pt x="5852" y="2690"/>
                  </a:lnTo>
                  <a:lnTo>
                    <a:pt x="5125" y="2799"/>
                  </a:lnTo>
                  <a:lnTo>
                    <a:pt x="3635" y="2945"/>
                  </a:lnTo>
                  <a:lnTo>
                    <a:pt x="2327" y="3017"/>
                  </a:lnTo>
                  <a:lnTo>
                    <a:pt x="1236" y="3090"/>
                  </a:lnTo>
                  <a:lnTo>
                    <a:pt x="582" y="3126"/>
                  </a:lnTo>
                  <a:lnTo>
                    <a:pt x="473" y="3163"/>
                  </a:lnTo>
                  <a:lnTo>
                    <a:pt x="364" y="3272"/>
                  </a:lnTo>
                  <a:lnTo>
                    <a:pt x="255" y="3417"/>
                  </a:lnTo>
                  <a:lnTo>
                    <a:pt x="182" y="3599"/>
                  </a:lnTo>
                  <a:lnTo>
                    <a:pt x="73" y="3817"/>
                  </a:lnTo>
                  <a:lnTo>
                    <a:pt x="37" y="4035"/>
                  </a:lnTo>
                  <a:lnTo>
                    <a:pt x="1" y="4289"/>
                  </a:lnTo>
                  <a:lnTo>
                    <a:pt x="1" y="4544"/>
                  </a:lnTo>
                  <a:lnTo>
                    <a:pt x="37" y="4798"/>
                  </a:lnTo>
                  <a:lnTo>
                    <a:pt x="110" y="5053"/>
                  </a:lnTo>
                  <a:lnTo>
                    <a:pt x="219" y="5271"/>
                  </a:lnTo>
                  <a:lnTo>
                    <a:pt x="437" y="5489"/>
                  </a:lnTo>
                  <a:lnTo>
                    <a:pt x="655" y="5670"/>
                  </a:lnTo>
                  <a:lnTo>
                    <a:pt x="982" y="5780"/>
                  </a:lnTo>
                  <a:lnTo>
                    <a:pt x="1382" y="5889"/>
                  </a:lnTo>
                  <a:lnTo>
                    <a:pt x="1854" y="5925"/>
                  </a:lnTo>
                  <a:lnTo>
                    <a:pt x="7997" y="5998"/>
                  </a:lnTo>
                  <a:lnTo>
                    <a:pt x="14357" y="6034"/>
                  </a:lnTo>
                  <a:lnTo>
                    <a:pt x="14539" y="6034"/>
                  </a:lnTo>
                  <a:lnTo>
                    <a:pt x="14721" y="5998"/>
                  </a:lnTo>
                  <a:lnTo>
                    <a:pt x="14902" y="5925"/>
                  </a:lnTo>
                  <a:lnTo>
                    <a:pt x="15084" y="5816"/>
                  </a:lnTo>
                  <a:lnTo>
                    <a:pt x="15229" y="5707"/>
                  </a:lnTo>
                  <a:lnTo>
                    <a:pt x="15339" y="5561"/>
                  </a:lnTo>
                  <a:lnTo>
                    <a:pt x="15448" y="5380"/>
                  </a:lnTo>
                  <a:lnTo>
                    <a:pt x="15484" y="5198"/>
                  </a:lnTo>
                  <a:lnTo>
                    <a:pt x="15666" y="4507"/>
                  </a:lnTo>
                  <a:lnTo>
                    <a:pt x="15775" y="3781"/>
                  </a:lnTo>
                  <a:lnTo>
                    <a:pt x="15811" y="3017"/>
                  </a:lnTo>
                  <a:lnTo>
                    <a:pt x="15811" y="2290"/>
                  </a:lnTo>
                  <a:lnTo>
                    <a:pt x="15738" y="1636"/>
                  </a:lnTo>
                  <a:lnTo>
                    <a:pt x="15666" y="1382"/>
                  </a:lnTo>
                  <a:lnTo>
                    <a:pt x="15593" y="1127"/>
                  </a:lnTo>
                  <a:lnTo>
                    <a:pt x="15520" y="909"/>
                  </a:lnTo>
                  <a:lnTo>
                    <a:pt x="15411" y="764"/>
                  </a:lnTo>
                  <a:lnTo>
                    <a:pt x="15302" y="655"/>
                  </a:lnTo>
                  <a:lnTo>
                    <a:pt x="15193" y="618"/>
                  </a:lnTo>
                  <a:lnTo>
                    <a:pt x="14721" y="509"/>
                  </a:lnTo>
                  <a:lnTo>
                    <a:pt x="14212" y="473"/>
                  </a:lnTo>
                  <a:lnTo>
                    <a:pt x="12940" y="400"/>
                  </a:lnTo>
                  <a:lnTo>
                    <a:pt x="12213" y="364"/>
                  </a:lnTo>
                  <a:lnTo>
                    <a:pt x="11450" y="291"/>
                  </a:lnTo>
                  <a:lnTo>
                    <a:pt x="10614" y="182"/>
                  </a:lnTo>
                  <a:lnTo>
                    <a:pt x="9741" y="37"/>
                  </a:lnTo>
                  <a:lnTo>
                    <a:pt x="9596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5" name="Google Shape;2704;p11">
              <a:extLst>
                <a:ext uri="{FF2B5EF4-FFF2-40B4-BE49-F238E27FC236}">
                  <a16:creationId xmlns:a16="http://schemas.microsoft.com/office/drawing/2014/main" id="{A4C9F836-8ABE-C3C4-D0F9-480DBD8C0A16}"/>
                </a:ext>
              </a:extLst>
            </p:cNvPr>
            <p:cNvSpPr/>
            <p:nvPr/>
          </p:nvSpPr>
          <p:spPr>
            <a:xfrm>
              <a:off x="4905800" y="5023675"/>
              <a:ext cx="175400" cy="255350"/>
            </a:xfrm>
            <a:custGeom>
              <a:avLst/>
              <a:gdLst/>
              <a:ahLst/>
              <a:cxnLst/>
              <a:rect l="l" t="t" r="r" b="b"/>
              <a:pathLst>
                <a:path w="7016" h="10214" extrusionOk="0">
                  <a:moveTo>
                    <a:pt x="5053" y="1"/>
                  </a:moveTo>
                  <a:lnTo>
                    <a:pt x="1" y="1636"/>
                  </a:lnTo>
                  <a:lnTo>
                    <a:pt x="764" y="4180"/>
                  </a:lnTo>
                  <a:lnTo>
                    <a:pt x="1455" y="6325"/>
                  </a:lnTo>
                  <a:lnTo>
                    <a:pt x="1818" y="7306"/>
                  </a:lnTo>
                  <a:lnTo>
                    <a:pt x="2109" y="8069"/>
                  </a:lnTo>
                  <a:lnTo>
                    <a:pt x="4326" y="10214"/>
                  </a:lnTo>
                  <a:lnTo>
                    <a:pt x="7016" y="7015"/>
                  </a:lnTo>
                  <a:lnTo>
                    <a:pt x="5053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6" name="Google Shape;2705;p11">
              <a:extLst>
                <a:ext uri="{FF2B5EF4-FFF2-40B4-BE49-F238E27FC236}">
                  <a16:creationId xmlns:a16="http://schemas.microsoft.com/office/drawing/2014/main" id="{5E02DF62-41D9-966E-69EA-252C083F8C65}"/>
                </a:ext>
              </a:extLst>
            </p:cNvPr>
            <p:cNvSpPr/>
            <p:nvPr/>
          </p:nvSpPr>
          <p:spPr>
            <a:xfrm>
              <a:off x="4749525" y="5179050"/>
              <a:ext cx="375300" cy="237200"/>
            </a:xfrm>
            <a:custGeom>
              <a:avLst/>
              <a:gdLst/>
              <a:ahLst/>
              <a:cxnLst/>
              <a:rect l="l" t="t" r="r" b="b"/>
              <a:pathLst>
                <a:path w="15012" h="9488" extrusionOk="0">
                  <a:moveTo>
                    <a:pt x="13049" y="1"/>
                  </a:moveTo>
                  <a:lnTo>
                    <a:pt x="12576" y="73"/>
                  </a:lnTo>
                  <a:lnTo>
                    <a:pt x="12067" y="183"/>
                  </a:lnTo>
                  <a:lnTo>
                    <a:pt x="10831" y="546"/>
                  </a:lnTo>
                  <a:lnTo>
                    <a:pt x="10141" y="728"/>
                  </a:lnTo>
                  <a:lnTo>
                    <a:pt x="9414" y="946"/>
                  </a:lnTo>
                  <a:lnTo>
                    <a:pt x="8578" y="1091"/>
                  </a:lnTo>
                  <a:lnTo>
                    <a:pt x="7706" y="1200"/>
                  </a:lnTo>
                  <a:lnTo>
                    <a:pt x="7560" y="1237"/>
                  </a:lnTo>
                  <a:lnTo>
                    <a:pt x="7451" y="1309"/>
                  </a:lnTo>
                  <a:lnTo>
                    <a:pt x="7415" y="1418"/>
                  </a:lnTo>
                  <a:lnTo>
                    <a:pt x="7415" y="1564"/>
                  </a:lnTo>
                  <a:lnTo>
                    <a:pt x="7524" y="1963"/>
                  </a:lnTo>
                  <a:lnTo>
                    <a:pt x="7597" y="2218"/>
                  </a:lnTo>
                  <a:lnTo>
                    <a:pt x="7633" y="2509"/>
                  </a:lnTo>
                  <a:lnTo>
                    <a:pt x="7633" y="2654"/>
                  </a:lnTo>
                  <a:lnTo>
                    <a:pt x="7597" y="2836"/>
                  </a:lnTo>
                  <a:lnTo>
                    <a:pt x="7524" y="3017"/>
                  </a:lnTo>
                  <a:lnTo>
                    <a:pt x="7415" y="3199"/>
                  </a:lnTo>
                  <a:lnTo>
                    <a:pt x="7270" y="3381"/>
                  </a:lnTo>
                  <a:lnTo>
                    <a:pt x="7088" y="3563"/>
                  </a:lnTo>
                  <a:lnTo>
                    <a:pt x="6688" y="3926"/>
                  </a:lnTo>
                  <a:lnTo>
                    <a:pt x="6179" y="4290"/>
                  </a:lnTo>
                  <a:lnTo>
                    <a:pt x="5634" y="4653"/>
                  </a:lnTo>
                  <a:lnTo>
                    <a:pt x="5016" y="4980"/>
                  </a:lnTo>
                  <a:lnTo>
                    <a:pt x="4362" y="5307"/>
                  </a:lnTo>
                  <a:lnTo>
                    <a:pt x="3054" y="5925"/>
                  </a:lnTo>
                  <a:lnTo>
                    <a:pt x="1818" y="6434"/>
                  </a:lnTo>
                  <a:lnTo>
                    <a:pt x="836" y="6834"/>
                  </a:lnTo>
                  <a:lnTo>
                    <a:pt x="255" y="7125"/>
                  </a:lnTo>
                  <a:lnTo>
                    <a:pt x="146" y="7197"/>
                  </a:lnTo>
                  <a:lnTo>
                    <a:pt x="73" y="7306"/>
                  </a:lnTo>
                  <a:lnTo>
                    <a:pt x="37" y="7488"/>
                  </a:lnTo>
                  <a:lnTo>
                    <a:pt x="0" y="7670"/>
                  </a:lnTo>
                  <a:lnTo>
                    <a:pt x="0" y="7924"/>
                  </a:lnTo>
                  <a:lnTo>
                    <a:pt x="37" y="8142"/>
                  </a:lnTo>
                  <a:lnTo>
                    <a:pt x="110" y="8397"/>
                  </a:lnTo>
                  <a:lnTo>
                    <a:pt x="182" y="8651"/>
                  </a:lnTo>
                  <a:lnTo>
                    <a:pt x="328" y="8869"/>
                  </a:lnTo>
                  <a:lnTo>
                    <a:pt x="473" y="9087"/>
                  </a:lnTo>
                  <a:lnTo>
                    <a:pt x="691" y="9233"/>
                  </a:lnTo>
                  <a:lnTo>
                    <a:pt x="945" y="9378"/>
                  </a:lnTo>
                  <a:lnTo>
                    <a:pt x="1236" y="9451"/>
                  </a:lnTo>
                  <a:lnTo>
                    <a:pt x="1563" y="9487"/>
                  </a:lnTo>
                  <a:lnTo>
                    <a:pt x="1963" y="9451"/>
                  </a:lnTo>
                  <a:lnTo>
                    <a:pt x="2436" y="9342"/>
                  </a:lnTo>
                  <a:lnTo>
                    <a:pt x="8251" y="7379"/>
                  </a:lnTo>
                  <a:lnTo>
                    <a:pt x="14212" y="5380"/>
                  </a:lnTo>
                  <a:lnTo>
                    <a:pt x="14393" y="5307"/>
                  </a:lnTo>
                  <a:lnTo>
                    <a:pt x="14539" y="5198"/>
                  </a:lnTo>
                  <a:lnTo>
                    <a:pt x="14684" y="5089"/>
                  </a:lnTo>
                  <a:lnTo>
                    <a:pt x="14830" y="4944"/>
                  </a:lnTo>
                  <a:lnTo>
                    <a:pt x="14902" y="4762"/>
                  </a:lnTo>
                  <a:lnTo>
                    <a:pt x="14975" y="4580"/>
                  </a:lnTo>
                  <a:lnTo>
                    <a:pt x="15011" y="4399"/>
                  </a:lnTo>
                  <a:lnTo>
                    <a:pt x="15011" y="4217"/>
                  </a:lnTo>
                  <a:lnTo>
                    <a:pt x="14902" y="3526"/>
                  </a:lnTo>
                  <a:lnTo>
                    <a:pt x="14720" y="2763"/>
                  </a:lnTo>
                  <a:lnTo>
                    <a:pt x="14466" y="2036"/>
                  </a:lnTo>
                  <a:lnTo>
                    <a:pt x="14212" y="1382"/>
                  </a:lnTo>
                  <a:lnTo>
                    <a:pt x="13921" y="800"/>
                  </a:lnTo>
                  <a:lnTo>
                    <a:pt x="13776" y="546"/>
                  </a:lnTo>
                  <a:lnTo>
                    <a:pt x="13630" y="328"/>
                  </a:lnTo>
                  <a:lnTo>
                    <a:pt x="13448" y="183"/>
                  </a:lnTo>
                  <a:lnTo>
                    <a:pt x="13303" y="73"/>
                  </a:lnTo>
                  <a:lnTo>
                    <a:pt x="13158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7" name="Google Shape;2706;p11">
              <a:extLst>
                <a:ext uri="{FF2B5EF4-FFF2-40B4-BE49-F238E27FC236}">
                  <a16:creationId xmlns:a16="http://schemas.microsoft.com/office/drawing/2014/main" id="{7534C289-B389-3A89-6703-86BAFC6D8704}"/>
                </a:ext>
              </a:extLst>
            </p:cNvPr>
            <p:cNvSpPr/>
            <p:nvPr/>
          </p:nvSpPr>
          <p:spPr>
            <a:xfrm>
              <a:off x="4155275" y="3498075"/>
              <a:ext cx="934100" cy="1781875"/>
            </a:xfrm>
            <a:custGeom>
              <a:avLst/>
              <a:gdLst/>
              <a:ahLst/>
              <a:cxnLst/>
              <a:rect l="l" t="t" r="r" b="b"/>
              <a:pathLst>
                <a:path w="37364" h="71275" extrusionOk="0">
                  <a:moveTo>
                    <a:pt x="18428" y="0"/>
                  </a:moveTo>
                  <a:lnTo>
                    <a:pt x="14030" y="2435"/>
                  </a:lnTo>
                  <a:lnTo>
                    <a:pt x="13412" y="4107"/>
                  </a:lnTo>
                  <a:lnTo>
                    <a:pt x="12758" y="6070"/>
                  </a:lnTo>
                  <a:lnTo>
                    <a:pt x="12104" y="8323"/>
                  </a:lnTo>
                  <a:lnTo>
                    <a:pt x="11413" y="10759"/>
                  </a:lnTo>
                  <a:lnTo>
                    <a:pt x="10722" y="13339"/>
                  </a:lnTo>
                  <a:lnTo>
                    <a:pt x="10032" y="16065"/>
                  </a:lnTo>
                  <a:lnTo>
                    <a:pt x="8651" y="21590"/>
                  </a:lnTo>
                  <a:lnTo>
                    <a:pt x="7415" y="26932"/>
                  </a:lnTo>
                  <a:lnTo>
                    <a:pt x="6361" y="31694"/>
                  </a:lnTo>
                  <a:lnTo>
                    <a:pt x="5561" y="35474"/>
                  </a:lnTo>
                  <a:lnTo>
                    <a:pt x="5307" y="36855"/>
                  </a:lnTo>
                  <a:lnTo>
                    <a:pt x="5125" y="37872"/>
                  </a:lnTo>
                  <a:lnTo>
                    <a:pt x="4035" y="44596"/>
                  </a:lnTo>
                  <a:lnTo>
                    <a:pt x="2254" y="55427"/>
                  </a:lnTo>
                  <a:lnTo>
                    <a:pt x="1382" y="60916"/>
                  </a:lnTo>
                  <a:lnTo>
                    <a:pt x="618" y="65713"/>
                  </a:lnTo>
                  <a:lnTo>
                    <a:pt x="146" y="69239"/>
                  </a:lnTo>
                  <a:lnTo>
                    <a:pt x="0" y="70329"/>
                  </a:lnTo>
                  <a:lnTo>
                    <a:pt x="0" y="70693"/>
                  </a:lnTo>
                  <a:lnTo>
                    <a:pt x="0" y="70874"/>
                  </a:lnTo>
                  <a:lnTo>
                    <a:pt x="945" y="71056"/>
                  </a:lnTo>
                  <a:lnTo>
                    <a:pt x="1854" y="71165"/>
                  </a:lnTo>
                  <a:lnTo>
                    <a:pt x="2690" y="71238"/>
                  </a:lnTo>
                  <a:lnTo>
                    <a:pt x="3490" y="71274"/>
                  </a:lnTo>
                  <a:lnTo>
                    <a:pt x="4216" y="71274"/>
                  </a:lnTo>
                  <a:lnTo>
                    <a:pt x="4907" y="71238"/>
                  </a:lnTo>
                  <a:lnTo>
                    <a:pt x="5525" y="71165"/>
                  </a:lnTo>
                  <a:lnTo>
                    <a:pt x="6070" y="71092"/>
                  </a:lnTo>
                  <a:lnTo>
                    <a:pt x="7015" y="70911"/>
                  </a:lnTo>
                  <a:lnTo>
                    <a:pt x="7706" y="70693"/>
                  </a:lnTo>
                  <a:lnTo>
                    <a:pt x="8105" y="70547"/>
                  </a:lnTo>
                  <a:lnTo>
                    <a:pt x="8251" y="70475"/>
                  </a:lnTo>
                  <a:lnTo>
                    <a:pt x="8542" y="68476"/>
                  </a:lnTo>
                  <a:lnTo>
                    <a:pt x="8978" y="65277"/>
                  </a:lnTo>
                  <a:lnTo>
                    <a:pt x="9487" y="61279"/>
                  </a:lnTo>
                  <a:lnTo>
                    <a:pt x="10141" y="56809"/>
                  </a:lnTo>
                  <a:lnTo>
                    <a:pt x="10504" y="54519"/>
                  </a:lnTo>
                  <a:lnTo>
                    <a:pt x="10868" y="52229"/>
                  </a:lnTo>
                  <a:lnTo>
                    <a:pt x="11268" y="50012"/>
                  </a:lnTo>
                  <a:lnTo>
                    <a:pt x="11667" y="47904"/>
                  </a:lnTo>
                  <a:lnTo>
                    <a:pt x="12104" y="45941"/>
                  </a:lnTo>
                  <a:lnTo>
                    <a:pt x="12576" y="44160"/>
                  </a:lnTo>
                  <a:lnTo>
                    <a:pt x="12794" y="43361"/>
                  </a:lnTo>
                  <a:lnTo>
                    <a:pt x="13048" y="42597"/>
                  </a:lnTo>
                  <a:lnTo>
                    <a:pt x="13267" y="41943"/>
                  </a:lnTo>
                  <a:lnTo>
                    <a:pt x="13521" y="41325"/>
                  </a:lnTo>
                  <a:lnTo>
                    <a:pt x="16247" y="35074"/>
                  </a:lnTo>
                  <a:lnTo>
                    <a:pt x="19663" y="27041"/>
                  </a:lnTo>
                  <a:lnTo>
                    <a:pt x="23807" y="17228"/>
                  </a:lnTo>
                  <a:lnTo>
                    <a:pt x="23371" y="20863"/>
                  </a:lnTo>
                  <a:lnTo>
                    <a:pt x="22862" y="24824"/>
                  </a:lnTo>
                  <a:lnTo>
                    <a:pt x="22389" y="28895"/>
                  </a:lnTo>
                  <a:lnTo>
                    <a:pt x="21953" y="32893"/>
                  </a:lnTo>
                  <a:lnTo>
                    <a:pt x="21771" y="34783"/>
                  </a:lnTo>
                  <a:lnTo>
                    <a:pt x="21590" y="36564"/>
                  </a:lnTo>
                  <a:lnTo>
                    <a:pt x="21517" y="38236"/>
                  </a:lnTo>
                  <a:lnTo>
                    <a:pt x="21444" y="39762"/>
                  </a:lnTo>
                  <a:lnTo>
                    <a:pt x="21444" y="41144"/>
                  </a:lnTo>
                  <a:lnTo>
                    <a:pt x="21517" y="42307"/>
                  </a:lnTo>
                  <a:lnTo>
                    <a:pt x="21590" y="42779"/>
                  </a:lnTo>
                  <a:lnTo>
                    <a:pt x="21662" y="43215"/>
                  </a:lnTo>
                  <a:lnTo>
                    <a:pt x="21735" y="43615"/>
                  </a:lnTo>
                  <a:lnTo>
                    <a:pt x="21880" y="43906"/>
                  </a:lnTo>
                  <a:lnTo>
                    <a:pt x="22389" y="45287"/>
                  </a:lnTo>
                  <a:lnTo>
                    <a:pt x="22935" y="46886"/>
                  </a:lnTo>
                  <a:lnTo>
                    <a:pt x="24134" y="50593"/>
                  </a:lnTo>
                  <a:lnTo>
                    <a:pt x="25370" y="54701"/>
                  </a:lnTo>
                  <a:lnTo>
                    <a:pt x="26569" y="58808"/>
                  </a:lnTo>
                  <a:lnTo>
                    <a:pt x="27659" y="62624"/>
                  </a:lnTo>
                  <a:lnTo>
                    <a:pt x="28532" y="65786"/>
                  </a:lnTo>
                  <a:lnTo>
                    <a:pt x="29331" y="68730"/>
                  </a:lnTo>
                  <a:lnTo>
                    <a:pt x="30640" y="68585"/>
                  </a:lnTo>
                  <a:lnTo>
                    <a:pt x="32057" y="68367"/>
                  </a:lnTo>
                  <a:lnTo>
                    <a:pt x="33475" y="68076"/>
                  </a:lnTo>
                  <a:lnTo>
                    <a:pt x="34783" y="67785"/>
                  </a:lnTo>
                  <a:lnTo>
                    <a:pt x="35910" y="67494"/>
                  </a:lnTo>
                  <a:lnTo>
                    <a:pt x="36782" y="67240"/>
                  </a:lnTo>
                  <a:lnTo>
                    <a:pt x="37073" y="67131"/>
                  </a:lnTo>
                  <a:lnTo>
                    <a:pt x="37255" y="67022"/>
                  </a:lnTo>
                  <a:lnTo>
                    <a:pt x="37364" y="66949"/>
                  </a:lnTo>
                  <a:lnTo>
                    <a:pt x="37327" y="66949"/>
                  </a:lnTo>
                  <a:lnTo>
                    <a:pt x="37291" y="66913"/>
                  </a:lnTo>
                  <a:lnTo>
                    <a:pt x="36964" y="65931"/>
                  </a:lnTo>
                  <a:lnTo>
                    <a:pt x="36564" y="64696"/>
                  </a:lnTo>
                  <a:lnTo>
                    <a:pt x="35656" y="61715"/>
                  </a:lnTo>
                  <a:lnTo>
                    <a:pt x="34674" y="58262"/>
                  </a:lnTo>
                  <a:lnTo>
                    <a:pt x="33693" y="54591"/>
                  </a:lnTo>
                  <a:lnTo>
                    <a:pt x="32748" y="50921"/>
                  </a:lnTo>
                  <a:lnTo>
                    <a:pt x="31912" y="47468"/>
                  </a:lnTo>
                  <a:lnTo>
                    <a:pt x="31548" y="45941"/>
                  </a:lnTo>
                  <a:lnTo>
                    <a:pt x="31294" y="44560"/>
                  </a:lnTo>
                  <a:lnTo>
                    <a:pt x="31076" y="43361"/>
                  </a:lnTo>
                  <a:lnTo>
                    <a:pt x="30931" y="42379"/>
                  </a:lnTo>
                  <a:lnTo>
                    <a:pt x="30894" y="41870"/>
                  </a:lnTo>
                  <a:lnTo>
                    <a:pt x="30894" y="41180"/>
                  </a:lnTo>
                  <a:lnTo>
                    <a:pt x="30931" y="40308"/>
                  </a:lnTo>
                  <a:lnTo>
                    <a:pt x="31003" y="39290"/>
                  </a:lnTo>
                  <a:lnTo>
                    <a:pt x="31258" y="36891"/>
                  </a:lnTo>
                  <a:lnTo>
                    <a:pt x="31585" y="34020"/>
                  </a:lnTo>
                  <a:lnTo>
                    <a:pt x="32021" y="30821"/>
                  </a:lnTo>
                  <a:lnTo>
                    <a:pt x="32493" y="27332"/>
                  </a:lnTo>
                  <a:lnTo>
                    <a:pt x="33584" y="20063"/>
                  </a:lnTo>
                  <a:lnTo>
                    <a:pt x="34711" y="12976"/>
                  </a:lnTo>
                  <a:lnTo>
                    <a:pt x="35692" y="6942"/>
                  </a:lnTo>
                  <a:lnTo>
                    <a:pt x="36673" y="1127"/>
                  </a:lnTo>
                  <a:lnTo>
                    <a:pt x="18428" y="0"/>
                  </a:ln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8" name="Google Shape;2707;p11">
              <a:extLst>
                <a:ext uri="{FF2B5EF4-FFF2-40B4-BE49-F238E27FC236}">
                  <a16:creationId xmlns:a16="http://schemas.microsoft.com/office/drawing/2014/main" id="{74AC7D55-1917-D018-2A26-3B1694A04C49}"/>
                </a:ext>
              </a:extLst>
            </p:cNvPr>
            <p:cNvSpPr/>
            <p:nvPr/>
          </p:nvSpPr>
          <p:spPr>
            <a:xfrm>
              <a:off x="4155275" y="3498075"/>
              <a:ext cx="934100" cy="1781875"/>
            </a:xfrm>
            <a:custGeom>
              <a:avLst/>
              <a:gdLst/>
              <a:ahLst/>
              <a:cxnLst/>
              <a:rect l="l" t="t" r="r" b="b"/>
              <a:pathLst>
                <a:path w="37364" h="71275" fill="none" extrusionOk="0">
                  <a:moveTo>
                    <a:pt x="14030" y="2435"/>
                  </a:moveTo>
                  <a:lnTo>
                    <a:pt x="14030" y="2435"/>
                  </a:lnTo>
                  <a:lnTo>
                    <a:pt x="13412" y="4107"/>
                  </a:lnTo>
                  <a:lnTo>
                    <a:pt x="12758" y="6070"/>
                  </a:lnTo>
                  <a:lnTo>
                    <a:pt x="12104" y="8323"/>
                  </a:lnTo>
                  <a:lnTo>
                    <a:pt x="11413" y="10759"/>
                  </a:lnTo>
                  <a:lnTo>
                    <a:pt x="10722" y="13339"/>
                  </a:lnTo>
                  <a:lnTo>
                    <a:pt x="10032" y="16065"/>
                  </a:lnTo>
                  <a:lnTo>
                    <a:pt x="8651" y="21590"/>
                  </a:lnTo>
                  <a:lnTo>
                    <a:pt x="7415" y="26932"/>
                  </a:lnTo>
                  <a:lnTo>
                    <a:pt x="6361" y="31694"/>
                  </a:lnTo>
                  <a:lnTo>
                    <a:pt x="5561" y="35474"/>
                  </a:lnTo>
                  <a:lnTo>
                    <a:pt x="5307" y="36855"/>
                  </a:lnTo>
                  <a:lnTo>
                    <a:pt x="5125" y="37872"/>
                  </a:lnTo>
                  <a:lnTo>
                    <a:pt x="5125" y="37872"/>
                  </a:lnTo>
                  <a:lnTo>
                    <a:pt x="4035" y="44596"/>
                  </a:lnTo>
                  <a:lnTo>
                    <a:pt x="2254" y="55427"/>
                  </a:lnTo>
                  <a:lnTo>
                    <a:pt x="1382" y="60916"/>
                  </a:lnTo>
                  <a:lnTo>
                    <a:pt x="618" y="65713"/>
                  </a:lnTo>
                  <a:lnTo>
                    <a:pt x="146" y="69239"/>
                  </a:lnTo>
                  <a:lnTo>
                    <a:pt x="0" y="70329"/>
                  </a:lnTo>
                  <a:lnTo>
                    <a:pt x="0" y="70693"/>
                  </a:lnTo>
                  <a:lnTo>
                    <a:pt x="0" y="70874"/>
                  </a:lnTo>
                  <a:lnTo>
                    <a:pt x="0" y="70874"/>
                  </a:lnTo>
                  <a:lnTo>
                    <a:pt x="945" y="71056"/>
                  </a:lnTo>
                  <a:lnTo>
                    <a:pt x="1854" y="71165"/>
                  </a:lnTo>
                  <a:lnTo>
                    <a:pt x="2690" y="71238"/>
                  </a:lnTo>
                  <a:lnTo>
                    <a:pt x="3490" y="71274"/>
                  </a:lnTo>
                  <a:lnTo>
                    <a:pt x="4216" y="71274"/>
                  </a:lnTo>
                  <a:lnTo>
                    <a:pt x="4907" y="71238"/>
                  </a:lnTo>
                  <a:lnTo>
                    <a:pt x="5525" y="71165"/>
                  </a:lnTo>
                  <a:lnTo>
                    <a:pt x="6070" y="71092"/>
                  </a:lnTo>
                  <a:lnTo>
                    <a:pt x="7015" y="70911"/>
                  </a:lnTo>
                  <a:lnTo>
                    <a:pt x="7706" y="70693"/>
                  </a:lnTo>
                  <a:lnTo>
                    <a:pt x="8105" y="70547"/>
                  </a:lnTo>
                  <a:lnTo>
                    <a:pt x="8251" y="70475"/>
                  </a:lnTo>
                  <a:lnTo>
                    <a:pt x="8251" y="70475"/>
                  </a:lnTo>
                  <a:lnTo>
                    <a:pt x="8542" y="68476"/>
                  </a:lnTo>
                  <a:lnTo>
                    <a:pt x="8978" y="65277"/>
                  </a:lnTo>
                  <a:lnTo>
                    <a:pt x="9487" y="61279"/>
                  </a:lnTo>
                  <a:lnTo>
                    <a:pt x="10141" y="56809"/>
                  </a:lnTo>
                  <a:lnTo>
                    <a:pt x="10504" y="54519"/>
                  </a:lnTo>
                  <a:lnTo>
                    <a:pt x="10868" y="52229"/>
                  </a:lnTo>
                  <a:lnTo>
                    <a:pt x="11268" y="50012"/>
                  </a:lnTo>
                  <a:lnTo>
                    <a:pt x="11667" y="47904"/>
                  </a:lnTo>
                  <a:lnTo>
                    <a:pt x="12104" y="45941"/>
                  </a:lnTo>
                  <a:lnTo>
                    <a:pt x="12576" y="44160"/>
                  </a:lnTo>
                  <a:lnTo>
                    <a:pt x="12794" y="43361"/>
                  </a:lnTo>
                  <a:lnTo>
                    <a:pt x="13048" y="42597"/>
                  </a:lnTo>
                  <a:lnTo>
                    <a:pt x="13267" y="41943"/>
                  </a:lnTo>
                  <a:lnTo>
                    <a:pt x="13521" y="41325"/>
                  </a:lnTo>
                  <a:lnTo>
                    <a:pt x="13521" y="41325"/>
                  </a:lnTo>
                  <a:lnTo>
                    <a:pt x="16247" y="35074"/>
                  </a:lnTo>
                  <a:lnTo>
                    <a:pt x="19663" y="27041"/>
                  </a:lnTo>
                  <a:lnTo>
                    <a:pt x="23807" y="17228"/>
                  </a:lnTo>
                  <a:lnTo>
                    <a:pt x="23807" y="17228"/>
                  </a:lnTo>
                  <a:lnTo>
                    <a:pt x="23371" y="20863"/>
                  </a:lnTo>
                  <a:lnTo>
                    <a:pt x="22862" y="24824"/>
                  </a:lnTo>
                  <a:lnTo>
                    <a:pt x="22389" y="28895"/>
                  </a:lnTo>
                  <a:lnTo>
                    <a:pt x="21953" y="32893"/>
                  </a:lnTo>
                  <a:lnTo>
                    <a:pt x="21771" y="34783"/>
                  </a:lnTo>
                  <a:lnTo>
                    <a:pt x="21590" y="36564"/>
                  </a:lnTo>
                  <a:lnTo>
                    <a:pt x="21517" y="38236"/>
                  </a:lnTo>
                  <a:lnTo>
                    <a:pt x="21444" y="39762"/>
                  </a:lnTo>
                  <a:lnTo>
                    <a:pt x="21444" y="41144"/>
                  </a:lnTo>
                  <a:lnTo>
                    <a:pt x="21517" y="42307"/>
                  </a:lnTo>
                  <a:lnTo>
                    <a:pt x="21590" y="42779"/>
                  </a:lnTo>
                  <a:lnTo>
                    <a:pt x="21662" y="43215"/>
                  </a:lnTo>
                  <a:lnTo>
                    <a:pt x="21735" y="43615"/>
                  </a:lnTo>
                  <a:lnTo>
                    <a:pt x="21880" y="43906"/>
                  </a:lnTo>
                  <a:lnTo>
                    <a:pt x="21880" y="43906"/>
                  </a:lnTo>
                  <a:lnTo>
                    <a:pt x="22389" y="45287"/>
                  </a:lnTo>
                  <a:lnTo>
                    <a:pt x="22935" y="46886"/>
                  </a:lnTo>
                  <a:lnTo>
                    <a:pt x="24134" y="50593"/>
                  </a:lnTo>
                  <a:lnTo>
                    <a:pt x="25370" y="54701"/>
                  </a:lnTo>
                  <a:lnTo>
                    <a:pt x="26569" y="58808"/>
                  </a:lnTo>
                  <a:lnTo>
                    <a:pt x="27659" y="62624"/>
                  </a:lnTo>
                  <a:lnTo>
                    <a:pt x="28532" y="65786"/>
                  </a:lnTo>
                  <a:lnTo>
                    <a:pt x="29331" y="68730"/>
                  </a:lnTo>
                  <a:lnTo>
                    <a:pt x="29331" y="68730"/>
                  </a:lnTo>
                  <a:lnTo>
                    <a:pt x="30640" y="68585"/>
                  </a:lnTo>
                  <a:lnTo>
                    <a:pt x="32057" y="68367"/>
                  </a:lnTo>
                  <a:lnTo>
                    <a:pt x="33475" y="68076"/>
                  </a:lnTo>
                  <a:lnTo>
                    <a:pt x="34783" y="67785"/>
                  </a:lnTo>
                  <a:lnTo>
                    <a:pt x="35910" y="67494"/>
                  </a:lnTo>
                  <a:lnTo>
                    <a:pt x="36782" y="67240"/>
                  </a:lnTo>
                  <a:lnTo>
                    <a:pt x="37073" y="67131"/>
                  </a:lnTo>
                  <a:lnTo>
                    <a:pt x="37255" y="67022"/>
                  </a:lnTo>
                  <a:lnTo>
                    <a:pt x="37364" y="66949"/>
                  </a:lnTo>
                  <a:lnTo>
                    <a:pt x="37327" y="66949"/>
                  </a:lnTo>
                  <a:lnTo>
                    <a:pt x="37291" y="66913"/>
                  </a:lnTo>
                  <a:lnTo>
                    <a:pt x="37291" y="66913"/>
                  </a:lnTo>
                  <a:lnTo>
                    <a:pt x="36964" y="65931"/>
                  </a:lnTo>
                  <a:lnTo>
                    <a:pt x="36564" y="64696"/>
                  </a:lnTo>
                  <a:lnTo>
                    <a:pt x="35656" y="61715"/>
                  </a:lnTo>
                  <a:lnTo>
                    <a:pt x="34674" y="58262"/>
                  </a:lnTo>
                  <a:lnTo>
                    <a:pt x="33693" y="54591"/>
                  </a:lnTo>
                  <a:lnTo>
                    <a:pt x="32748" y="50921"/>
                  </a:lnTo>
                  <a:lnTo>
                    <a:pt x="31912" y="47468"/>
                  </a:lnTo>
                  <a:lnTo>
                    <a:pt x="31548" y="45941"/>
                  </a:lnTo>
                  <a:lnTo>
                    <a:pt x="31294" y="44560"/>
                  </a:lnTo>
                  <a:lnTo>
                    <a:pt x="31076" y="43361"/>
                  </a:lnTo>
                  <a:lnTo>
                    <a:pt x="30931" y="42379"/>
                  </a:lnTo>
                  <a:lnTo>
                    <a:pt x="30931" y="42379"/>
                  </a:lnTo>
                  <a:lnTo>
                    <a:pt x="30894" y="41870"/>
                  </a:lnTo>
                  <a:lnTo>
                    <a:pt x="30894" y="41180"/>
                  </a:lnTo>
                  <a:lnTo>
                    <a:pt x="30931" y="40308"/>
                  </a:lnTo>
                  <a:lnTo>
                    <a:pt x="31003" y="39290"/>
                  </a:lnTo>
                  <a:lnTo>
                    <a:pt x="31258" y="36891"/>
                  </a:lnTo>
                  <a:lnTo>
                    <a:pt x="31585" y="34020"/>
                  </a:lnTo>
                  <a:lnTo>
                    <a:pt x="32021" y="30821"/>
                  </a:lnTo>
                  <a:lnTo>
                    <a:pt x="32493" y="27332"/>
                  </a:lnTo>
                  <a:lnTo>
                    <a:pt x="33584" y="20063"/>
                  </a:lnTo>
                  <a:lnTo>
                    <a:pt x="34711" y="12976"/>
                  </a:lnTo>
                  <a:lnTo>
                    <a:pt x="35692" y="6942"/>
                  </a:lnTo>
                  <a:lnTo>
                    <a:pt x="36673" y="1127"/>
                  </a:lnTo>
                  <a:lnTo>
                    <a:pt x="18428" y="0"/>
                  </a:lnTo>
                  <a:lnTo>
                    <a:pt x="14030" y="2435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9" name="Google Shape;2708;p11">
              <a:extLst>
                <a:ext uri="{FF2B5EF4-FFF2-40B4-BE49-F238E27FC236}">
                  <a16:creationId xmlns:a16="http://schemas.microsoft.com/office/drawing/2014/main" id="{EA1CBF47-E15B-8541-D4BC-F53387A7F16A}"/>
                </a:ext>
              </a:extLst>
            </p:cNvPr>
            <p:cNvSpPr/>
            <p:nvPr/>
          </p:nvSpPr>
          <p:spPr>
            <a:xfrm>
              <a:off x="4725000" y="4057800"/>
              <a:ext cx="10000" cy="81800"/>
            </a:xfrm>
            <a:custGeom>
              <a:avLst/>
              <a:gdLst/>
              <a:ahLst/>
              <a:cxnLst/>
              <a:rect l="l" t="t" r="r" b="b"/>
              <a:pathLst>
                <a:path w="400" h="3272" extrusionOk="0">
                  <a:moveTo>
                    <a:pt x="400" y="0"/>
                  </a:moveTo>
                  <a:lnTo>
                    <a:pt x="182" y="1599"/>
                  </a:lnTo>
                  <a:lnTo>
                    <a:pt x="0" y="3271"/>
                  </a:lnTo>
                  <a:lnTo>
                    <a:pt x="400" y="0"/>
                  </a:lnTo>
                  <a:close/>
                </a:path>
              </a:pathLst>
            </a:custGeom>
            <a:solidFill>
              <a:srgbClr val="74748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0" name="Google Shape;2709;p11">
              <a:extLst>
                <a:ext uri="{FF2B5EF4-FFF2-40B4-BE49-F238E27FC236}">
                  <a16:creationId xmlns:a16="http://schemas.microsoft.com/office/drawing/2014/main" id="{D85196BD-223A-F4C7-018D-2CC35A5C7CE9}"/>
                </a:ext>
              </a:extLst>
            </p:cNvPr>
            <p:cNvSpPr/>
            <p:nvPr/>
          </p:nvSpPr>
          <p:spPr>
            <a:xfrm>
              <a:off x="4725000" y="4057800"/>
              <a:ext cx="10000" cy="81800"/>
            </a:xfrm>
            <a:custGeom>
              <a:avLst/>
              <a:gdLst/>
              <a:ahLst/>
              <a:cxnLst/>
              <a:rect l="l" t="t" r="r" b="b"/>
              <a:pathLst>
                <a:path w="400" h="3272" fill="none" extrusionOk="0">
                  <a:moveTo>
                    <a:pt x="400" y="0"/>
                  </a:moveTo>
                  <a:lnTo>
                    <a:pt x="400" y="0"/>
                  </a:lnTo>
                  <a:lnTo>
                    <a:pt x="182" y="1599"/>
                  </a:lnTo>
                  <a:lnTo>
                    <a:pt x="0" y="3271"/>
                  </a:lnTo>
                  <a:lnTo>
                    <a:pt x="0" y="3271"/>
                  </a:lnTo>
                  <a:lnTo>
                    <a:pt x="0" y="3271"/>
                  </a:lnTo>
                  <a:lnTo>
                    <a:pt x="40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1" name="Google Shape;2710;p11">
              <a:extLst>
                <a:ext uri="{FF2B5EF4-FFF2-40B4-BE49-F238E27FC236}">
                  <a16:creationId xmlns:a16="http://schemas.microsoft.com/office/drawing/2014/main" id="{3108643F-47B7-6D8A-CDDB-A68F9AEB39DC}"/>
                </a:ext>
              </a:extLst>
            </p:cNvPr>
            <p:cNvSpPr/>
            <p:nvPr/>
          </p:nvSpPr>
          <p:spPr>
            <a:xfrm>
              <a:off x="4725000" y="3794275"/>
              <a:ext cx="85425" cy="345325"/>
            </a:xfrm>
            <a:custGeom>
              <a:avLst/>
              <a:gdLst/>
              <a:ahLst/>
              <a:cxnLst/>
              <a:rect l="l" t="t" r="r" b="b"/>
              <a:pathLst>
                <a:path w="3417" h="13813" extrusionOk="0">
                  <a:moveTo>
                    <a:pt x="3417" y="1"/>
                  </a:moveTo>
                  <a:lnTo>
                    <a:pt x="3271" y="401"/>
                  </a:lnTo>
                  <a:lnTo>
                    <a:pt x="2871" y="1564"/>
                  </a:lnTo>
                  <a:lnTo>
                    <a:pt x="2544" y="2363"/>
                  </a:lnTo>
                  <a:lnTo>
                    <a:pt x="2108" y="3272"/>
                  </a:lnTo>
                  <a:lnTo>
                    <a:pt x="1599" y="4290"/>
                  </a:lnTo>
                  <a:lnTo>
                    <a:pt x="1018" y="5380"/>
                  </a:lnTo>
                  <a:lnTo>
                    <a:pt x="909" y="6616"/>
                  </a:lnTo>
                  <a:lnTo>
                    <a:pt x="763" y="7888"/>
                  </a:lnTo>
                  <a:lnTo>
                    <a:pt x="400" y="10541"/>
                  </a:lnTo>
                  <a:lnTo>
                    <a:pt x="0" y="13812"/>
                  </a:lnTo>
                  <a:lnTo>
                    <a:pt x="3417" y="1"/>
                  </a:lnTo>
                  <a:close/>
                </a:path>
              </a:pathLst>
            </a:custGeom>
            <a:solidFill>
              <a:srgbClr val="2A2A3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2" name="Google Shape;2711;p11">
              <a:extLst>
                <a:ext uri="{FF2B5EF4-FFF2-40B4-BE49-F238E27FC236}">
                  <a16:creationId xmlns:a16="http://schemas.microsoft.com/office/drawing/2014/main" id="{A448CA9A-E8B6-F957-7723-AF4178D47F67}"/>
                </a:ext>
              </a:extLst>
            </p:cNvPr>
            <p:cNvSpPr/>
            <p:nvPr/>
          </p:nvSpPr>
          <p:spPr>
            <a:xfrm>
              <a:off x="4725000" y="3794275"/>
              <a:ext cx="85425" cy="345325"/>
            </a:xfrm>
            <a:custGeom>
              <a:avLst/>
              <a:gdLst/>
              <a:ahLst/>
              <a:cxnLst/>
              <a:rect l="l" t="t" r="r" b="b"/>
              <a:pathLst>
                <a:path w="3417" h="13813" fill="none" extrusionOk="0">
                  <a:moveTo>
                    <a:pt x="3417" y="1"/>
                  </a:moveTo>
                  <a:lnTo>
                    <a:pt x="3417" y="1"/>
                  </a:lnTo>
                  <a:lnTo>
                    <a:pt x="3271" y="401"/>
                  </a:lnTo>
                  <a:lnTo>
                    <a:pt x="2871" y="1564"/>
                  </a:lnTo>
                  <a:lnTo>
                    <a:pt x="2544" y="2363"/>
                  </a:lnTo>
                  <a:lnTo>
                    <a:pt x="2108" y="3272"/>
                  </a:lnTo>
                  <a:lnTo>
                    <a:pt x="1599" y="4290"/>
                  </a:lnTo>
                  <a:lnTo>
                    <a:pt x="1018" y="5380"/>
                  </a:lnTo>
                  <a:lnTo>
                    <a:pt x="1018" y="5380"/>
                  </a:lnTo>
                  <a:lnTo>
                    <a:pt x="909" y="6616"/>
                  </a:lnTo>
                  <a:lnTo>
                    <a:pt x="763" y="7888"/>
                  </a:lnTo>
                  <a:lnTo>
                    <a:pt x="400" y="10541"/>
                  </a:lnTo>
                  <a:lnTo>
                    <a:pt x="400" y="10541"/>
                  </a:lnTo>
                  <a:lnTo>
                    <a:pt x="0" y="13812"/>
                  </a:lnTo>
                  <a:lnTo>
                    <a:pt x="341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3" name="Google Shape;2712;p11">
              <a:extLst>
                <a:ext uri="{FF2B5EF4-FFF2-40B4-BE49-F238E27FC236}">
                  <a16:creationId xmlns:a16="http://schemas.microsoft.com/office/drawing/2014/main" id="{049C298A-7DEB-E729-0134-88BB8752B406}"/>
                </a:ext>
              </a:extLst>
            </p:cNvPr>
            <p:cNvSpPr/>
            <p:nvPr/>
          </p:nvSpPr>
          <p:spPr>
            <a:xfrm>
              <a:off x="4670475" y="2492200"/>
              <a:ext cx="240800" cy="368925"/>
            </a:xfrm>
            <a:custGeom>
              <a:avLst/>
              <a:gdLst/>
              <a:ahLst/>
              <a:cxnLst/>
              <a:rect l="l" t="t" r="r" b="b"/>
              <a:pathLst>
                <a:path w="9632" h="14757" extrusionOk="0">
                  <a:moveTo>
                    <a:pt x="4943" y="1"/>
                  </a:moveTo>
                  <a:lnTo>
                    <a:pt x="4544" y="37"/>
                  </a:lnTo>
                  <a:lnTo>
                    <a:pt x="4180" y="110"/>
                  </a:lnTo>
                  <a:lnTo>
                    <a:pt x="3889" y="182"/>
                  </a:lnTo>
                  <a:lnTo>
                    <a:pt x="3671" y="328"/>
                  </a:lnTo>
                  <a:lnTo>
                    <a:pt x="3526" y="437"/>
                  </a:lnTo>
                  <a:lnTo>
                    <a:pt x="2944" y="1345"/>
                  </a:lnTo>
                  <a:lnTo>
                    <a:pt x="2436" y="2072"/>
                  </a:lnTo>
                  <a:lnTo>
                    <a:pt x="1999" y="2617"/>
                  </a:lnTo>
                  <a:lnTo>
                    <a:pt x="1636" y="3054"/>
                  </a:lnTo>
                  <a:lnTo>
                    <a:pt x="1127" y="3562"/>
                  </a:lnTo>
                  <a:lnTo>
                    <a:pt x="982" y="3744"/>
                  </a:lnTo>
                  <a:lnTo>
                    <a:pt x="873" y="3890"/>
                  </a:lnTo>
                  <a:lnTo>
                    <a:pt x="1018" y="4035"/>
                  </a:lnTo>
                  <a:lnTo>
                    <a:pt x="1163" y="4108"/>
                  </a:lnTo>
                  <a:lnTo>
                    <a:pt x="1236" y="4108"/>
                  </a:lnTo>
                  <a:lnTo>
                    <a:pt x="1272" y="4144"/>
                  </a:lnTo>
                  <a:lnTo>
                    <a:pt x="1272" y="4253"/>
                  </a:lnTo>
                  <a:lnTo>
                    <a:pt x="1200" y="4398"/>
                  </a:lnTo>
                  <a:lnTo>
                    <a:pt x="836" y="5125"/>
                  </a:lnTo>
                  <a:lnTo>
                    <a:pt x="473" y="5889"/>
                  </a:lnTo>
                  <a:lnTo>
                    <a:pt x="182" y="6615"/>
                  </a:lnTo>
                  <a:lnTo>
                    <a:pt x="109" y="6943"/>
                  </a:lnTo>
                  <a:lnTo>
                    <a:pt x="37" y="7233"/>
                  </a:lnTo>
                  <a:lnTo>
                    <a:pt x="0" y="7524"/>
                  </a:lnTo>
                  <a:lnTo>
                    <a:pt x="37" y="7779"/>
                  </a:lnTo>
                  <a:lnTo>
                    <a:pt x="109" y="7960"/>
                  </a:lnTo>
                  <a:lnTo>
                    <a:pt x="255" y="8142"/>
                  </a:lnTo>
                  <a:lnTo>
                    <a:pt x="437" y="8287"/>
                  </a:lnTo>
                  <a:lnTo>
                    <a:pt x="691" y="8360"/>
                  </a:lnTo>
                  <a:lnTo>
                    <a:pt x="1018" y="8433"/>
                  </a:lnTo>
                  <a:lnTo>
                    <a:pt x="1418" y="8433"/>
                  </a:lnTo>
                  <a:lnTo>
                    <a:pt x="1890" y="8360"/>
                  </a:lnTo>
                  <a:lnTo>
                    <a:pt x="2436" y="8251"/>
                  </a:lnTo>
                  <a:lnTo>
                    <a:pt x="1418" y="10359"/>
                  </a:lnTo>
                  <a:lnTo>
                    <a:pt x="982" y="13667"/>
                  </a:lnTo>
                  <a:lnTo>
                    <a:pt x="5307" y="14757"/>
                  </a:lnTo>
                  <a:lnTo>
                    <a:pt x="5343" y="14466"/>
                  </a:lnTo>
                  <a:lnTo>
                    <a:pt x="5380" y="14139"/>
                  </a:lnTo>
                  <a:lnTo>
                    <a:pt x="5561" y="13412"/>
                  </a:lnTo>
                  <a:lnTo>
                    <a:pt x="5816" y="12649"/>
                  </a:lnTo>
                  <a:lnTo>
                    <a:pt x="6143" y="11813"/>
                  </a:lnTo>
                  <a:lnTo>
                    <a:pt x="6506" y="10904"/>
                  </a:lnTo>
                  <a:lnTo>
                    <a:pt x="6906" y="9959"/>
                  </a:lnTo>
                  <a:lnTo>
                    <a:pt x="7778" y="8069"/>
                  </a:lnTo>
                  <a:lnTo>
                    <a:pt x="8614" y="6216"/>
                  </a:lnTo>
                  <a:lnTo>
                    <a:pt x="8978" y="5307"/>
                  </a:lnTo>
                  <a:lnTo>
                    <a:pt x="9269" y="4507"/>
                  </a:lnTo>
                  <a:lnTo>
                    <a:pt x="9487" y="3708"/>
                  </a:lnTo>
                  <a:lnTo>
                    <a:pt x="9559" y="3381"/>
                  </a:lnTo>
                  <a:lnTo>
                    <a:pt x="9596" y="3017"/>
                  </a:lnTo>
                  <a:lnTo>
                    <a:pt x="9632" y="2726"/>
                  </a:lnTo>
                  <a:lnTo>
                    <a:pt x="9596" y="2436"/>
                  </a:lnTo>
                  <a:lnTo>
                    <a:pt x="9559" y="2181"/>
                  </a:lnTo>
                  <a:lnTo>
                    <a:pt x="9487" y="1963"/>
                  </a:lnTo>
                  <a:lnTo>
                    <a:pt x="9378" y="1745"/>
                  </a:lnTo>
                  <a:lnTo>
                    <a:pt x="9269" y="1563"/>
                  </a:lnTo>
                  <a:lnTo>
                    <a:pt x="8978" y="1200"/>
                  </a:lnTo>
                  <a:lnTo>
                    <a:pt x="8614" y="909"/>
                  </a:lnTo>
                  <a:lnTo>
                    <a:pt x="8215" y="655"/>
                  </a:lnTo>
                  <a:lnTo>
                    <a:pt x="7778" y="437"/>
                  </a:lnTo>
                  <a:lnTo>
                    <a:pt x="7306" y="291"/>
                  </a:lnTo>
                  <a:lnTo>
                    <a:pt x="6797" y="146"/>
                  </a:lnTo>
                  <a:lnTo>
                    <a:pt x="6325" y="73"/>
                  </a:lnTo>
                  <a:lnTo>
                    <a:pt x="5852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4" name="Google Shape;2713;p11">
              <a:extLst>
                <a:ext uri="{FF2B5EF4-FFF2-40B4-BE49-F238E27FC236}">
                  <a16:creationId xmlns:a16="http://schemas.microsoft.com/office/drawing/2014/main" id="{79133955-C0F1-BA92-0926-8947B367F00C}"/>
                </a:ext>
              </a:extLst>
            </p:cNvPr>
            <p:cNvSpPr/>
            <p:nvPr/>
          </p:nvSpPr>
          <p:spPr>
            <a:xfrm>
              <a:off x="4670475" y="2492200"/>
              <a:ext cx="240800" cy="368925"/>
            </a:xfrm>
            <a:custGeom>
              <a:avLst/>
              <a:gdLst/>
              <a:ahLst/>
              <a:cxnLst/>
              <a:rect l="l" t="t" r="r" b="b"/>
              <a:pathLst>
                <a:path w="9632" h="14757" fill="none" extrusionOk="0">
                  <a:moveTo>
                    <a:pt x="3526" y="437"/>
                  </a:moveTo>
                  <a:lnTo>
                    <a:pt x="3526" y="437"/>
                  </a:lnTo>
                  <a:lnTo>
                    <a:pt x="2944" y="1345"/>
                  </a:lnTo>
                  <a:lnTo>
                    <a:pt x="2436" y="2072"/>
                  </a:lnTo>
                  <a:lnTo>
                    <a:pt x="1999" y="2617"/>
                  </a:lnTo>
                  <a:lnTo>
                    <a:pt x="1636" y="3054"/>
                  </a:lnTo>
                  <a:lnTo>
                    <a:pt x="1127" y="3562"/>
                  </a:lnTo>
                  <a:lnTo>
                    <a:pt x="982" y="3744"/>
                  </a:lnTo>
                  <a:lnTo>
                    <a:pt x="873" y="3890"/>
                  </a:lnTo>
                  <a:lnTo>
                    <a:pt x="873" y="3890"/>
                  </a:lnTo>
                  <a:lnTo>
                    <a:pt x="1018" y="4035"/>
                  </a:lnTo>
                  <a:lnTo>
                    <a:pt x="1163" y="4108"/>
                  </a:lnTo>
                  <a:lnTo>
                    <a:pt x="1236" y="4108"/>
                  </a:lnTo>
                  <a:lnTo>
                    <a:pt x="1272" y="4144"/>
                  </a:lnTo>
                  <a:lnTo>
                    <a:pt x="1272" y="4253"/>
                  </a:lnTo>
                  <a:lnTo>
                    <a:pt x="1200" y="4398"/>
                  </a:lnTo>
                  <a:lnTo>
                    <a:pt x="836" y="5125"/>
                  </a:lnTo>
                  <a:lnTo>
                    <a:pt x="836" y="5125"/>
                  </a:lnTo>
                  <a:lnTo>
                    <a:pt x="473" y="5889"/>
                  </a:lnTo>
                  <a:lnTo>
                    <a:pt x="182" y="6615"/>
                  </a:lnTo>
                  <a:lnTo>
                    <a:pt x="109" y="6943"/>
                  </a:lnTo>
                  <a:lnTo>
                    <a:pt x="37" y="7233"/>
                  </a:lnTo>
                  <a:lnTo>
                    <a:pt x="0" y="7524"/>
                  </a:lnTo>
                  <a:lnTo>
                    <a:pt x="37" y="7779"/>
                  </a:lnTo>
                  <a:lnTo>
                    <a:pt x="109" y="7960"/>
                  </a:lnTo>
                  <a:lnTo>
                    <a:pt x="255" y="8142"/>
                  </a:lnTo>
                  <a:lnTo>
                    <a:pt x="437" y="8287"/>
                  </a:lnTo>
                  <a:lnTo>
                    <a:pt x="691" y="8360"/>
                  </a:lnTo>
                  <a:lnTo>
                    <a:pt x="1018" y="8433"/>
                  </a:lnTo>
                  <a:lnTo>
                    <a:pt x="1418" y="8433"/>
                  </a:lnTo>
                  <a:lnTo>
                    <a:pt x="1890" y="8360"/>
                  </a:lnTo>
                  <a:lnTo>
                    <a:pt x="2436" y="8251"/>
                  </a:lnTo>
                  <a:lnTo>
                    <a:pt x="2436" y="8251"/>
                  </a:lnTo>
                  <a:lnTo>
                    <a:pt x="1418" y="10359"/>
                  </a:lnTo>
                  <a:lnTo>
                    <a:pt x="982" y="13667"/>
                  </a:lnTo>
                  <a:lnTo>
                    <a:pt x="5307" y="14757"/>
                  </a:lnTo>
                  <a:lnTo>
                    <a:pt x="5307" y="14757"/>
                  </a:lnTo>
                  <a:lnTo>
                    <a:pt x="5343" y="14466"/>
                  </a:lnTo>
                  <a:lnTo>
                    <a:pt x="5380" y="14139"/>
                  </a:lnTo>
                  <a:lnTo>
                    <a:pt x="5561" y="13412"/>
                  </a:lnTo>
                  <a:lnTo>
                    <a:pt x="5816" y="12649"/>
                  </a:lnTo>
                  <a:lnTo>
                    <a:pt x="6143" y="11813"/>
                  </a:lnTo>
                  <a:lnTo>
                    <a:pt x="6506" y="10904"/>
                  </a:lnTo>
                  <a:lnTo>
                    <a:pt x="6906" y="9959"/>
                  </a:lnTo>
                  <a:lnTo>
                    <a:pt x="7778" y="8069"/>
                  </a:lnTo>
                  <a:lnTo>
                    <a:pt x="8614" y="6216"/>
                  </a:lnTo>
                  <a:lnTo>
                    <a:pt x="8978" y="5307"/>
                  </a:lnTo>
                  <a:lnTo>
                    <a:pt x="9269" y="4507"/>
                  </a:lnTo>
                  <a:lnTo>
                    <a:pt x="9487" y="3708"/>
                  </a:lnTo>
                  <a:lnTo>
                    <a:pt x="9559" y="3381"/>
                  </a:lnTo>
                  <a:lnTo>
                    <a:pt x="9596" y="3017"/>
                  </a:lnTo>
                  <a:lnTo>
                    <a:pt x="9632" y="2726"/>
                  </a:lnTo>
                  <a:lnTo>
                    <a:pt x="9596" y="2436"/>
                  </a:lnTo>
                  <a:lnTo>
                    <a:pt x="9559" y="2181"/>
                  </a:lnTo>
                  <a:lnTo>
                    <a:pt x="9487" y="1963"/>
                  </a:lnTo>
                  <a:lnTo>
                    <a:pt x="9487" y="1963"/>
                  </a:lnTo>
                  <a:lnTo>
                    <a:pt x="9378" y="1745"/>
                  </a:lnTo>
                  <a:lnTo>
                    <a:pt x="9269" y="1563"/>
                  </a:lnTo>
                  <a:lnTo>
                    <a:pt x="8978" y="1200"/>
                  </a:lnTo>
                  <a:lnTo>
                    <a:pt x="8614" y="909"/>
                  </a:lnTo>
                  <a:lnTo>
                    <a:pt x="8215" y="655"/>
                  </a:lnTo>
                  <a:lnTo>
                    <a:pt x="7778" y="437"/>
                  </a:lnTo>
                  <a:lnTo>
                    <a:pt x="7306" y="291"/>
                  </a:lnTo>
                  <a:lnTo>
                    <a:pt x="6797" y="146"/>
                  </a:lnTo>
                  <a:lnTo>
                    <a:pt x="6325" y="73"/>
                  </a:lnTo>
                  <a:lnTo>
                    <a:pt x="5852" y="1"/>
                  </a:lnTo>
                  <a:lnTo>
                    <a:pt x="5380" y="1"/>
                  </a:lnTo>
                  <a:lnTo>
                    <a:pt x="4943" y="1"/>
                  </a:lnTo>
                  <a:lnTo>
                    <a:pt x="4544" y="37"/>
                  </a:lnTo>
                  <a:lnTo>
                    <a:pt x="4180" y="110"/>
                  </a:lnTo>
                  <a:lnTo>
                    <a:pt x="3889" y="182"/>
                  </a:lnTo>
                  <a:lnTo>
                    <a:pt x="3671" y="328"/>
                  </a:lnTo>
                  <a:lnTo>
                    <a:pt x="3526" y="437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5" name="Google Shape;2714;p11">
              <a:extLst>
                <a:ext uri="{FF2B5EF4-FFF2-40B4-BE49-F238E27FC236}">
                  <a16:creationId xmlns:a16="http://schemas.microsoft.com/office/drawing/2014/main" id="{F0EA0D97-23B2-E969-20F6-DD94D8E59C6C}"/>
                </a:ext>
              </a:extLst>
            </p:cNvPr>
            <p:cNvSpPr/>
            <p:nvPr/>
          </p:nvSpPr>
          <p:spPr>
            <a:xfrm>
              <a:off x="4739525" y="2425875"/>
              <a:ext cx="210825" cy="314400"/>
            </a:xfrm>
            <a:custGeom>
              <a:avLst/>
              <a:gdLst/>
              <a:ahLst/>
              <a:cxnLst/>
              <a:rect l="l" t="t" r="r" b="b"/>
              <a:pathLst>
                <a:path w="8433" h="12576" extrusionOk="0">
                  <a:moveTo>
                    <a:pt x="2109" y="0"/>
                  </a:moveTo>
                  <a:lnTo>
                    <a:pt x="1782" y="73"/>
                  </a:lnTo>
                  <a:lnTo>
                    <a:pt x="1418" y="182"/>
                  </a:lnTo>
                  <a:lnTo>
                    <a:pt x="1164" y="327"/>
                  </a:lnTo>
                  <a:lnTo>
                    <a:pt x="946" y="436"/>
                  </a:lnTo>
                  <a:lnTo>
                    <a:pt x="764" y="618"/>
                  </a:lnTo>
                  <a:lnTo>
                    <a:pt x="655" y="800"/>
                  </a:lnTo>
                  <a:lnTo>
                    <a:pt x="619" y="982"/>
                  </a:lnTo>
                  <a:lnTo>
                    <a:pt x="582" y="1163"/>
                  </a:lnTo>
                  <a:lnTo>
                    <a:pt x="582" y="1490"/>
                  </a:lnTo>
                  <a:lnTo>
                    <a:pt x="582" y="1600"/>
                  </a:lnTo>
                  <a:lnTo>
                    <a:pt x="400" y="1745"/>
                  </a:lnTo>
                  <a:lnTo>
                    <a:pt x="255" y="1854"/>
                  </a:lnTo>
                  <a:lnTo>
                    <a:pt x="146" y="1999"/>
                  </a:lnTo>
                  <a:lnTo>
                    <a:pt x="73" y="2108"/>
                  </a:lnTo>
                  <a:lnTo>
                    <a:pt x="37" y="2254"/>
                  </a:lnTo>
                  <a:lnTo>
                    <a:pt x="1" y="2399"/>
                  </a:lnTo>
                  <a:lnTo>
                    <a:pt x="37" y="2690"/>
                  </a:lnTo>
                  <a:lnTo>
                    <a:pt x="146" y="2981"/>
                  </a:lnTo>
                  <a:lnTo>
                    <a:pt x="291" y="3271"/>
                  </a:lnTo>
                  <a:lnTo>
                    <a:pt x="619" y="3926"/>
                  </a:lnTo>
                  <a:lnTo>
                    <a:pt x="800" y="4253"/>
                  </a:lnTo>
                  <a:lnTo>
                    <a:pt x="1018" y="4471"/>
                  </a:lnTo>
                  <a:lnTo>
                    <a:pt x="1382" y="4834"/>
                  </a:lnTo>
                  <a:lnTo>
                    <a:pt x="1527" y="5016"/>
                  </a:lnTo>
                  <a:lnTo>
                    <a:pt x="1600" y="5198"/>
                  </a:lnTo>
                  <a:lnTo>
                    <a:pt x="1600" y="5307"/>
                  </a:lnTo>
                  <a:lnTo>
                    <a:pt x="1564" y="5416"/>
                  </a:lnTo>
                  <a:lnTo>
                    <a:pt x="1491" y="5707"/>
                  </a:lnTo>
                  <a:lnTo>
                    <a:pt x="1200" y="6215"/>
                  </a:lnTo>
                  <a:lnTo>
                    <a:pt x="1164" y="6397"/>
                  </a:lnTo>
                  <a:lnTo>
                    <a:pt x="1164" y="6543"/>
                  </a:lnTo>
                  <a:lnTo>
                    <a:pt x="1236" y="6652"/>
                  </a:lnTo>
                  <a:lnTo>
                    <a:pt x="1345" y="6797"/>
                  </a:lnTo>
                  <a:lnTo>
                    <a:pt x="1564" y="6942"/>
                  </a:lnTo>
                  <a:lnTo>
                    <a:pt x="1891" y="7088"/>
                  </a:lnTo>
                  <a:lnTo>
                    <a:pt x="2145" y="7015"/>
                  </a:lnTo>
                  <a:lnTo>
                    <a:pt x="2399" y="6979"/>
                  </a:lnTo>
                  <a:lnTo>
                    <a:pt x="2581" y="7015"/>
                  </a:lnTo>
                  <a:lnTo>
                    <a:pt x="2763" y="7051"/>
                  </a:lnTo>
                  <a:lnTo>
                    <a:pt x="2872" y="7160"/>
                  </a:lnTo>
                  <a:lnTo>
                    <a:pt x="2981" y="7306"/>
                  </a:lnTo>
                  <a:lnTo>
                    <a:pt x="3054" y="7451"/>
                  </a:lnTo>
                  <a:lnTo>
                    <a:pt x="3090" y="7633"/>
                  </a:lnTo>
                  <a:lnTo>
                    <a:pt x="3090" y="7815"/>
                  </a:lnTo>
                  <a:lnTo>
                    <a:pt x="3054" y="7996"/>
                  </a:lnTo>
                  <a:lnTo>
                    <a:pt x="2981" y="8178"/>
                  </a:lnTo>
                  <a:lnTo>
                    <a:pt x="2872" y="8360"/>
                  </a:lnTo>
                  <a:lnTo>
                    <a:pt x="2727" y="8505"/>
                  </a:lnTo>
                  <a:lnTo>
                    <a:pt x="2545" y="8651"/>
                  </a:lnTo>
                  <a:lnTo>
                    <a:pt x="2363" y="8760"/>
                  </a:lnTo>
                  <a:lnTo>
                    <a:pt x="2109" y="8869"/>
                  </a:lnTo>
                  <a:lnTo>
                    <a:pt x="2000" y="9232"/>
                  </a:lnTo>
                  <a:lnTo>
                    <a:pt x="1891" y="9668"/>
                  </a:lnTo>
                  <a:lnTo>
                    <a:pt x="1854" y="10213"/>
                  </a:lnTo>
                  <a:lnTo>
                    <a:pt x="1891" y="10722"/>
                  </a:lnTo>
                  <a:lnTo>
                    <a:pt x="2000" y="11267"/>
                  </a:lnTo>
                  <a:lnTo>
                    <a:pt x="2109" y="11522"/>
                  </a:lnTo>
                  <a:lnTo>
                    <a:pt x="2218" y="11740"/>
                  </a:lnTo>
                  <a:lnTo>
                    <a:pt x="2363" y="11958"/>
                  </a:lnTo>
                  <a:lnTo>
                    <a:pt x="2509" y="12140"/>
                  </a:lnTo>
                  <a:lnTo>
                    <a:pt x="2690" y="12321"/>
                  </a:lnTo>
                  <a:lnTo>
                    <a:pt x="2908" y="12431"/>
                  </a:lnTo>
                  <a:lnTo>
                    <a:pt x="3126" y="12540"/>
                  </a:lnTo>
                  <a:lnTo>
                    <a:pt x="3344" y="12576"/>
                  </a:lnTo>
                  <a:lnTo>
                    <a:pt x="3599" y="12576"/>
                  </a:lnTo>
                  <a:lnTo>
                    <a:pt x="3817" y="12540"/>
                  </a:lnTo>
                  <a:lnTo>
                    <a:pt x="4035" y="12467"/>
                  </a:lnTo>
                  <a:lnTo>
                    <a:pt x="4253" y="12358"/>
                  </a:lnTo>
                  <a:lnTo>
                    <a:pt x="4471" y="12212"/>
                  </a:lnTo>
                  <a:lnTo>
                    <a:pt x="4689" y="12067"/>
                  </a:lnTo>
                  <a:lnTo>
                    <a:pt x="4871" y="11849"/>
                  </a:lnTo>
                  <a:lnTo>
                    <a:pt x="5089" y="11631"/>
                  </a:lnTo>
                  <a:lnTo>
                    <a:pt x="5416" y="11122"/>
                  </a:lnTo>
                  <a:lnTo>
                    <a:pt x="5743" y="10541"/>
                  </a:lnTo>
                  <a:lnTo>
                    <a:pt x="5961" y="9923"/>
                  </a:lnTo>
                  <a:lnTo>
                    <a:pt x="6070" y="9632"/>
                  </a:lnTo>
                  <a:lnTo>
                    <a:pt x="6216" y="9414"/>
                  </a:lnTo>
                  <a:lnTo>
                    <a:pt x="6398" y="9196"/>
                  </a:lnTo>
                  <a:lnTo>
                    <a:pt x="6579" y="9050"/>
                  </a:lnTo>
                  <a:lnTo>
                    <a:pt x="6943" y="8760"/>
                  </a:lnTo>
                  <a:lnTo>
                    <a:pt x="7379" y="8469"/>
                  </a:lnTo>
                  <a:lnTo>
                    <a:pt x="7561" y="8323"/>
                  </a:lnTo>
                  <a:lnTo>
                    <a:pt x="7742" y="8142"/>
                  </a:lnTo>
                  <a:lnTo>
                    <a:pt x="7924" y="7887"/>
                  </a:lnTo>
                  <a:lnTo>
                    <a:pt x="8069" y="7633"/>
                  </a:lnTo>
                  <a:lnTo>
                    <a:pt x="8215" y="7269"/>
                  </a:lnTo>
                  <a:lnTo>
                    <a:pt x="8324" y="6870"/>
                  </a:lnTo>
                  <a:lnTo>
                    <a:pt x="8397" y="6361"/>
                  </a:lnTo>
                  <a:lnTo>
                    <a:pt x="8433" y="5779"/>
                  </a:lnTo>
                  <a:lnTo>
                    <a:pt x="8397" y="5488"/>
                  </a:lnTo>
                  <a:lnTo>
                    <a:pt x="8397" y="5234"/>
                  </a:lnTo>
                  <a:lnTo>
                    <a:pt x="8324" y="5016"/>
                  </a:lnTo>
                  <a:lnTo>
                    <a:pt x="8251" y="4871"/>
                  </a:lnTo>
                  <a:lnTo>
                    <a:pt x="8178" y="4725"/>
                  </a:lnTo>
                  <a:lnTo>
                    <a:pt x="8069" y="4653"/>
                  </a:lnTo>
                  <a:lnTo>
                    <a:pt x="7888" y="4507"/>
                  </a:lnTo>
                  <a:lnTo>
                    <a:pt x="7706" y="4362"/>
                  </a:lnTo>
                  <a:lnTo>
                    <a:pt x="7633" y="4253"/>
                  </a:lnTo>
                  <a:lnTo>
                    <a:pt x="7561" y="4107"/>
                  </a:lnTo>
                  <a:lnTo>
                    <a:pt x="7488" y="3962"/>
                  </a:lnTo>
                  <a:lnTo>
                    <a:pt x="7488" y="3744"/>
                  </a:lnTo>
                  <a:lnTo>
                    <a:pt x="7452" y="3489"/>
                  </a:lnTo>
                  <a:lnTo>
                    <a:pt x="7488" y="3199"/>
                  </a:lnTo>
                  <a:lnTo>
                    <a:pt x="7524" y="2872"/>
                  </a:lnTo>
                  <a:lnTo>
                    <a:pt x="7488" y="2617"/>
                  </a:lnTo>
                  <a:lnTo>
                    <a:pt x="7452" y="2363"/>
                  </a:lnTo>
                  <a:lnTo>
                    <a:pt x="7379" y="2145"/>
                  </a:lnTo>
                  <a:lnTo>
                    <a:pt x="7306" y="1963"/>
                  </a:lnTo>
                  <a:lnTo>
                    <a:pt x="7161" y="1781"/>
                  </a:lnTo>
                  <a:lnTo>
                    <a:pt x="7015" y="1672"/>
                  </a:lnTo>
                  <a:lnTo>
                    <a:pt x="6870" y="1527"/>
                  </a:lnTo>
                  <a:lnTo>
                    <a:pt x="6652" y="1454"/>
                  </a:lnTo>
                  <a:lnTo>
                    <a:pt x="6470" y="1381"/>
                  </a:lnTo>
                  <a:lnTo>
                    <a:pt x="6252" y="1345"/>
                  </a:lnTo>
                  <a:lnTo>
                    <a:pt x="5780" y="1345"/>
                  </a:lnTo>
                  <a:lnTo>
                    <a:pt x="5489" y="1381"/>
                  </a:lnTo>
                  <a:lnTo>
                    <a:pt x="5234" y="1454"/>
                  </a:lnTo>
                  <a:lnTo>
                    <a:pt x="4980" y="1527"/>
                  </a:lnTo>
                  <a:lnTo>
                    <a:pt x="4471" y="1672"/>
                  </a:lnTo>
                  <a:lnTo>
                    <a:pt x="4180" y="1745"/>
                  </a:lnTo>
                  <a:lnTo>
                    <a:pt x="4035" y="1745"/>
                  </a:lnTo>
                  <a:lnTo>
                    <a:pt x="3962" y="1709"/>
                  </a:lnTo>
                  <a:lnTo>
                    <a:pt x="3853" y="1672"/>
                  </a:lnTo>
                  <a:lnTo>
                    <a:pt x="3817" y="1600"/>
                  </a:lnTo>
                  <a:lnTo>
                    <a:pt x="3708" y="1418"/>
                  </a:lnTo>
                  <a:lnTo>
                    <a:pt x="3635" y="1163"/>
                  </a:lnTo>
                  <a:lnTo>
                    <a:pt x="3526" y="873"/>
                  </a:lnTo>
                  <a:lnTo>
                    <a:pt x="3344" y="545"/>
                  </a:lnTo>
                  <a:lnTo>
                    <a:pt x="3235" y="400"/>
                  </a:lnTo>
                  <a:lnTo>
                    <a:pt x="3126" y="255"/>
                  </a:lnTo>
                  <a:lnTo>
                    <a:pt x="2981" y="146"/>
                  </a:lnTo>
                  <a:lnTo>
                    <a:pt x="2799" y="73"/>
                  </a:lnTo>
                  <a:lnTo>
                    <a:pt x="2654" y="37"/>
                  </a:lnTo>
                  <a:lnTo>
                    <a:pt x="2472" y="0"/>
                  </a:lnTo>
                  <a:close/>
                </a:path>
              </a:pathLst>
            </a:custGeom>
            <a:solidFill>
              <a:srgbClr val="4C24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6" name="Google Shape;2715;p11">
              <a:extLst>
                <a:ext uri="{FF2B5EF4-FFF2-40B4-BE49-F238E27FC236}">
                  <a16:creationId xmlns:a16="http://schemas.microsoft.com/office/drawing/2014/main" id="{7B6BF168-04A7-ECE2-735C-185A71E4A9CB}"/>
                </a:ext>
              </a:extLst>
            </p:cNvPr>
            <p:cNvSpPr/>
            <p:nvPr/>
          </p:nvSpPr>
          <p:spPr>
            <a:xfrm>
              <a:off x="4706825" y="2691200"/>
              <a:ext cx="69975" cy="65450"/>
            </a:xfrm>
            <a:custGeom>
              <a:avLst/>
              <a:gdLst/>
              <a:ahLst/>
              <a:cxnLst/>
              <a:rect l="l" t="t" r="r" b="b"/>
              <a:pathLst>
                <a:path w="2799" h="2618" extrusionOk="0">
                  <a:moveTo>
                    <a:pt x="1963" y="0"/>
                  </a:moveTo>
                  <a:lnTo>
                    <a:pt x="1781" y="37"/>
                  </a:lnTo>
                  <a:lnTo>
                    <a:pt x="1563" y="73"/>
                  </a:lnTo>
                  <a:lnTo>
                    <a:pt x="1309" y="182"/>
                  </a:lnTo>
                  <a:lnTo>
                    <a:pt x="982" y="291"/>
                  </a:lnTo>
                  <a:lnTo>
                    <a:pt x="218" y="1963"/>
                  </a:lnTo>
                  <a:lnTo>
                    <a:pt x="146" y="2181"/>
                  </a:lnTo>
                  <a:lnTo>
                    <a:pt x="0" y="2617"/>
                  </a:lnTo>
                  <a:lnTo>
                    <a:pt x="1054" y="2581"/>
                  </a:lnTo>
                  <a:lnTo>
                    <a:pt x="1781" y="2581"/>
                  </a:lnTo>
                  <a:lnTo>
                    <a:pt x="2072" y="2472"/>
                  </a:lnTo>
                  <a:lnTo>
                    <a:pt x="2326" y="2326"/>
                  </a:lnTo>
                  <a:lnTo>
                    <a:pt x="2544" y="2145"/>
                  </a:lnTo>
                  <a:lnTo>
                    <a:pt x="2690" y="1927"/>
                  </a:lnTo>
                  <a:lnTo>
                    <a:pt x="2763" y="1818"/>
                  </a:lnTo>
                  <a:lnTo>
                    <a:pt x="2799" y="1672"/>
                  </a:lnTo>
                  <a:lnTo>
                    <a:pt x="2799" y="1490"/>
                  </a:lnTo>
                  <a:lnTo>
                    <a:pt x="2799" y="1309"/>
                  </a:lnTo>
                  <a:lnTo>
                    <a:pt x="2690" y="873"/>
                  </a:lnTo>
                  <a:lnTo>
                    <a:pt x="2472" y="327"/>
                  </a:lnTo>
                  <a:lnTo>
                    <a:pt x="2399" y="218"/>
                  </a:lnTo>
                  <a:lnTo>
                    <a:pt x="2326" y="109"/>
                  </a:lnTo>
                  <a:lnTo>
                    <a:pt x="2181" y="37"/>
                  </a:lnTo>
                  <a:lnTo>
                    <a:pt x="1963" y="0"/>
                  </a:lnTo>
                  <a:close/>
                </a:path>
              </a:pathLst>
            </a:custGeom>
            <a:solidFill>
              <a:srgbClr val="CE97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7" name="Google Shape;2716;p11">
              <a:extLst>
                <a:ext uri="{FF2B5EF4-FFF2-40B4-BE49-F238E27FC236}">
                  <a16:creationId xmlns:a16="http://schemas.microsoft.com/office/drawing/2014/main" id="{BA1510B7-B8B2-A030-47D9-57ABFA0A8764}"/>
                </a:ext>
              </a:extLst>
            </p:cNvPr>
            <p:cNvSpPr/>
            <p:nvPr/>
          </p:nvSpPr>
          <p:spPr>
            <a:xfrm>
              <a:off x="4706825" y="2691200"/>
              <a:ext cx="69975" cy="65450"/>
            </a:xfrm>
            <a:custGeom>
              <a:avLst/>
              <a:gdLst/>
              <a:ahLst/>
              <a:cxnLst/>
              <a:rect l="l" t="t" r="r" b="b"/>
              <a:pathLst>
                <a:path w="2799" h="2618" fill="none" extrusionOk="0">
                  <a:moveTo>
                    <a:pt x="1963" y="0"/>
                  </a:moveTo>
                  <a:lnTo>
                    <a:pt x="1963" y="0"/>
                  </a:lnTo>
                  <a:lnTo>
                    <a:pt x="1781" y="37"/>
                  </a:lnTo>
                  <a:lnTo>
                    <a:pt x="1563" y="73"/>
                  </a:lnTo>
                  <a:lnTo>
                    <a:pt x="1309" y="182"/>
                  </a:lnTo>
                  <a:lnTo>
                    <a:pt x="982" y="291"/>
                  </a:lnTo>
                  <a:lnTo>
                    <a:pt x="982" y="291"/>
                  </a:lnTo>
                  <a:lnTo>
                    <a:pt x="982" y="291"/>
                  </a:lnTo>
                  <a:lnTo>
                    <a:pt x="982" y="291"/>
                  </a:lnTo>
                  <a:lnTo>
                    <a:pt x="218" y="1963"/>
                  </a:lnTo>
                  <a:lnTo>
                    <a:pt x="218" y="1963"/>
                  </a:lnTo>
                  <a:lnTo>
                    <a:pt x="146" y="2181"/>
                  </a:lnTo>
                  <a:lnTo>
                    <a:pt x="0" y="2617"/>
                  </a:lnTo>
                  <a:lnTo>
                    <a:pt x="0" y="2617"/>
                  </a:lnTo>
                  <a:lnTo>
                    <a:pt x="1054" y="2581"/>
                  </a:lnTo>
                  <a:lnTo>
                    <a:pt x="1054" y="2581"/>
                  </a:lnTo>
                  <a:lnTo>
                    <a:pt x="1781" y="2581"/>
                  </a:lnTo>
                  <a:lnTo>
                    <a:pt x="1781" y="2581"/>
                  </a:lnTo>
                  <a:lnTo>
                    <a:pt x="2072" y="2472"/>
                  </a:lnTo>
                  <a:lnTo>
                    <a:pt x="2326" y="2326"/>
                  </a:lnTo>
                  <a:lnTo>
                    <a:pt x="2544" y="2145"/>
                  </a:lnTo>
                  <a:lnTo>
                    <a:pt x="2690" y="1927"/>
                  </a:lnTo>
                  <a:lnTo>
                    <a:pt x="2763" y="1818"/>
                  </a:lnTo>
                  <a:lnTo>
                    <a:pt x="2799" y="1672"/>
                  </a:lnTo>
                  <a:lnTo>
                    <a:pt x="2799" y="1490"/>
                  </a:lnTo>
                  <a:lnTo>
                    <a:pt x="2799" y="1309"/>
                  </a:lnTo>
                  <a:lnTo>
                    <a:pt x="2690" y="873"/>
                  </a:lnTo>
                  <a:lnTo>
                    <a:pt x="2472" y="327"/>
                  </a:lnTo>
                  <a:lnTo>
                    <a:pt x="2472" y="327"/>
                  </a:lnTo>
                  <a:lnTo>
                    <a:pt x="2399" y="218"/>
                  </a:lnTo>
                  <a:lnTo>
                    <a:pt x="2326" y="109"/>
                  </a:lnTo>
                  <a:lnTo>
                    <a:pt x="2181" y="37"/>
                  </a:lnTo>
                  <a:lnTo>
                    <a:pt x="1963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8" name="Google Shape;2717;p11">
              <a:extLst>
                <a:ext uri="{FF2B5EF4-FFF2-40B4-BE49-F238E27FC236}">
                  <a16:creationId xmlns:a16="http://schemas.microsoft.com/office/drawing/2014/main" id="{FA3E8F19-CB6F-58F7-0B6F-CF46EE9419EE}"/>
                </a:ext>
              </a:extLst>
            </p:cNvPr>
            <p:cNvSpPr/>
            <p:nvPr/>
          </p:nvSpPr>
          <p:spPr>
            <a:xfrm>
              <a:off x="3957200" y="2437675"/>
              <a:ext cx="1132175" cy="1208525"/>
            </a:xfrm>
            <a:custGeom>
              <a:avLst/>
              <a:gdLst/>
              <a:ahLst/>
              <a:cxnLst/>
              <a:rect l="l" t="t" r="r" b="b"/>
              <a:pathLst>
                <a:path w="45287" h="48341" extrusionOk="0">
                  <a:moveTo>
                    <a:pt x="3925" y="1"/>
                  </a:moveTo>
                  <a:lnTo>
                    <a:pt x="3235" y="73"/>
                  </a:lnTo>
                  <a:lnTo>
                    <a:pt x="2980" y="110"/>
                  </a:lnTo>
                  <a:lnTo>
                    <a:pt x="2835" y="183"/>
                  </a:lnTo>
                  <a:lnTo>
                    <a:pt x="2435" y="1600"/>
                  </a:lnTo>
                  <a:lnTo>
                    <a:pt x="2108" y="2799"/>
                  </a:lnTo>
                  <a:lnTo>
                    <a:pt x="1708" y="4290"/>
                  </a:lnTo>
                  <a:lnTo>
                    <a:pt x="1308" y="5998"/>
                  </a:lnTo>
                  <a:lnTo>
                    <a:pt x="909" y="7851"/>
                  </a:lnTo>
                  <a:lnTo>
                    <a:pt x="545" y="9814"/>
                  </a:lnTo>
                  <a:lnTo>
                    <a:pt x="400" y="10832"/>
                  </a:lnTo>
                  <a:lnTo>
                    <a:pt x="254" y="11849"/>
                  </a:lnTo>
                  <a:lnTo>
                    <a:pt x="145" y="12867"/>
                  </a:lnTo>
                  <a:lnTo>
                    <a:pt x="73" y="13885"/>
                  </a:lnTo>
                  <a:lnTo>
                    <a:pt x="36" y="14866"/>
                  </a:lnTo>
                  <a:lnTo>
                    <a:pt x="0" y="15848"/>
                  </a:lnTo>
                  <a:lnTo>
                    <a:pt x="36" y="16793"/>
                  </a:lnTo>
                  <a:lnTo>
                    <a:pt x="109" y="17701"/>
                  </a:lnTo>
                  <a:lnTo>
                    <a:pt x="218" y="18573"/>
                  </a:lnTo>
                  <a:lnTo>
                    <a:pt x="363" y="19409"/>
                  </a:lnTo>
                  <a:lnTo>
                    <a:pt x="582" y="20173"/>
                  </a:lnTo>
                  <a:lnTo>
                    <a:pt x="872" y="20900"/>
                  </a:lnTo>
                  <a:lnTo>
                    <a:pt x="1018" y="21227"/>
                  </a:lnTo>
                  <a:lnTo>
                    <a:pt x="1199" y="21554"/>
                  </a:lnTo>
                  <a:lnTo>
                    <a:pt x="1381" y="21845"/>
                  </a:lnTo>
                  <a:lnTo>
                    <a:pt x="1599" y="22135"/>
                  </a:lnTo>
                  <a:lnTo>
                    <a:pt x="1817" y="22390"/>
                  </a:lnTo>
                  <a:lnTo>
                    <a:pt x="2072" y="22608"/>
                  </a:lnTo>
                  <a:lnTo>
                    <a:pt x="2326" y="22826"/>
                  </a:lnTo>
                  <a:lnTo>
                    <a:pt x="2617" y="23008"/>
                  </a:lnTo>
                  <a:lnTo>
                    <a:pt x="2908" y="23189"/>
                  </a:lnTo>
                  <a:lnTo>
                    <a:pt x="3235" y="23335"/>
                  </a:lnTo>
                  <a:lnTo>
                    <a:pt x="3562" y="23444"/>
                  </a:lnTo>
                  <a:lnTo>
                    <a:pt x="3925" y="23516"/>
                  </a:lnTo>
                  <a:lnTo>
                    <a:pt x="5016" y="23735"/>
                  </a:lnTo>
                  <a:lnTo>
                    <a:pt x="6251" y="23880"/>
                  </a:lnTo>
                  <a:lnTo>
                    <a:pt x="7633" y="23989"/>
                  </a:lnTo>
                  <a:lnTo>
                    <a:pt x="9086" y="24062"/>
                  </a:lnTo>
                  <a:lnTo>
                    <a:pt x="12139" y="24171"/>
                  </a:lnTo>
                  <a:lnTo>
                    <a:pt x="15229" y="24280"/>
                  </a:lnTo>
                  <a:lnTo>
                    <a:pt x="16683" y="24352"/>
                  </a:lnTo>
                  <a:lnTo>
                    <a:pt x="18064" y="24425"/>
                  </a:lnTo>
                  <a:lnTo>
                    <a:pt x="19336" y="24534"/>
                  </a:lnTo>
                  <a:lnTo>
                    <a:pt x="20463" y="24680"/>
                  </a:lnTo>
                  <a:lnTo>
                    <a:pt x="21408" y="24898"/>
                  </a:lnTo>
                  <a:lnTo>
                    <a:pt x="21807" y="25007"/>
                  </a:lnTo>
                  <a:lnTo>
                    <a:pt x="22135" y="25116"/>
                  </a:lnTo>
                  <a:lnTo>
                    <a:pt x="22425" y="25261"/>
                  </a:lnTo>
                  <a:lnTo>
                    <a:pt x="22643" y="25406"/>
                  </a:lnTo>
                  <a:lnTo>
                    <a:pt x="22789" y="25588"/>
                  </a:lnTo>
                  <a:lnTo>
                    <a:pt x="22861" y="25770"/>
                  </a:lnTo>
                  <a:lnTo>
                    <a:pt x="22898" y="26715"/>
                  </a:lnTo>
                  <a:lnTo>
                    <a:pt x="22934" y="27660"/>
                  </a:lnTo>
                  <a:lnTo>
                    <a:pt x="23080" y="29441"/>
                  </a:lnTo>
                  <a:lnTo>
                    <a:pt x="23225" y="31258"/>
                  </a:lnTo>
                  <a:lnTo>
                    <a:pt x="23298" y="32203"/>
                  </a:lnTo>
                  <a:lnTo>
                    <a:pt x="23334" y="33184"/>
                  </a:lnTo>
                  <a:lnTo>
                    <a:pt x="23334" y="34275"/>
                  </a:lnTo>
                  <a:lnTo>
                    <a:pt x="23298" y="35402"/>
                  </a:lnTo>
                  <a:lnTo>
                    <a:pt x="23225" y="36637"/>
                  </a:lnTo>
                  <a:lnTo>
                    <a:pt x="23116" y="38018"/>
                  </a:lnTo>
                  <a:lnTo>
                    <a:pt x="22934" y="39472"/>
                  </a:lnTo>
                  <a:lnTo>
                    <a:pt x="22680" y="41108"/>
                  </a:lnTo>
                  <a:lnTo>
                    <a:pt x="22353" y="42889"/>
                  </a:lnTo>
                  <a:lnTo>
                    <a:pt x="21953" y="44851"/>
                  </a:lnTo>
                  <a:lnTo>
                    <a:pt x="22571" y="45324"/>
                  </a:lnTo>
                  <a:lnTo>
                    <a:pt x="23225" y="45760"/>
                  </a:lnTo>
                  <a:lnTo>
                    <a:pt x="23952" y="46196"/>
                  </a:lnTo>
                  <a:lnTo>
                    <a:pt x="24715" y="46560"/>
                  </a:lnTo>
                  <a:lnTo>
                    <a:pt x="25515" y="46887"/>
                  </a:lnTo>
                  <a:lnTo>
                    <a:pt x="26351" y="47178"/>
                  </a:lnTo>
                  <a:lnTo>
                    <a:pt x="27223" y="47432"/>
                  </a:lnTo>
                  <a:lnTo>
                    <a:pt x="28132" y="47650"/>
                  </a:lnTo>
                  <a:lnTo>
                    <a:pt x="29077" y="47832"/>
                  </a:lnTo>
                  <a:lnTo>
                    <a:pt x="30022" y="48013"/>
                  </a:lnTo>
                  <a:lnTo>
                    <a:pt x="30967" y="48123"/>
                  </a:lnTo>
                  <a:lnTo>
                    <a:pt x="31912" y="48232"/>
                  </a:lnTo>
                  <a:lnTo>
                    <a:pt x="32893" y="48268"/>
                  </a:lnTo>
                  <a:lnTo>
                    <a:pt x="33874" y="48304"/>
                  </a:lnTo>
                  <a:lnTo>
                    <a:pt x="34819" y="48341"/>
                  </a:lnTo>
                  <a:lnTo>
                    <a:pt x="35764" y="48304"/>
                  </a:lnTo>
                  <a:lnTo>
                    <a:pt x="36673" y="48268"/>
                  </a:lnTo>
                  <a:lnTo>
                    <a:pt x="37581" y="48195"/>
                  </a:lnTo>
                  <a:lnTo>
                    <a:pt x="38454" y="48086"/>
                  </a:lnTo>
                  <a:lnTo>
                    <a:pt x="39326" y="47977"/>
                  </a:lnTo>
                  <a:lnTo>
                    <a:pt x="40126" y="47868"/>
                  </a:lnTo>
                  <a:lnTo>
                    <a:pt x="40889" y="47686"/>
                  </a:lnTo>
                  <a:lnTo>
                    <a:pt x="41616" y="47505"/>
                  </a:lnTo>
                  <a:lnTo>
                    <a:pt x="42306" y="47323"/>
                  </a:lnTo>
                  <a:lnTo>
                    <a:pt x="42924" y="47105"/>
                  </a:lnTo>
                  <a:lnTo>
                    <a:pt x="43469" y="46887"/>
                  </a:lnTo>
                  <a:lnTo>
                    <a:pt x="43942" y="46632"/>
                  </a:lnTo>
                  <a:lnTo>
                    <a:pt x="44378" y="46378"/>
                  </a:lnTo>
                  <a:lnTo>
                    <a:pt x="44705" y="46123"/>
                  </a:lnTo>
                  <a:lnTo>
                    <a:pt x="44996" y="45833"/>
                  </a:lnTo>
                  <a:lnTo>
                    <a:pt x="45141" y="45542"/>
                  </a:lnTo>
                  <a:lnTo>
                    <a:pt x="45214" y="45360"/>
                  </a:lnTo>
                  <a:lnTo>
                    <a:pt x="45250" y="45215"/>
                  </a:lnTo>
                  <a:lnTo>
                    <a:pt x="45287" y="44415"/>
                  </a:lnTo>
                  <a:lnTo>
                    <a:pt x="45287" y="43289"/>
                  </a:lnTo>
                  <a:lnTo>
                    <a:pt x="45250" y="41871"/>
                  </a:lnTo>
                  <a:lnTo>
                    <a:pt x="45141" y="40235"/>
                  </a:lnTo>
                  <a:lnTo>
                    <a:pt x="44996" y="38418"/>
                  </a:lnTo>
                  <a:lnTo>
                    <a:pt x="44851" y="36456"/>
                  </a:lnTo>
                  <a:lnTo>
                    <a:pt x="44414" y="32348"/>
                  </a:lnTo>
                  <a:lnTo>
                    <a:pt x="43978" y="28278"/>
                  </a:lnTo>
                  <a:lnTo>
                    <a:pt x="43469" y="24643"/>
                  </a:lnTo>
                  <a:lnTo>
                    <a:pt x="43251" y="23117"/>
                  </a:lnTo>
                  <a:lnTo>
                    <a:pt x="43033" y="21808"/>
                  </a:lnTo>
                  <a:lnTo>
                    <a:pt x="42815" y="20827"/>
                  </a:lnTo>
                  <a:lnTo>
                    <a:pt x="42634" y="20209"/>
                  </a:lnTo>
                  <a:lnTo>
                    <a:pt x="42379" y="19627"/>
                  </a:lnTo>
                  <a:lnTo>
                    <a:pt x="42088" y="19046"/>
                  </a:lnTo>
                  <a:lnTo>
                    <a:pt x="41689" y="18464"/>
                  </a:lnTo>
                  <a:lnTo>
                    <a:pt x="41289" y="17883"/>
                  </a:lnTo>
                  <a:lnTo>
                    <a:pt x="40816" y="17338"/>
                  </a:lnTo>
                  <a:lnTo>
                    <a:pt x="40344" y="16793"/>
                  </a:lnTo>
                  <a:lnTo>
                    <a:pt x="39835" y="16284"/>
                  </a:lnTo>
                  <a:lnTo>
                    <a:pt x="39326" y="15775"/>
                  </a:lnTo>
                  <a:lnTo>
                    <a:pt x="38272" y="14866"/>
                  </a:lnTo>
                  <a:lnTo>
                    <a:pt x="37327" y="14139"/>
                  </a:lnTo>
                  <a:lnTo>
                    <a:pt x="36564" y="13594"/>
                  </a:lnTo>
                  <a:lnTo>
                    <a:pt x="36237" y="13412"/>
                  </a:lnTo>
                  <a:lnTo>
                    <a:pt x="35982" y="13303"/>
                  </a:lnTo>
                  <a:lnTo>
                    <a:pt x="35692" y="13231"/>
                  </a:lnTo>
                  <a:lnTo>
                    <a:pt x="35328" y="13122"/>
                  </a:lnTo>
                  <a:lnTo>
                    <a:pt x="34347" y="12940"/>
                  </a:lnTo>
                  <a:lnTo>
                    <a:pt x="33075" y="12794"/>
                  </a:lnTo>
                  <a:lnTo>
                    <a:pt x="32384" y="12758"/>
                  </a:lnTo>
                  <a:lnTo>
                    <a:pt x="31621" y="12722"/>
                  </a:lnTo>
                  <a:lnTo>
                    <a:pt x="30131" y="12722"/>
                  </a:lnTo>
                  <a:lnTo>
                    <a:pt x="29367" y="12794"/>
                  </a:lnTo>
                  <a:lnTo>
                    <a:pt x="28640" y="12867"/>
                  </a:lnTo>
                  <a:lnTo>
                    <a:pt x="27914" y="13013"/>
                  </a:lnTo>
                  <a:lnTo>
                    <a:pt x="27259" y="13158"/>
                  </a:lnTo>
                  <a:lnTo>
                    <a:pt x="26605" y="13376"/>
                  </a:lnTo>
                  <a:lnTo>
                    <a:pt x="26060" y="13630"/>
                  </a:lnTo>
                  <a:lnTo>
                    <a:pt x="25042" y="14139"/>
                  </a:lnTo>
                  <a:lnTo>
                    <a:pt x="24134" y="14575"/>
                  </a:lnTo>
                  <a:lnTo>
                    <a:pt x="23189" y="14903"/>
                  </a:lnTo>
                  <a:lnTo>
                    <a:pt x="22316" y="15193"/>
                  </a:lnTo>
                  <a:lnTo>
                    <a:pt x="20426" y="15775"/>
                  </a:lnTo>
                  <a:lnTo>
                    <a:pt x="19372" y="16138"/>
                  </a:lnTo>
                  <a:lnTo>
                    <a:pt x="18246" y="16574"/>
                  </a:lnTo>
                  <a:lnTo>
                    <a:pt x="17628" y="16829"/>
                  </a:lnTo>
                  <a:lnTo>
                    <a:pt x="17010" y="17047"/>
                  </a:lnTo>
                  <a:lnTo>
                    <a:pt x="16392" y="17229"/>
                  </a:lnTo>
                  <a:lnTo>
                    <a:pt x="15738" y="17410"/>
                  </a:lnTo>
                  <a:lnTo>
                    <a:pt x="15083" y="17556"/>
                  </a:lnTo>
                  <a:lnTo>
                    <a:pt x="14429" y="17665"/>
                  </a:lnTo>
                  <a:lnTo>
                    <a:pt x="13739" y="17774"/>
                  </a:lnTo>
                  <a:lnTo>
                    <a:pt x="13048" y="17847"/>
                  </a:lnTo>
                  <a:lnTo>
                    <a:pt x="12358" y="17883"/>
                  </a:lnTo>
                  <a:lnTo>
                    <a:pt x="10976" y="17883"/>
                  </a:lnTo>
                  <a:lnTo>
                    <a:pt x="10322" y="17847"/>
                  </a:lnTo>
                  <a:lnTo>
                    <a:pt x="9632" y="17774"/>
                  </a:lnTo>
                  <a:lnTo>
                    <a:pt x="8977" y="17665"/>
                  </a:lnTo>
                  <a:lnTo>
                    <a:pt x="8287" y="17519"/>
                  </a:lnTo>
                  <a:lnTo>
                    <a:pt x="7669" y="17374"/>
                  </a:lnTo>
                  <a:lnTo>
                    <a:pt x="7524" y="17301"/>
                  </a:lnTo>
                  <a:lnTo>
                    <a:pt x="7378" y="17229"/>
                  </a:lnTo>
                  <a:lnTo>
                    <a:pt x="7160" y="17047"/>
                  </a:lnTo>
                  <a:lnTo>
                    <a:pt x="6978" y="16756"/>
                  </a:lnTo>
                  <a:lnTo>
                    <a:pt x="6833" y="16393"/>
                  </a:lnTo>
                  <a:lnTo>
                    <a:pt x="6724" y="15957"/>
                  </a:lnTo>
                  <a:lnTo>
                    <a:pt x="6651" y="15484"/>
                  </a:lnTo>
                  <a:lnTo>
                    <a:pt x="6615" y="14939"/>
                  </a:lnTo>
                  <a:lnTo>
                    <a:pt x="6579" y="14357"/>
                  </a:lnTo>
                  <a:lnTo>
                    <a:pt x="6579" y="13739"/>
                  </a:lnTo>
                  <a:lnTo>
                    <a:pt x="6615" y="13085"/>
                  </a:lnTo>
                  <a:lnTo>
                    <a:pt x="6724" y="11668"/>
                  </a:lnTo>
                  <a:lnTo>
                    <a:pt x="6906" y="10178"/>
                  </a:lnTo>
                  <a:lnTo>
                    <a:pt x="7160" y="8651"/>
                  </a:lnTo>
                  <a:lnTo>
                    <a:pt x="7415" y="7125"/>
                  </a:lnTo>
                  <a:lnTo>
                    <a:pt x="7705" y="5634"/>
                  </a:lnTo>
                  <a:lnTo>
                    <a:pt x="8287" y="3054"/>
                  </a:lnTo>
                  <a:lnTo>
                    <a:pt x="8723" y="1237"/>
                  </a:lnTo>
                  <a:lnTo>
                    <a:pt x="8905" y="546"/>
                  </a:lnTo>
                  <a:lnTo>
                    <a:pt x="8723" y="473"/>
                  </a:lnTo>
                  <a:lnTo>
                    <a:pt x="8432" y="364"/>
                  </a:lnTo>
                  <a:lnTo>
                    <a:pt x="7705" y="219"/>
                  </a:lnTo>
                  <a:lnTo>
                    <a:pt x="6797" y="110"/>
                  </a:lnTo>
                  <a:lnTo>
                    <a:pt x="5815" y="37"/>
                  </a:lnTo>
                  <a:lnTo>
                    <a:pt x="4798" y="1"/>
                  </a:lnTo>
                  <a:close/>
                </a:path>
              </a:pathLst>
            </a:custGeom>
            <a:solidFill>
              <a:srgbClr val="F28E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9" name="Google Shape;2718;p11">
              <a:extLst>
                <a:ext uri="{FF2B5EF4-FFF2-40B4-BE49-F238E27FC236}">
                  <a16:creationId xmlns:a16="http://schemas.microsoft.com/office/drawing/2014/main" id="{CC5133A5-CE72-B677-29DC-900E084C5F95}"/>
                </a:ext>
              </a:extLst>
            </p:cNvPr>
            <p:cNvSpPr/>
            <p:nvPr/>
          </p:nvSpPr>
          <p:spPr>
            <a:xfrm>
              <a:off x="3957200" y="2437675"/>
              <a:ext cx="1132175" cy="1208525"/>
            </a:xfrm>
            <a:custGeom>
              <a:avLst/>
              <a:gdLst/>
              <a:ahLst/>
              <a:cxnLst/>
              <a:rect l="l" t="t" r="r" b="b"/>
              <a:pathLst>
                <a:path w="45287" h="48341" fill="none" extrusionOk="0">
                  <a:moveTo>
                    <a:pt x="35982" y="13303"/>
                  </a:moveTo>
                  <a:lnTo>
                    <a:pt x="35982" y="13303"/>
                  </a:lnTo>
                  <a:lnTo>
                    <a:pt x="35692" y="13231"/>
                  </a:lnTo>
                  <a:lnTo>
                    <a:pt x="35328" y="13122"/>
                  </a:lnTo>
                  <a:lnTo>
                    <a:pt x="34347" y="12940"/>
                  </a:lnTo>
                  <a:lnTo>
                    <a:pt x="33075" y="12794"/>
                  </a:lnTo>
                  <a:lnTo>
                    <a:pt x="32384" y="12758"/>
                  </a:lnTo>
                  <a:lnTo>
                    <a:pt x="31621" y="12722"/>
                  </a:lnTo>
                  <a:lnTo>
                    <a:pt x="30894" y="12722"/>
                  </a:lnTo>
                  <a:lnTo>
                    <a:pt x="30131" y="12722"/>
                  </a:lnTo>
                  <a:lnTo>
                    <a:pt x="29367" y="12794"/>
                  </a:lnTo>
                  <a:lnTo>
                    <a:pt x="28640" y="12867"/>
                  </a:lnTo>
                  <a:lnTo>
                    <a:pt x="27914" y="13013"/>
                  </a:lnTo>
                  <a:lnTo>
                    <a:pt x="27259" y="13158"/>
                  </a:lnTo>
                  <a:lnTo>
                    <a:pt x="26605" y="13376"/>
                  </a:lnTo>
                  <a:lnTo>
                    <a:pt x="26060" y="13630"/>
                  </a:lnTo>
                  <a:lnTo>
                    <a:pt x="26060" y="13630"/>
                  </a:lnTo>
                  <a:lnTo>
                    <a:pt x="25042" y="14139"/>
                  </a:lnTo>
                  <a:lnTo>
                    <a:pt x="24134" y="14575"/>
                  </a:lnTo>
                  <a:lnTo>
                    <a:pt x="23189" y="14903"/>
                  </a:lnTo>
                  <a:lnTo>
                    <a:pt x="22316" y="15193"/>
                  </a:lnTo>
                  <a:lnTo>
                    <a:pt x="20426" y="15775"/>
                  </a:lnTo>
                  <a:lnTo>
                    <a:pt x="19372" y="16138"/>
                  </a:lnTo>
                  <a:lnTo>
                    <a:pt x="18246" y="16574"/>
                  </a:lnTo>
                  <a:lnTo>
                    <a:pt x="18246" y="16574"/>
                  </a:lnTo>
                  <a:lnTo>
                    <a:pt x="17628" y="16829"/>
                  </a:lnTo>
                  <a:lnTo>
                    <a:pt x="17010" y="17047"/>
                  </a:lnTo>
                  <a:lnTo>
                    <a:pt x="16392" y="17229"/>
                  </a:lnTo>
                  <a:lnTo>
                    <a:pt x="15738" y="17410"/>
                  </a:lnTo>
                  <a:lnTo>
                    <a:pt x="15083" y="17556"/>
                  </a:lnTo>
                  <a:lnTo>
                    <a:pt x="14429" y="17665"/>
                  </a:lnTo>
                  <a:lnTo>
                    <a:pt x="13739" y="17774"/>
                  </a:lnTo>
                  <a:lnTo>
                    <a:pt x="13048" y="17847"/>
                  </a:lnTo>
                  <a:lnTo>
                    <a:pt x="12358" y="17883"/>
                  </a:lnTo>
                  <a:lnTo>
                    <a:pt x="11667" y="17883"/>
                  </a:lnTo>
                  <a:lnTo>
                    <a:pt x="10976" y="17883"/>
                  </a:lnTo>
                  <a:lnTo>
                    <a:pt x="10322" y="17847"/>
                  </a:lnTo>
                  <a:lnTo>
                    <a:pt x="9632" y="17774"/>
                  </a:lnTo>
                  <a:lnTo>
                    <a:pt x="8977" y="17665"/>
                  </a:lnTo>
                  <a:lnTo>
                    <a:pt x="8287" y="17519"/>
                  </a:lnTo>
                  <a:lnTo>
                    <a:pt x="7669" y="17374"/>
                  </a:lnTo>
                  <a:lnTo>
                    <a:pt x="7669" y="17374"/>
                  </a:lnTo>
                  <a:lnTo>
                    <a:pt x="7524" y="17301"/>
                  </a:lnTo>
                  <a:lnTo>
                    <a:pt x="7378" y="17229"/>
                  </a:lnTo>
                  <a:lnTo>
                    <a:pt x="7160" y="17047"/>
                  </a:lnTo>
                  <a:lnTo>
                    <a:pt x="6978" y="16756"/>
                  </a:lnTo>
                  <a:lnTo>
                    <a:pt x="6833" y="16393"/>
                  </a:lnTo>
                  <a:lnTo>
                    <a:pt x="6724" y="15957"/>
                  </a:lnTo>
                  <a:lnTo>
                    <a:pt x="6651" y="15484"/>
                  </a:lnTo>
                  <a:lnTo>
                    <a:pt x="6615" y="14939"/>
                  </a:lnTo>
                  <a:lnTo>
                    <a:pt x="6579" y="14357"/>
                  </a:lnTo>
                  <a:lnTo>
                    <a:pt x="6579" y="13739"/>
                  </a:lnTo>
                  <a:lnTo>
                    <a:pt x="6615" y="13085"/>
                  </a:lnTo>
                  <a:lnTo>
                    <a:pt x="6724" y="11668"/>
                  </a:lnTo>
                  <a:lnTo>
                    <a:pt x="6906" y="10178"/>
                  </a:lnTo>
                  <a:lnTo>
                    <a:pt x="7160" y="8651"/>
                  </a:lnTo>
                  <a:lnTo>
                    <a:pt x="7415" y="7125"/>
                  </a:lnTo>
                  <a:lnTo>
                    <a:pt x="7705" y="5634"/>
                  </a:lnTo>
                  <a:lnTo>
                    <a:pt x="8287" y="3054"/>
                  </a:lnTo>
                  <a:lnTo>
                    <a:pt x="8723" y="1237"/>
                  </a:lnTo>
                  <a:lnTo>
                    <a:pt x="8905" y="546"/>
                  </a:lnTo>
                  <a:lnTo>
                    <a:pt x="8905" y="546"/>
                  </a:lnTo>
                  <a:lnTo>
                    <a:pt x="8723" y="473"/>
                  </a:lnTo>
                  <a:lnTo>
                    <a:pt x="8432" y="364"/>
                  </a:lnTo>
                  <a:lnTo>
                    <a:pt x="7705" y="219"/>
                  </a:lnTo>
                  <a:lnTo>
                    <a:pt x="6797" y="110"/>
                  </a:lnTo>
                  <a:lnTo>
                    <a:pt x="5815" y="37"/>
                  </a:lnTo>
                  <a:lnTo>
                    <a:pt x="4798" y="1"/>
                  </a:lnTo>
                  <a:lnTo>
                    <a:pt x="3925" y="1"/>
                  </a:lnTo>
                  <a:lnTo>
                    <a:pt x="3235" y="73"/>
                  </a:lnTo>
                  <a:lnTo>
                    <a:pt x="2980" y="110"/>
                  </a:lnTo>
                  <a:lnTo>
                    <a:pt x="2835" y="183"/>
                  </a:lnTo>
                  <a:lnTo>
                    <a:pt x="2835" y="183"/>
                  </a:lnTo>
                  <a:lnTo>
                    <a:pt x="2435" y="1600"/>
                  </a:lnTo>
                  <a:lnTo>
                    <a:pt x="2108" y="2799"/>
                  </a:lnTo>
                  <a:lnTo>
                    <a:pt x="1708" y="4290"/>
                  </a:lnTo>
                  <a:lnTo>
                    <a:pt x="1308" y="5998"/>
                  </a:lnTo>
                  <a:lnTo>
                    <a:pt x="909" y="7851"/>
                  </a:lnTo>
                  <a:lnTo>
                    <a:pt x="545" y="9814"/>
                  </a:lnTo>
                  <a:lnTo>
                    <a:pt x="400" y="10832"/>
                  </a:lnTo>
                  <a:lnTo>
                    <a:pt x="254" y="11849"/>
                  </a:lnTo>
                  <a:lnTo>
                    <a:pt x="145" y="12867"/>
                  </a:lnTo>
                  <a:lnTo>
                    <a:pt x="73" y="13885"/>
                  </a:lnTo>
                  <a:lnTo>
                    <a:pt x="36" y="14866"/>
                  </a:lnTo>
                  <a:lnTo>
                    <a:pt x="0" y="15848"/>
                  </a:lnTo>
                  <a:lnTo>
                    <a:pt x="36" y="16793"/>
                  </a:lnTo>
                  <a:lnTo>
                    <a:pt x="109" y="17701"/>
                  </a:lnTo>
                  <a:lnTo>
                    <a:pt x="218" y="18573"/>
                  </a:lnTo>
                  <a:lnTo>
                    <a:pt x="363" y="19409"/>
                  </a:lnTo>
                  <a:lnTo>
                    <a:pt x="582" y="20173"/>
                  </a:lnTo>
                  <a:lnTo>
                    <a:pt x="872" y="20900"/>
                  </a:lnTo>
                  <a:lnTo>
                    <a:pt x="1018" y="21227"/>
                  </a:lnTo>
                  <a:lnTo>
                    <a:pt x="1199" y="21554"/>
                  </a:lnTo>
                  <a:lnTo>
                    <a:pt x="1381" y="21845"/>
                  </a:lnTo>
                  <a:lnTo>
                    <a:pt x="1599" y="22135"/>
                  </a:lnTo>
                  <a:lnTo>
                    <a:pt x="1817" y="22390"/>
                  </a:lnTo>
                  <a:lnTo>
                    <a:pt x="2072" y="22608"/>
                  </a:lnTo>
                  <a:lnTo>
                    <a:pt x="2326" y="22826"/>
                  </a:lnTo>
                  <a:lnTo>
                    <a:pt x="2617" y="23008"/>
                  </a:lnTo>
                  <a:lnTo>
                    <a:pt x="2908" y="23189"/>
                  </a:lnTo>
                  <a:lnTo>
                    <a:pt x="3235" y="23335"/>
                  </a:lnTo>
                  <a:lnTo>
                    <a:pt x="3562" y="23444"/>
                  </a:lnTo>
                  <a:lnTo>
                    <a:pt x="3925" y="23516"/>
                  </a:lnTo>
                  <a:lnTo>
                    <a:pt x="3925" y="23516"/>
                  </a:lnTo>
                  <a:lnTo>
                    <a:pt x="5016" y="23735"/>
                  </a:lnTo>
                  <a:lnTo>
                    <a:pt x="6251" y="23880"/>
                  </a:lnTo>
                  <a:lnTo>
                    <a:pt x="7633" y="23989"/>
                  </a:lnTo>
                  <a:lnTo>
                    <a:pt x="9086" y="24062"/>
                  </a:lnTo>
                  <a:lnTo>
                    <a:pt x="12139" y="24171"/>
                  </a:lnTo>
                  <a:lnTo>
                    <a:pt x="15229" y="24280"/>
                  </a:lnTo>
                  <a:lnTo>
                    <a:pt x="16683" y="24352"/>
                  </a:lnTo>
                  <a:lnTo>
                    <a:pt x="18064" y="24425"/>
                  </a:lnTo>
                  <a:lnTo>
                    <a:pt x="19336" y="24534"/>
                  </a:lnTo>
                  <a:lnTo>
                    <a:pt x="20463" y="24680"/>
                  </a:lnTo>
                  <a:lnTo>
                    <a:pt x="21408" y="24898"/>
                  </a:lnTo>
                  <a:lnTo>
                    <a:pt x="21807" y="25007"/>
                  </a:lnTo>
                  <a:lnTo>
                    <a:pt x="22135" y="25116"/>
                  </a:lnTo>
                  <a:lnTo>
                    <a:pt x="22425" y="25261"/>
                  </a:lnTo>
                  <a:lnTo>
                    <a:pt x="22643" y="25406"/>
                  </a:lnTo>
                  <a:lnTo>
                    <a:pt x="22789" y="25588"/>
                  </a:lnTo>
                  <a:lnTo>
                    <a:pt x="22861" y="25770"/>
                  </a:lnTo>
                  <a:lnTo>
                    <a:pt x="22861" y="25770"/>
                  </a:lnTo>
                  <a:lnTo>
                    <a:pt x="22898" y="26715"/>
                  </a:lnTo>
                  <a:lnTo>
                    <a:pt x="22934" y="27660"/>
                  </a:lnTo>
                  <a:lnTo>
                    <a:pt x="23080" y="29441"/>
                  </a:lnTo>
                  <a:lnTo>
                    <a:pt x="23225" y="31258"/>
                  </a:lnTo>
                  <a:lnTo>
                    <a:pt x="23298" y="32203"/>
                  </a:lnTo>
                  <a:lnTo>
                    <a:pt x="23334" y="33184"/>
                  </a:lnTo>
                  <a:lnTo>
                    <a:pt x="23334" y="34275"/>
                  </a:lnTo>
                  <a:lnTo>
                    <a:pt x="23298" y="35402"/>
                  </a:lnTo>
                  <a:lnTo>
                    <a:pt x="23225" y="36637"/>
                  </a:lnTo>
                  <a:lnTo>
                    <a:pt x="23116" y="38018"/>
                  </a:lnTo>
                  <a:lnTo>
                    <a:pt x="22934" y="39472"/>
                  </a:lnTo>
                  <a:lnTo>
                    <a:pt x="22680" y="41108"/>
                  </a:lnTo>
                  <a:lnTo>
                    <a:pt x="22353" y="42889"/>
                  </a:lnTo>
                  <a:lnTo>
                    <a:pt x="21953" y="44851"/>
                  </a:lnTo>
                  <a:lnTo>
                    <a:pt x="21953" y="44851"/>
                  </a:lnTo>
                  <a:lnTo>
                    <a:pt x="22571" y="45324"/>
                  </a:lnTo>
                  <a:lnTo>
                    <a:pt x="23225" y="45760"/>
                  </a:lnTo>
                  <a:lnTo>
                    <a:pt x="23952" y="46196"/>
                  </a:lnTo>
                  <a:lnTo>
                    <a:pt x="24715" y="46560"/>
                  </a:lnTo>
                  <a:lnTo>
                    <a:pt x="25515" y="46887"/>
                  </a:lnTo>
                  <a:lnTo>
                    <a:pt x="26351" y="47178"/>
                  </a:lnTo>
                  <a:lnTo>
                    <a:pt x="27223" y="47432"/>
                  </a:lnTo>
                  <a:lnTo>
                    <a:pt x="28132" y="47650"/>
                  </a:lnTo>
                  <a:lnTo>
                    <a:pt x="29077" y="47832"/>
                  </a:lnTo>
                  <a:lnTo>
                    <a:pt x="30022" y="48013"/>
                  </a:lnTo>
                  <a:lnTo>
                    <a:pt x="30967" y="48123"/>
                  </a:lnTo>
                  <a:lnTo>
                    <a:pt x="31912" y="48232"/>
                  </a:lnTo>
                  <a:lnTo>
                    <a:pt x="32893" y="48268"/>
                  </a:lnTo>
                  <a:lnTo>
                    <a:pt x="33874" y="48304"/>
                  </a:lnTo>
                  <a:lnTo>
                    <a:pt x="34819" y="48341"/>
                  </a:lnTo>
                  <a:lnTo>
                    <a:pt x="35764" y="48304"/>
                  </a:lnTo>
                  <a:lnTo>
                    <a:pt x="36673" y="48268"/>
                  </a:lnTo>
                  <a:lnTo>
                    <a:pt x="37581" y="48195"/>
                  </a:lnTo>
                  <a:lnTo>
                    <a:pt x="38454" y="48086"/>
                  </a:lnTo>
                  <a:lnTo>
                    <a:pt x="39326" y="47977"/>
                  </a:lnTo>
                  <a:lnTo>
                    <a:pt x="40126" y="47868"/>
                  </a:lnTo>
                  <a:lnTo>
                    <a:pt x="40889" y="47686"/>
                  </a:lnTo>
                  <a:lnTo>
                    <a:pt x="41616" y="47505"/>
                  </a:lnTo>
                  <a:lnTo>
                    <a:pt x="42306" y="47323"/>
                  </a:lnTo>
                  <a:lnTo>
                    <a:pt x="42924" y="47105"/>
                  </a:lnTo>
                  <a:lnTo>
                    <a:pt x="43469" y="46887"/>
                  </a:lnTo>
                  <a:lnTo>
                    <a:pt x="43942" y="46632"/>
                  </a:lnTo>
                  <a:lnTo>
                    <a:pt x="44378" y="46378"/>
                  </a:lnTo>
                  <a:lnTo>
                    <a:pt x="44705" y="46123"/>
                  </a:lnTo>
                  <a:lnTo>
                    <a:pt x="44996" y="45833"/>
                  </a:lnTo>
                  <a:lnTo>
                    <a:pt x="45141" y="45542"/>
                  </a:lnTo>
                  <a:lnTo>
                    <a:pt x="45214" y="45360"/>
                  </a:lnTo>
                  <a:lnTo>
                    <a:pt x="45250" y="45215"/>
                  </a:lnTo>
                  <a:lnTo>
                    <a:pt x="45250" y="45215"/>
                  </a:lnTo>
                  <a:lnTo>
                    <a:pt x="45287" y="44415"/>
                  </a:lnTo>
                  <a:lnTo>
                    <a:pt x="45287" y="43289"/>
                  </a:lnTo>
                  <a:lnTo>
                    <a:pt x="45250" y="41871"/>
                  </a:lnTo>
                  <a:lnTo>
                    <a:pt x="45141" y="40235"/>
                  </a:lnTo>
                  <a:lnTo>
                    <a:pt x="44996" y="38418"/>
                  </a:lnTo>
                  <a:lnTo>
                    <a:pt x="44851" y="36456"/>
                  </a:lnTo>
                  <a:lnTo>
                    <a:pt x="44414" y="32348"/>
                  </a:lnTo>
                  <a:lnTo>
                    <a:pt x="43978" y="28278"/>
                  </a:lnTo>
                  <a:lnTo>
                    <a:pt x="43469" y="24643"/>
                  </a:lnTo>
                  <a:lnTo>
                    <a:pt x="43251" y="23117"/>
                  </a:lnTo>
                  <a:lnTo>
                    <a:pt x="43033" y="21808"/>
                  </a:lnTo>
                  <a:lnTo>
                    <a:pt x="42815" y="20827"/>
                  </a:lnTo>
                  <a:lnTo>
                    <a:pt x="42634" y="20209"/>
                  </a:lnTo>
                  <a:lnTo>
                    <a:pt x="42634" y="20209"/>
                  </a:lnTo>
                  <a:lnTo>
                    <a:pt x="42379" y="19627"/>
                  </a:lnTo>
                  <a:lnTo>
                    <a:pt x="42088" y="19046"/>
                  </a:lnTo>
                  <a:lnTo>
                    <a:pt x="41689" y="18464"/>
                  </a:lnTo>
                  <a:lnTo>
                    <a:pt x="41289" y="17883"/>
                  </a:lnTo>
                  <a:lnTo>
                    <a:pt x="40816" y="17338"/>
                  </a:lnTo>
                  <a:lnTo>
                    <a:pt x="40344" y="16793"/>
                  </a:lnTo>
                  <a:lnTo>
                    <a:pt x="39835" y="16284"/>
                  </a:lnTo>
                  <a:lnTo>
                    <a:pt x="39326" y="15775"/>
                  </a:lnTo>
                  <a:lnTo>
                    <a:pt x="38272" y="14866"/>
                  </a:lnTo>
                  <a:lnTo>
                    <a:pt x="37327" y="14139"/>
                  </a:lnTo>
                  <a:lnTo>
                    <a:pt x="36564" y="13594"/>
                  </a:lnTo>
                  <a:lnTo>
                    <a:pt x="36237" y="13412"/>
                  </a:lnTo>
                  <a:lnTo>
                    <a:pt x="35982" y="13303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0" name="Google Shape;2719;p11">
              <a:extLst>
                <a:ext uri="{FF2B5EF4-FFF2-40B4-BE49-F238E27FC236}">
                  <a16:creationId xmlns:a16="http://schemas.microsoft.com/office/drawing/2014/main" id="{941DDF11-D0A7-7DCE-2DEF-675CDFA12F25}"/>
                </a:ext>
              </a:extLst>
            </p:cNvPr>
            <p:cNvSpPr/>
            <p:nvPr/>
          </p:nvSpPr>
          <p:spPr>
            <a:xfrm>
              <a:off x="4516900" y="3071000"/>
              <a:ext cx="91800" cy="433450"/>
            </a:xfrm>
            <a:custGeom>
              <a:avLst/>
              <a:gdLst/>
              <a:ahLst/>
              <a:cxnLst/>
              <a:rect l="l" t="t" r="r" b="b"/>
              <a:pathLst>
                <a:path w="3672" h="17338" extrusionOk="0">
                  <a:moveTo>
                    <a:pt x="219" y="1"/>
                  </a:moveTo>
                  <a:lnTo>
                    <a:pt x="328" y="73"/>
                  </a:lnTo>
                  <a:lnTo>
                    <a:pt x="401" y="219"/>
                  </a:lnTo>
                  <a:lnTo>
                    <a:pt x="473" y="437"/>
                  </a:lnTo>
                  <a:lnTo>
                    <a:pt x="510" y="1309"/>
                  </a:lnTo>
                  <a:lnTo>
                    <a:pt x="546" y="2145"/>
                  </a:lnTo>
                  <a:lnTo>
                    <a:pt x="692" y="3853"/>
                  </a:lnTo>
                  <a:lnTo>
                    <a:pt x="837" y="5598"/>
                  </a:lnTo>
                  <a:lnTo>
                    <a:pt x="946" y="7452"/>
                  </a:lnTo>
                  <a:lnTo>
                    <a:pt x="982" y="8469"/>
                  </a:lnTo>
                  <a:lnTo>
                    <a:pt x="982" y="9523"/>
                  </a:lnTo>
                  <a:lnTo>
                    <a:pt x="946" y="10614"/>
                  </a:lnTo>
                  <a:lnTo>
                    <a:pt x="873" y="11813"/>
                  </a:lnTo>
                  <a:lnTo>
                    <a:pt x="764" y="13049"/>
                  </a:lnTo>
                  <a:lnTo>
                    <a:pt x="583" y="14394"/>
                  </a:lnTo>
                  <a:lnTo>
                    <a:pt x="328" y="15811"/>
                  </a:lnTo>
                  <a:lnTo>
                    <a:pt x="1" y="17338"/>
                  </a:lnTo>
                  <a:lnTo>
                    <a:pt x="110" y="17301"/>
                  </a:lnTo>
                  <a:lnTo>
                    <a:pt x="219" y="17120"/>
                  </a:lnTo>
                  <a:lnTo>
                    <a:pt x="510" y="16647"/>
                  </a:lnTo>
                  <a:lnTo>
                    <a:pt x="801" y="16029"/>
                  </a:lnTo>
                  <a:lnTo>
                    <a:pt x="1055" y="15520"/>
                  </a:lnTo>
                  <a:lnTo>
                    <a:pt x="1309" y="15048"/>
                  </a:lnTo>
                  <a:lnTo>
                    <a:pt x="1600" y="14357"/>
                  </a:lnTo>
                  <a:lnTo>
                    <a:pt x="1855" y="13558"/>
                  </a:lnTo>
                  <a:lnTo>
                    <a:pt x="2109" y="12649"/>
                  </a:lnTo>
                  <a:lnTo>
                    <a:pt x="2363" y="11631"/>
                  </a:lnTo>
                  <a:lnTo>
                    <a:pt x="2582" y="10577"/>
                  </a:lnTo>
                  <a:lnTo>
                    <a:pt x="3018" y="8360"/>
                  </a:lnTo>
                  <a:lnTo>
                    <a:pt x="3345" y="6216"/>
                  </a:lnTo>
                  <a:lnTo>
                    <a:pt x="3599" y="4326"/>
                  </a:lnTo>
                  <a:lnTo>
                    <a:pt x="3636" y="3526"/>
                  </a:lnTo>
                  <a:lnTo>
                    <a:pt x="3672" y="2908"/>
                  </a:lnTo>
                  <a:lnTo>
                    <a:pt x="3672" y="2436"/>
                  </a:lnTo>
                  <a:lnTo>
                    <a:pt x="3636" y="2291"/>
                  </a:lnTo>
                  <a:lnTo>
                    <a:pt x="3599" y="2181"/>
                  </a:lnTo>
                  <a:lnTo>
                    <a:pt x="3417" y="1854"/>
                  </a:lnTo>
                  <a:lnTo>
                    <a:pt x="3236" y="1600"/>
                  </a:lnTo>
                  <a:lnTo>
                    <a:pt x="2981" y="1346"/>
                  </a:lnTo>
                  <a:lnTo>
                    <a:pt x="2654" y="1091"/>
                  </a:lnTo>
                  <a:lnTo>
                    <a:pt x="2254" y="873"/>
                  </a:lnTo>
                  <a:lnTo>
                    <a:pt x="1709" y="619"/>
                  </a:lnTo>
                  <a:lnTo>
                    <a:pt x="1055" y="328"/>
                  </a:lnTo>
                  <a:lnTo>
                    <a:pt x="219" y="1"/>
                  </a:lnTo>
                  <a:close/>
                </a:path>
              </a:pathLst>
            </a:custGeom>
            <a:solidFill>
              <a:srgbClr val="B76F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1" name="Google Shape;2720;p11">
              <a:extLst>
                <a:ext uri="{FF2B5EF4-FFF2-40B4-BE49-F238E27FC236}">
                  <a16:creationId xmlns:a16="http://schemas.microsoft.com/office/drawing/2014/main" id="{5154FA26-95F1-C8B5-0F37-18A4D248E4DF}"/>
                </a:ext>
              </a:extLst>
            </p:cNvPr>
            <p:cNvSpPr/>
            <p:nvPr/>
          </p:nvSpPr>
          <p:spPr>
            <a:xfrm>
              <a:off x="4516900" y="3071000"/>
              <a:ext cx="91800" cy="433450"/>
            </a:xfrm>
            <a:custGeom>
              <a:avLst/>
              <a:gdLst/>
              <a:ahLst/>
              <a:cxnLst/>
              <a:rect l="l" t="t" r="r" b="b"/>
              <a:pathLst>
                <a:path w="3672" h="17338" fill="none" extrusionOk="0">
                  <a:moveTo>
                    <a:pt x="219" y="1"/>
                  </a:moveTo>
                  <a:lnTo>
                    <a:pt x="219" y="1"/>
                  </a:lnTo>
                  <a:lnTo>
                    <a:pt x="328" y="73"/>
                  </a:lnTo>
                  <a:lnTo>
                    <a:pt x="401" y="219"/>
                  </a:lnTo>
                  <a:lnTo>
                    <a:pt x="473" y="437"/>
                  </a:lnTo>
                  <a:lnTo>
                    <a:pt x="473" y="437"/>
                  </a:lnTo>
                  <a:lnTo>
                    <a:pt x="510" y="1309"/>
                  </a:lnTo>
                  <a:lnTo>
                    <a:pt x="546" y="2145"/>
                  </a:lnTo>
                  <a:lnTo>
                    <a:pt x="692" y="3853"/>
                  </a:lnTo>
                  <a:lnTo>
                    <a:pt x="837" y="5598"/>
                  </a:lnTo>
                  <a:lnTo>
                    <a:pt x="946" y="7452"/>
                  </a:lnTo>
                  <a:lnTo>
                    <a:pt x="982" y="8469"/>
                  </a:lnTo>
                  <a:lnTo>
                    <a:pt x="982" y="9523"/>
                  </a:lnTo>
                  <a:lnTo>
                    <a:pt x="946" y="10614"/>
                  </a:lnTo>
                  <a:lnTo>
                    <a:pt x="873" y="11813"/>
                  </a:lnTo>
                  <a:lnTo>
                    <a:pt x="764" y="13049"/>
                  </a:lnTo>
                  <a:lnTo>
                    <a:pt x="583" y="14394"/>
                  </a:lnTo>
                  <a:lnTo>
                    <a:pt x="328" y="15811"/>
                  </a:lnTo>
                  <a:lnTo>
                    <a:pt x="1" y="17338"/>
                  </a:lnTo>
                  <a:lnTo>
                    <a:pt x="1" y="17338"/>
                  </a:lnTo>
                  <a:lnTo>
                    <a:pt x="110" y="17301"/>
                  </a:lnTo>
                  <a:lnTo>
                    <a:pt x="219" y="17120"/>
                  </a:lnTo>
                  <a:lnTo>
                    <a:pt x="510" y="16647"/>
                  </a:lnTo>
                  <a:lnTo>
                    <a:pt x="801" y="16029"/>
                  </a:lnTo>
                  <a:lnTo>
                    <a:pt x="1055" y="15520"/>
                  </a:lnTo>
                  <a:lnTo>
                    <a:pt x="1055" y="15520"/>
                  </a:lnTo>
                  <a:lnTo>
                    <a:pt x="1309" y="15048"/>
                  </a:lnTo>
                  <a:lnTo>
                    <a:pt x="1600" y="14357"/>
                  </a:lnTo>
                  <a:lnTo>
                    <a:pt x="1855" y="13558"/>
                  </a:lnTo>
                  <a:lnTo>
                    <a:pt x="2109" y="12649"/>
                  </a:lnTo>
                  <a:lnTo>
                    <a:pt x="2363" y="11631"/>
                  </a:lnTo>
                  <a:lnTo>
                    <a:pt x="2582" y="10577"/>
                  </a:lnTo>
                  <a:lnTo>
                    <a:pt x="3018" y="8360"/>
                  </a:lnTo>
                  <a:lnTo>
                    <a:pt x="3345" y="6216"/>
                  </a:lnTo>
                  <a:lnTo>
                    <a:pt x="3599" y="4326"/>
                  </a:lnTo>
                  <a:lnTo>
                    <a:pt x="3636" y="3526"/>
                  </a:lnTo>
                  <a:lnTo>
                    <a:pt x="3672" y="2908"/>
                  </a:lnTo>
                  <a:lnTo>
                    <a:pt x="3672" y="2436"/>
                  </a:lnTo>
                  <a:lnTo>
                    <a:pt x="3636" y="2291"/>
                  </a:lnTo>
                  <a:lnTo>
                    <a:pt x="3599" y="2181"/>
                  </a:lnTo>
                  <a:lnTo>
                    <a:pt x="3599" y="2181"/>
                  </a:lnTo>
                  <a:lnTo>
                    <a:pt x="3417" y="1854"/>
                  </a:lnTo>
                  <a:lnTo>
                    <a:pt x="3236" y="1600"/>
                  </a:lnTo>
                  <a:lnTo>
                    <a:pt x="2981" y="1346"/>
                  </a:lnTo>
                  <a:lnTo>
                    <a:pt x="2654" y="1091"/>
                  </a:lnTo>
                  <a:lnTo>
                    <a:pt x="2254" y="873"/>
                  </a:lnTo>
                  <a:lnTo>
                    <a:pt x="1709" y="619"/>
                  </a:lnTo>
                  <a:lnTo>
                    <a:pt x="1055" y="328"/>
                  </a:lnTo>
                  <a:lnTo>
                    <a:pt x="219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2" name="Google Shape;2721;p11">
              <a:extLst>
                <a:ext uri="{FF2B5EF4-FFF2-40B4-BE49-F238E27FC236}">
                  <a16:creationId xmlns:a16="http://schemas.microsoft.com/office/drawing/2014/main" id="{F1E28613-A6A4-6166-9A42-58FF1EEDB597}"/>
                </a:ext>
              </a:extLst>
            </p:cNvPr>
            <p:cNvSpPr/>
            <p:nvPr/>
          </p:nvSpPr>
          <p:spPr>
            <a:xfrm>
              <a:off x="7023850" y="3625275"/>
              <a:ext cx="182675" cy="196300"/>
            </a:xfrm>
            <a:custGeom>
              <a:avLst/>
              <a:gdLst/>
              <a:ahLst/>
              <a:cxnLst/>
              <a:rect l="l" t="t" r="r" b="b"/>
              <a:pathLst>
                <a:path w="7307" h="7852" extrusionOk="0">
                  <a:moveTo>
                    <a:pt x="3744" y="1"/>
                  </a:moveTo>
                  <a:lnTo>
                    <a:pt x="1" y="182"/>
                  </a:lnTo>
                  <a:lnTo>
                    <a:pt x="546" y="1782"/>
                  </a:lnTo>
                  <a:lnTo>
                    <a:pt x="1018" y="3126"/>
                  </a:lnTo>
                  <a:lnTo>
                    <a:pt x="1455" y="4253"/>
                  </a:lnTo>
                  <a:lnTo>
                    <a:pt x="1564" y="4580"/>
                  </a:lnTo>
                  <a:lnTo>
                    <a:pt x="1600" y="4907"/>
                  </a:lnTo>
                  <a:lnTo>
                    <a:pt x="1564" y="5234"/>
                  </a:lnTo>
                  <a:lnTo>
                    <a:pt x="1527" y="5525"/>
                  </a:lnTo>
                  <a:lnTo>
                    <a:pt x="1455" y="5780"/>
                  </a:lnTo>
                  <a:lnTo>
                    <a:pt x="1418" y="5998"/>
                  </a:lnTo>
                  <a:lnTo>
                    <a:pt x="1455" y="6216"/>
                  </a:lnTo>
                  <a:lnTo>
                    <a:pt x="1491" y="6325"/>
                  </a:lnTo>
                  <a:lnTo>
                    <a:pt x="1527" y="6397"/>
                  </a:lnTo>
                  <a:lnTo>
                    <a:pt x="1636" y="6507"/>
                  </a:lnTo>
                  <a:lnTo>
                    <a:pt x="1745" y="6543"/>
                  </a:lnTo>
                  <a:lnTo>
                    <a:pt x="1854" y="6543"/>
                  </a:lnTo>
                  <a:lnTo>
                    <a:pt x="1963" y="6507"/>
                  </a:lnTo>
                  <a:lnTo>
                    <a:pt x="2218" y="6361"/>
                  </a:lnTo>
                  <a:lnTo>
                    <a:pt x="2509" y="6252"/>
                  </a:lnTo>
                  <a:lnTo>
                    <a:pt x="2690" y="6179"/>
                  </a:lnTo>
                  <a:lnTo>
                    <a:pt x="2872" y="6143"/>
                  </a:lnTo>
                  <a:lnTo>
                    <a:pt x="3090" y="6143"/>
                  </a:lnTo>
                  <a:lnTo>
                    <a:pt x="3345" y="6216"/>
                  </a:lnTo>
                  <a:lnTo>
                    <a:pt x="3599" y="6325"/>
                  </a:lnTo>
                  <a:lnTo>
                    <a:pt x="3890" y="6470"/>
                  </a:lnTo>
                  <a:lnTo>
                    <a:pt x="4217" y="6688"/>
                  </a:lnTo>
                  <a:lnTo>
                    <a:pt x="4580" y="7015"/>
                  </a:lnTo>
                  <a:lnTo>
                    <a:pt x="5017" y="7379"/>
                  </a:lnTo>
                  <a:lnTo>
                    <a:pt x="5416" y="7670"/>
                  </a:lnTo>
                  <a:lnTo>
                    <a:pt x="5634" y="7742"/>
                  </a:lnTo>
                  <a:lnTo>
                    <a:pt x="5852" y="7815"/>
                  </a:lnTo>
                  <a:lnTo>
                    <a:pt x="6034" y="7851"/>
                  </a:lnTo>
                  <a:lnTo>
                    <a:pt x="6216" y="7851"/>
                  </a:lnTo>
                  <a:lnTo>
                    <a:pt x="6398" y="7815"/>
                  </a:lnTo>
                  <a:lnTo>
                    <a:pt x="6543" y="7742"/>
                  </a:lnTo>
                  <a:lnTo>
                    <a:pt x="6725" y="7633"/>
                  </a:lnTo>
                  <a:lnTo>
                    <a:pt x="6870" y="7524"/>
                  </a:lnTo>
                  <a:lnTo>
                    <a:pt x="6979" y="7342"/>
                  </a:lnTo>
                  <a:lnTo>
                    <a:pt x="7088" y="7124"/>
                  </a:lnTo>
                  <a:lnTo>
                    <a:pt x="7197" y="6834"/>
                  </a:lnTo>
                  <a:lnTo>
                    <a:pt x="7270" y="6543"/>
                  </a:lnTo>
                  <a:lnTo>
                    <a:pt x="7306" y="6252"/>
                  </a:lnTo>
                  <a:lnTo>
                    <a:pt x="7306" y="5961"/>
                  </a:lnTo>
                  <a:lnTo>
                    <a:pt x="7234" y="5671"/>
                  </a:lnTo>
                  <a:lnTo>
                    <a:pt x="7088" y="5416"/>
                  </a:lnTo>
                  <a:lnTo>
                    <a:pt x="6943" y="5162"/>
                  </a:lnTo>
                  <a:lnTo>
                    <a:pt x="6761" y="4907"/>
                  </a:lnTo>
                  <a:lnTo>
                    <a:pt x="6579" y="4689"/>
                  </a:lnTo>
                  <a:lnTo>
                    <a:pt x="6361" y="4471"/>
                  </a:lnTo>
                  <a:lnTo>
                    <a:pt x="5889" y="4071"/>
                  </a:lnTo>
                  <a:lnTo>
                    <a:pt x="5416" y="3708"/>
                  </a:lnTo>
                  <a:lnTo>
                    <a:pt x="4726" y="3235"/>
                  </a:lnTo>
                  <a:lnTo>
                    <a:pt x="4435" y="2945"/>
                  </a:lnTo>
                  <a:lnTo>
                    <a:pt x="4253" y="2654"/>
                  </a:lnTo>
                  <a:lnTo>
                    <a:pt x="4072" y="2363"/>
                  </a:lnTo>
                  <a:lnTo>
                    <a:pt x="3962" y="2000"/>
                  </a:lnTo>
                  <a:lnTo>
                    <a:pt x="3890" y="1600"/>
                  </a:lnTo>
                  <a:lnTo>
                    <a:pt x="3817" y="1127"/>
                  </a:lnTo>
                  <a:lnTo>
                    <a:pt x="3744" y="1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3" name="Google Shape;2722;p11">
              <a:extLst>
                <a:ext uri="{FF2B5EF4-FFF2-40B4-BE49-F238E27FC236}">
                  <a16:creationId xmlns:a16="http://schemas.microsoft.com/office/drawing/2014/main" id="{9630E128-FC2E-79EA-DC0D-EB063AAC0C33}"/>
                </a:ext>
              </a:extLst>
            </p:cNvPr>
            <p:cNvSpPr/>
            <p:nvPr/>
          </p:nvSpPr>
          <p:spPr>
            <a:xfrm>
              <a:off x="6159750" y="3821550"/>
              <a:ext cx="295325" cy="1510175"/>
            </a:xfrm>
            <a:custGeom>
              <a:avLst/>
              <a:gdLst/>
              <a:ahLst/>
              <a:cxnLst/>
              <a:rect l="l" t="t" r="r" b="b"/>
              <a:pathLst>
                <a:path w="11813" h="60407" extrusionOk="0">
                  <a:moveTo>
                    <a:pt x="4580" y="0"/>
                  </a:moveTo>
                  <a:lnTo>
                    <a:pt x="4252" y="37"/>
                  </a:lnTo>
                  <a:lnTo>
                    <a:pt x="3925" y="109"/>
                  </a:lnTo>
                  <a:lnTo>
                    <a:pt x="3635" y="182"/>
                  </a:lnTo>
                  <a:lnTo>
                    <a:pt x="3380" y="291"/>
                  </a:lnTo>
                  <a:lnTo>
                    <a:pt x="3126" y="400"/>
                  </a:lnTo>
                  <a:lnTo>
                    <a:pt x="2944" y="582"/>
                  </a:lnTo>
                  <a:lnTo>
                    <a:pt x="2762" y="764"/>
                  </a:lnTo>
                  <a:lnTo>
                    <a:pt x="2617" y="982"/>
                  </a:lnTo>
                  <a:lnTo>
                    <a:pt x="1563" y="10868"/>
                  </a:lnTo>
                  <a:lnTo>
                    <a:pt x="691" y="18718"/>
                  </a:lnTo>
                  <a:lnTo>
                    <a:pt x="73" y="24461"/>
                  </a:lnTo>
                  <a:lnTo>
                    <a:pt x="0" y="25006"/>
                  </a:lnTo>
                  <a:lnTo>
                    <a:pt x="0" y="25660"/>
                  </a:lnTo>
                  <a:lnTo>
                    <a:pt x="36" y="26424"/>
                  </a:lnTo>
                  <a:lnTo>
                    <a:pt x="73" y="27223"/>
                  </a:lnTo>
                  <a:lnTo>
                    <a:pt x="254" y="29077"/>
                  </a:lnTo>
                  <a:lnTo>
                    <a:pt x="545" y="31185"/>
                  </a:lnTo>
                  <a:lnTo>
                    <a:pt x="872" y="33475"/>
                  </a:lnTo>
                  <a:lnTo>
                    <a:pt x="1272" y="35874"/>
                  </a:lnTo>
                  <a:lnTo>
                    <a:pt x="1708" y="38345"/>
                  </a:lnTo>
                  <a:lnTo>
                    <a:pt x="2181" y="40853"/>
                  </a:lnTo>
                  <a:lnTo>
                    <a:pt x="3126" y="45651"/>
                  </a:lnTo>
                  <a:lnTo>
                    <a:pt x="3962" y="49794"/>
                  </a:lnTo>
                  <a:lnTo>
                    <a:pt x="4580" y="52847"/>
                  </a:lnTo>
                  <a:lnTo>
                    <a:pt x="4761" y="53828"/>
                  </a:lnTo>
                  <a:lnTo>
                    <a:pt x="4834" y="54337"/>
                  </a:lnTo>
                  <a:lnTo>
                    <a:pt x="4798" y="54882"/>
                  </a:lnTo>
                  <a:lnTo>
                    <a:pt x="4725" y="55428"/>
                  </a:lnTo>
                  <a:lnTo>
                    <a:pt x="4580" y="55936"/>
                  </a:lnTo>
                  <a:lnTo>
                    <a:pt x="4362" y="56445"/>
                  </a:lnTo>
                  <a:lnTo>
                    <a:pt x="4034" y="56990"/>
                  </a:lnTo>
                  <a:lnTo>
                    <a:pt x="3671" y="57536"/>
                  </a:lnTo>
                  <a:lnTo>
                    <a:pt x="3162" y="58153"/>
                  </a:lnTo>
                  <a:lnTo>
                    <a:pt x="2581" y="58771"/>
                  </a:lnTo>
                  <a:lnTo>
                    <a:pt x="2508" y="58844"/>
                  </a:lnTo>
                  <a:lnTo>
                    <a:pt x="2399" y="58953"/>
                  </a:lnTo>
                  <a:lnTo>
                    <a:pt x="2290" y="59098"/>
                  </a:lnTo>
                  <a:lnTo>
                    <a:pt x="2217" y="59244"/>
                  </a:lnTo>
                  <a:lnTo>
                    <a:pt x="2217" y="59389"/>
                  </a:lnTo>
                  <a:lnTo>
                    <a:pt x="2181" y="59535"/>
                  </a:lnTo>
                  <a:lnTo>
                    <a:pt x="2217" y="59680"/>
                  </a:lnTo>
                  <a:lnTo>
                    <a:pt x="2253" y="59825"/>
                  </a:lnTo>
                  <a:lnTo>
                    <a:pt x="2326" y="59971"/>
                  </a:lnTo>
                  <a:lnTo>
                    <a:pt x="2399" y="60080"/>
                  </a:lnTo>
                  <a:lnTo>
                    <a:pt x="2508" y="60189"/>
                  </a:lnTo>
                  <a:lnTo>
                    <a:pt x="2617" y="60298"/>
                  </a:lnTo>
                  <a:lnTo>
                    <a:pt x="2762" y="60334"/>
                  </a:lnTo>
                  <a:lnTo>
                    <a:pt x="2908" y="60407"/>
                  </a:lnTo>
                  <a:lnTo>
                    <a:pt x="3235" y="60407"/>
                  </a:lnTo>
                  <a:lnTo>
                    <a:pt x="3380" y="60371"/>
                  </a:lnTo>
                  <a:lnTo>
                    <a:pt x="7306" y="58953"/>
                  </a:lnTo>
                  <a:lnTo>
                    <a:pt x="7451" y="58880"/>
                  </a:lnTo>
                  <a:lnTo>
                    <a:pt x="7560" y="58808"/>
                  </a:lnTo>
                  <a:lnTo>
                    <a:pt x="9559" y="57245"/>
                  </a:lnTo>
                  <a:lnTo>
                    <a:pt x="9595" y="57208"/>
                  </a:lnTo>
                  <a:lnTo>
                    <a:pt x="9632" y="57245"/>
                  </a:lnTo>
                  <a:lnTo>
                    <a:pt x="9777" y="57354"/>
                  </a:lnTo>
                  <a:lnTo>
                    <a:pt x="9959" y="57572"/>
                  </a:lnTo>
                  <a:lnTo>
                    <a:pt x="9995" y="57608"/>
                  </a:lnTo>
                  <a:lnTo>
                    <a:pt x="10031" y="57608"/>
                  </a:lnTo>
                  <a:lnTo>
                    <a:pt x="10031" y="57463"/>
                  </a:lnTo>
                  <a:lnTo>
                    <a:pt x="9995" y="57099"/>
                  </a:lnTo>
                  <a:lnTo>
                    <a:pt x="9886" y="56409"/>
                  </a:lnTo>
                  <a:lnTo>
                    <a:pt x="9414" y="53865"/>
                  </a:lnTo>
                  <a:lnTo>
                    <a:pt x="9050" y="51575"/>
                  </a:lnTo>
                  <a:lnTo>
                    <a:pt x="8759" y="49540"/>
                  </a:lnTo>
                  <a:lnTo>
                    <a:pt x="8578" y="47686"/>
                  </a:lnTo>
                  <a:lnTo>
                    <a:pt x="8432" y="45941"/>
                  </a:lnTo>
                  <a:lnTo>
                    <a:pt x="8360" y="44378"/>
                  </a:lnTo>
                  <a:lnTo>
                    <a:pt x="8323" y="42852"/>
                  </a:lnTo>
                  <a:lnTo>
                    <a:pt x="8287" y="41362"/>
                  </a:lnTo>
                  <a:lnTo>
                    <a:pt x="8287" y="38309"/>
                  </a:lnTo>
                  <a:lnTo>
                    <a:pt x="8287" y="36673"/>
                  </a:lnTo>
                  <a:lnTo>
                    <a:pt x="8287" y="34892"/>
                  </a:lnTo>
                  <a:lnTo>
                    <a:pt x="8214" y="32966"/>
                  </a:lnTo>
                  <a:lnTo>
                    <a:pt x="8105" y="30821"/>
                  </a:lnTo>
                  <a:lnTo>
                    <a:pt x="7960" y="28423"/>
                  </a:lnTo>
                  <a:lnTo>
                    <a:pt x="7705" y="25733"/>
                  </a:lnTo>
                  <a:lnTo>
                    <a:pt x="7705" y="25479"/>
                  </a:lnTo>
                  <a:lnTo>
                    <a:pt x="7742" y="25115"/>
                  </a:lnTo>
                  <a:lnTo>
                    <a:pt x="7814" y="24170"/>
                  </a:lnTo>
                  <a:lnTo>
                    <a:pt x="7996" y="22934"/>
                  </a:lnTo>
                  <a:lnTo>
                    <a:pt x="8251" y="21444"/>
                  </a:lnTo>
                  <a:lnTo>
                    <a:pt x="8905" y="17991"/>
                  </a:lnTo>
                  <a:lnTo>
                    <a:pt x="9668" y="14248"/>
                  </a:lnTo>
                  <a:lnTo>
                    <a:pt x="10468" y="10577"/>
                  </a:lnTo>
                  <a:lnTo>
                    <a:pt x="11122" y="7451"/>
                  </a:lnTo>
                  <a:lnTo>
                    <a:pt x="11812" y="4434"/>
                  </a:lnTo>
                  <a:lnTo>
                    <a:pt x="11812" y="4144"/>
                  </a:lnTo>
                  <a:lnTo>
                    <a:pt x="11740" y="3853"/>
                  </a:lnTo>
                  <a:lnTo>
                    <a:pt x="11667" y="3562"/>
                  </a:lnTo>
                  <a:lnTo>
                    <a:pt x="11522" y="3271"/>
                  </a:lnTo>
                  <a:lnTo>
                    <a:pt x="11340" y="2981"/>
                  </a:lnTo>
                  <a:lnTo>
                    <a:pt x="11158" y="2726"/>
                  </a:lnTo>
                  <a:lnTo>
                    <a:pt x="10904" y="2435"/>
                  </a:lnTo>
                  <a:lnTo>
                    <a:pt x="10649" y="2181"/>
                  </a:lnTo>
                  <a:lnTo>
                    <a:pt x="10322" y="1963"/>
                  </a:lnTo>
                  <a:lnTo>
                    <a:pt x="10031" y="1709"/>
                  </a:lnTo>
                  <a:lnTo>
                    <a:pt x="9305" y="1272"/>
                  </a:lnTo>
                  <a:lnTo>
                    <a:pt x="8541" y="873"/>
                  </a:lnTo>
                  <a:lnTo>
                    <a:pt x="7742" y="582"/>
                  </a:lnTo>
                  <a:lnTo>
                    <a:pt x="6942" y="291"/>
                  </a:lnTo>
                  <a:lnTo>
                    <a:pt x="6106" y="109"/>
                  </a:lnTo>
                  <a:lnTo>
                    <a:pt x="5343" y="37"/>
                  </a:lnTo>
                  <a:lnTo>
                    <a:pt x="4943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4" name="Google Shape;2723;p11">
              <a:extLst>
                <a:ext uri="{FF2B5EF4-FFF2-40B4-BE49-F238E27FC236}">
                  <a16:creationId xmlns:a16="http://schemas.microsoft.com/office/drawing/2014/main" id="{86A815AC-DFFB-7DE1-546E-9A5395D80256}"/>
                </a:ext>
              </a:extLst>
            </p:cNvPr>
            <p:cNvSpPr/>
            <p:nvPr/>
          </p:nvSpPr>
          <p:spPr>
            <a:xfrm>
              <a:off x="6089775" y="5202675"/>
              <a:ext cx="348025" cy="226275"/>
            </a:xfrm>
            <a:custGeom>
              <a:avLst/>
              <a:gdLst/>
              <a:ahLst/>
              <a:cxnLst/>
              <a:rect l="l" t="t" r="r" b="b"/>
              <a:pathLst>
                <a:path w="13921" h="9051" extrusionOk="0">
                  <a:moveTo>
                    <a:pt x="12576" y="1"/>
                  </a:moveTo>
                  <a:lnTo>
                    <a:pt x="12431" y="37"/>
                  </a:lnTo>
                  <a:lnTo>
                    <a:pt x="12322" y="146"/>
                  </a:lnTo>
                  <a:lnTo>
                    <a:pt x="11885" y="764"/>
                  </a:lnTo>
                  <a:lnTo>
                    <a:pt x="11304" y="1455"/>
                  </a:lnTo>
                  <a:lnTo>
                    <a:pt x="10577" y="2145"/>
                  </a:lnTo>
                  <a:lnTo>
                    <a:pt x="9814" y="2872"/>
                  </a:lnTo>
                  <a:lnTo>
                    <a:pt x="8978" y="3526"/>
                  </a:lnTo>
                  <a:lnTo>
                    <a:pt x="8578" y="3817"/>
                  </a:lnTo>
                  <a:lnTo>
                    <a:pt x="8142" y="4071"/>
                  </a:lnTo>
                  <a:lnTo>
                    <a:pt x="7742" y="4290"/>
                  </a:lnTo>
                  <a:lnTo>
                    <a:pt x="7342" y="4471"/>
                  </a:lnTo>
                  <a:lnTo>
                    <a:pt x="6979" y="4580"/>
                  </a:lnTo>
                  <a:lnTo>
                    <a:pt x="6615" y="4653"/>
                  </a:lnTo>
                  <a:lnTo>
                    <a:pt x="6143" y="4653"/>
                  </a:lnTo>
                  <a:lnTo>
                    <a:pt x="5816" y="4617"/>
                  </a:lnTo>
                  <a:lnTo>
                    <a:pt x="5561" y="4544"/>
                  </a:lnTo>
                  <a:lnTo>
                    <a:pt x="5380" y="4435"/>
                  </a:lnTo>
                  <a:lnTo>
                    <a:pt x="5307" y="4290"/>
                  </a:lnTo>
                  <a:lnTo>
                    <a:pt x="5234" y="4144"/>
                  </a:lnTo>
                  <a:lnTo>
                    <a:pt x="5234" y="4035"/>
                  </a:lnTo>
                  <a:lnTo>
                    <a:pt x="5234" y="3890"/>
                  </a:lnTo>
                  <a:lnTo>
                    <a:pt x="5198" y="3817"/>
                  </a:lnTo>
                  <a:lnTo>
                    <a:pt x="5161" y="3781"/>
                  </a:lnTo>
                  <a:lnTo>
                    <a:pt x="5089" y="3744"/>
                  </a:lnTo>
                  <a:lnTo>
                    <a:pt x="4907" y="3817"/>
                  </a:lnTo>
                  <a:lnTo>
                    <a:pt x="4144" y="4144"/>
                  </a:lnTo>
                  <a:lnTo>
                    <a:pt x="3053" y="4617"/>
                  </a:lnTo>
                  <a:lnTo>
                    <a:pt x="1927" y="5162"/>
                  </a:lnTo>
                  <a:lnTo>
                    <a:pt x="1454" y="5416"/>
                  </a:lnTo>
                  <a:lnTo>
                    <a:pt x="1091" y="5671"/>
                  </a:lnTo>
                  <a:lnTo>
                    <a:pt x="727" y="5998"/>
                  </a:lnTo>
                  <a:lnTo>
                    <a:pt x="437" y="6325"/>
                  </a:lnTo>
                  <a:lnTo>
                    <a:pt x="218" y="6688"/>
                  </a:lnTo>
                  <a:lnTo>
                    <a:pt x="73" y="7052"/>
                  </a:lnTo>
                  <a:lnTo>
                    <a:pt x="0" y="7379"/>
                  </a:lnTo>
                  <a:lnTo>
                    <a:pt x="0" y="7706"/>
                  </a:lnTo>
                  <a:lnTo>
                    <a:pt x="0" y="7851"/>
                  </a:lnTo>
                  <a:lnTo>
                    <a:pt x="73" y="7960"/>
                  </a:lnTo>
                  <a:lnTo>
                    <a:pt x="109" y="8106"/>
                  </a:lnTo>
                  <a:lnTo>
                    <a:pt x="218" y="8179"/>
                  </a:lnTo>
                  <a:lnTo>
                    <a:pt x="328" y="8251"/>
                  </a:lnTo>
                  <a:lnTo>
                    <a:pt x="473" y="8324"/>
                  </a:lnTo>
                  <a:lnTo>
                    <a:pt x="909" y="8433"/>
                  </a:lnTo>
                  <a:lnTo>
                    <a:pt x="1454" y="8506"/>
                  </a:lnTo>
                  <a:lnTo>
                    <a:pt x="2072" y="8542"/>
                  </a:lnTo>
                  <a:lnTo>
                    <a:pt x="2690" y="8578"/>
                  </a:lnTo>
                  <a:lnTo>
                    <a:pt x="3344" y="8542"/>
                  </a:lnTo>
                  <a:lnTo>
                    <a:pt x="3926" y="8506"/>
                  </a:lnTo>
                  <a:lnTo>
                    <a:pt x="4398" y="8469"/>
                  </a:lnTo>
                  <a:lnTo>
                    <a:pt x="4507" y="8469"/>
                  </a:lnTo>
                  <a:lnTo>
                    <a:pt x="4871" y="8360"/>
                  </a:lnTo>
                  <a:lnTo>
                    <a:pt x="5307" y="8179"/>
                  </a:lnTo>
                  <a:lnTo>
                    <a:pt x="6397" y="7633"/>
                  </a:lnTo>
                  <a:lnTo>
                    <a:pt x="7815" y="6870"/>
                  </a:lnTo>
                  <a:lnTo>
                    <a:pt x="9232" y="6071"/>
                  </a:lnTo>
                  <a:lnTo>
                    <a:pt x="10468" y="5416"/>
                  </a:lnTo>
                  <a:lnTo>
                    <a:pt x="10940" y="5162"/>
                  </a:lnTo>
                  <a:lnTo>
                    <a:pt x="11304" y="4980"/>
                  </a:lnTo>
                  <a:lnTo>
                    <a:pt x="11413" y="5162"/>
                  </a:lnTo>
                  <a:lnTo>
                    <a:pt x="11486" y="5380"/>
                  </a:lnTo>
                  <a:lnTo>
                    <a:pt x="11558" y="5634"/>
                  </a:lnTo>
                  <a:lnTo>
                    <a:pt x="11595" y="5925"/>
                  </a:lnTo>
                  <a:lnTo>
                    <a:pt x="11631" y="6543"/>
                  </a:lnTo>
                  <a:lnTo>
                    <a:pt x="11631" y="7234"/>
                  </a:lnTo>
                  <a:lnTo>
                    <a:pt x="11558" y="7888"/>
                  </a:lnTo>
                  <a:lnTo>
                    <a:pt x="11522" y="8433"/>
                  </a:lnTo>
                  <a:lnTo>
                    <a:pt x="11449" y="8978"/>
                  </a:lnTo>
                  <a:lnTo>
                    <a:pt x="12213" y="9051"/>
                  </a:lnTo>
                  <a:lnTo>
                    <a:pt x="12213" y="8651"/>
                  </a:lnTo>
                  <a:lnTo>
                    <a:pt x="12285" y="8179"/>
                  </a:lnTo>
                  <a:lnTo>
                    <a:pt x="12394" y="7597"/>
                  </a:lnTo>
                  <a:lnTo>
                    <a:pt x="12540" y="6906"/>
                  </a:lnTo>
                  <a:lnTo>
                    <a:pt x="12758" y="6143"/>
                  </a:lnTo>
                  <a:lnTo>
                    <a:pt x="13085" y="5380"/>
                  </a:lnTo>
                  <a:lnTo>
                    <a:pt x="13267" y="5016"/>
                  </a:lnTo>
                  <a:lnTo>
                    <a:pt x="13448" y="4617"/>
                  </a:lnTo>
                  <a:lnTo>
                    <a:pt x="13630" y="4253"/>
                  </a:lnTo>
                  <a:lnTo>
                    <a:pt x="13775" y="3890"/>
                  </a:lnTo>
                  <a:lnTo>
                    <a:pt x="13848" y="3526"/>
                  </a:lnTo>
                  <a:lnTo>
                    <a:pt x="13884" y="3163"/>
                  </a:lnTo>
                  <a:lnTo>
                    <a:pt x="13921" y="2799"/>
                  </a:lnTo>
                  <a:lnTo>
                    <a:pt x="13884" y="2472"/>
                  </a:lnTo>
                  <a:lnTo>
                    <a:pt x="13848" y="2182"/>
                  </a:lnTo>
                  <a:lnTo>
                    <a:pt x="13739" y="1854"/>
                  </a:lnTo>
                  <a:lnTo>
                    <a:pt x="13557" y="1309"/>
                  </a:lnTo>
                  <a:lnTo>
                    <a:pt x="13303" y="837"/>
                  </a:lnTo>
                  <a:lnTo>
                    <a:pt x="13049" y="437"/>
                  </a:lnTo>
                  <a:lnTo>
                    <a:pt x="12794" y="110"/>
                  </a:lnTo>
                  <a:lnTo>
                    <a:pt x="12685" y="37"/>
                  </a:lnTo>
                  <a:lnTo>
                    <a:pt x="12576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5" name="Google Shape;2724;p11">
              <a:extLst>
                <a:ext uri="{FF2B5EF4-FFF2-40B4-BE49-F238E27FC236}">
                  <a16:creationId xmlns:a16="http://schemas.microsoft.com/office/drawing/2014/main" id="{96C61223-A7B5-0484-E6DD-A77C12E73E64}"/>
                </a:ext>
              </a:extLst>
            </p:cNvPr>
            <p:cNvSpPr/>
            <p:nvPr/>
          </p:nvSpPr>
          <p:spPr>
            <a:xfrm>
              <a:off x="6440500" y="3827000"/>
              <a:ext cx="449800" cy="1493825"/>
            </a:xfrm>
            <a:custGeom>
              <a:avLst/>
              <a:gdLst/>
              <a:ahLst/>
              <a:cxnLst/>
              <a:rect l="l" t="t" r="r" b="b"/>
              <a:pathLst>
                <a:path w="17992" h="59753" extrusionOk="0">
                  <a:moveTo>
                    <a:pt x="3272" y="0"/>
                  </a:moveTo>
                  <a:lnTo>
                    <a:pt x="2472" y="37"/>
                  </a:lnTo>
                  <a:lnTo>
                    <a:pt x="2109" y="109"/>
                  </a:lnTo>
                  <a:lnTo>
                    <a:pt x="1745" y="182"/>
                  </a:lnTo>
                  <a:lnTo>
                    <a:pt x="1418" y="255"/>
                  </a:lnTo>
                  <a:lnTo>
                    <a:pt x="1128" y="364"/>
                  </a:lnTo>
                  <a:lnTo>
                    <a:pt x="837" y="509"/>
                  </a:lnTo>
                  <a:lnTo>
                    <a:pt x="582" y="655"/>
                  </a:lnTo>
                  <a:lnTo>
                    <a:pt x="401" y="836"/>
                  </a:lnTo>
                  <a:lnTo>
                    <a:pt x="219" y="1054"/>
                  </a:lnTo>
                  <a:lnTo>
                    <a:pt x="74" y="1272"/>
                  </a:lnTo>
                  <a:lnTo>
                    <a:pt x="1" y="1491"/>
                  </a:lnTo>
                  <a:lnTo>
                    <a:pt x="982" y="11595"/>
                  </a:lnTo>
                  <a:lnTo>
                    <a:pt x="1745" y="19554"/>
                  </a:lnTo>
                  <a:lnTo>
                    <a:pt x="2036" y="22935"/>
                  </a:lnTo>
                  <a:lnTo>
                    <a:pt x="2254" y="25370"/>
                  </a:lnTo>
                  <a:lnTo>
                    <a:pt x="2291" y="25915"/>
                  </a:lnTo>
                  <a:lnTo>
                    <a:pt x="2400" y="26569"/>
                  </a:lnTo>
                  <a:lnTo>
                    <a:pt x="2581" y="27260"/>
                  </a:lnTo>
                  <a:lnTo>
                    <a:pt x="2763" y="28059"/>
                  </a:lnTo>
                  <a:lnTo>
                    <a:pt x="3272" y="29840"/>
                  </a:lnTo>
                  <a:lnTo>
                    <a:pt x="3926" y="31839"/>
                  </a:lnTo>
                  <a:lnTo>
                    <a:pt x="4689" y="33984"/>
                  </a:lnTo>
                  <a:lnTo>
                    <a:pt x="5525" y="36237"/>
                  </a:lnTo>
                  <a:lnTo>
                    <a:pt x="6398" y="38563"/>
                  </a:lnTo>
                  <a:lnTo>
                    <a:pt x="7306" y="40889"/>
                  </a:lnTo>
                  <a:lnTo>
                    <a:pt x="9087" y="45360"/>
                  </a:lnTo>
                  <a:lnTo>
                    <a:pt x="10686" y="49212"/>
                  </a:lnTo>
                  <a:lnTo>
                    <a:pt x="11813" y="52047"/>
                  </a:lnTo>
                  <a:lnTo>
                    <a:pt x="12177" y="52956"/>
                  </a:lnTo>
                  <a:lnTo>
                    <a:pt x="12322" y="53465"/>
                  </a:lnTo>
                  <a:lnTo>
                    <a:pt x="12395" y="54010"/>
                  </a:lnTo>
                  <a:lnTo>
                    <a:pt x="12431" y="54519"/>
                  </a:lnTo>
                  <a:lnTo>
                    <a:pt x="12395" y="55064"/>
                  </a:lnTo>
                  <a:lnTo>
                    <a:pt x="12249" y="55609"/>
                  </a:lnTo>
                  <a:lnTo>
                    <a:pt x="12068" y="56191"/>
                  </a:lnTo>
                  <a:lnTo>
                    <a:pt x="11777" y="56845"/>
                  </a:lnTo>
                  <a:lnTo>
                    <a:pt x="11413" y="57499"/>
                  </a:lnTo>
                  <a:lnTo>
                    <a:pt x="10941" y="58263"/>
                  </a:lnTo>
                  <a:lnTo>
                    <a:pt x="10905" y="58299"/>
                  </a:lnTo>
                  <a:lnTo>
                    <a:pt x="10796" y="58481"/>
                  </a:lnTo>
                  <a:lnTo>
                    <a:pt x="10759" y="58626"/>
                  </a:lnTo>
                  <a:lnTo>
                    <a:pt x="10723" y="58771"/>
                  </a:lnTo>
                  <a:lnTo>
                    <a:pt x="10723" y="58917"/>
                  </a:lnTo>
                  <a:lnTo>
                    <a:pt x="10723" y="59062"/>
                  </a:lnTo>
                  <a:lnTo>
                    <a:pt x="10796" y="59208"/>
                  </a:lnTo>
                  <a:lnTo>
                    <a:pt x="10832" y="59353"/>
                  </a:lnTo>
                  <a:lnTo>
                    <a:pt x="10941" y="59462"/>
                  </a:lnTo>
                  <a:lnTo>
                    <a:pt x="11050" y="59571"/>
                  </a:lnTo>
                  <a:lnTo>
                    <a:pt x="11159" y="59644"/>
                  </a:lnTo>
                  <a:lnTo>
                    <a:pt x="11304" y="59716"/>
                  </a:lnTo>
                  <a:lnTo>
                    <a:pt x="11450" y="59753"/>
                  </a:lnTo>
                  <a:lnTo>
                    <a:pt x="11741" y="59753"/>
                  </a:lnTo>
                  <a:lnTo>
                    <a:pt x="11886" y="59716"/>
                  </a:lnTo>
                  <a:lnTo>
                    <a:pt x="12068" y="59644"/>
                  </a:lnTo>
                  <a:lnTo>
                    <a:pt x="15630" y="57499"/>
                  </a:lnTo>
                  <a:lnTo>
                    <a:pt x="15775" y="57427"/>
                  </a:lnTo>
                  <a:lnTo>
                    <a:pt x="15848" y="57318"/>
                  </a:lnTo>
                  <a:lnTo>
                    <a:pt x="17519" y="55391"/>
                  </a:lnTo>
                  <a:lnTo>
                    <a:pt x="17592" y="55319"/>
                  </a:lnTo>
                  <a:lnTo>
                    <a:pt x="17738" y="55210"/>
                  </a:lnTo>
                  <a:lnTo>
                    <a:pt x="17847" y="55137"/>
                  </a:lnTo>
                  <a:lnTo>
                    <a:pt x="17956" y="54955"/>
                  </a:lnTo>
                  <a:lnTo>
                    <a:pt x="17992" y="54737"/>
                  </a:lnTo>
                  <a:lnTo>
                    <a:pt x="17992" y="54446"/>
                  </a:lnTo>
                  <a:lnTo>
                    <a:pt x="17847" y="54010"/>
                  </a:lnTo>
                  <a:lnTo>
                    <a:pt x="17592" y="53465"/>
                  </a:lnTo>
                  <a:lnTo>
                    <a:pt x="17192" y="52702"/>
                  </a:lnTo>
                  <a:lnTo>
                    <a:pt x="16829" y="51902"/>
                  </a:lnTo>
                  <a:lnTo>
                    <a:pt x="16502" y="51139"/>
                  </a:lnTo>
                  <a:lnTo>
                    <a:pt x="16175" y="50339"/>
                  </a:lnTo>
                  <a:lnTo>
                    <a:pt x="15593" y="48776"/>
                  </a:lnTo>
                  <a:lnTo>
                    <a:pt x="15121" y="47213"/>
                  </a:lnTo>
                  <a:lnTo>
                    <a:pt x="14685" y="45614"/>
                  </a:lnTo>
                  <a:lnTo>
                    <a:pt x="14285" y="43979"/>
                  </a:lnTo>
                  <a:lnTo>
                    <a:pt x="13921" y="42343"/>
                  </a:lnTo>
                  <a:lnTo>
                    <a:pt x="13558" y="40635"/>
                  </a:lnTo>
                  <a:lnTo>
                    <a:pt x="12867" y="37146"/>
                  </a:lnTo>
                  <a:lnTo>
                    <a:pt x="12504" y="35328"/>
                  </a:lnTo>
                  <a:lnTo>
                    <a:pt x="12068" y="33438"/>
                  </a:lnTo>
                  <a:lnTo>
                    <a:pt x="11595" y="31512"/>
                  </a:lnTo>
                  <a:lnTo>
                    <a:pt x="11086" y="29477"/>
                  </a:lnTo>
                  <a:lnTo>
                    <a:pt x="10468" y="27405"/>
                  </a:lnTo>
                  <a:lnTo>
                    <a:pt x="9742" y="25261"/>
                  </a:lnTo>
                  <a:lnTo>
                    <a:pt x="9669" y="25006"/>
                  </a:lnTo>
                  <a:lnTo>
                    <a:pt x="9632" y="24643"/>
                  </a:lnTo>
                  <a:lnTo>
                    <a:pt x="9523" y="23661"/>
                  </a:lnTo>
                  <a:lnTo>
                    <a:pt x="9451" y="22389"/>
                  </a:lnTo>
                  <a:lnTo>
                    <a:pt x="9414" y="20863"/>
                  </a:lnTo>
                  <a:lnTo>
                    <a:pt x="9378" y="17301"/>
                  </a:lnTo>
                  <a:lnTo>
                    <a:pt x="9414" y="13376"/>
                  </a:lnTo>
                  <a:lnTo>
                    <a:pt x="9487" y="9559"/>
                  </a:lnTo>
                  <a:lnTo>
                    <a:pt x="9560" y="6288"/>
                  </a:lnTo>
                  <a:lnTo>
                    <a:pt x="9669" y="3126"/>
                  </a:lnTo>
                  <a:lnTo>
                    <a:pt x="9596" y="2835"/>
                  </a:lnTo>
                  <a:lnTo>
                    <a:pt x="9523" y="2581"/>
                  </a:lnTo>
                  <a:lnTo>
                    <a:pt x="9342" y="2290"/>
                  </a:lnTo>
                  <a:lnTo>
                    <a:pt x="9160" y="2036"/>
                  </a:lnTo>
                  <a:lnTo>
                    <a:pt x="8942" y="1818"/>
                  </a:lnTo>
                  <a:lnTo>
                    <a:pt x="8687" y="1563"/>
                  </a:lnTo>
                  <a:lnTo>
                    <a:pt x="8397" y="1345"/>
                  </a:lnTo>
                  <a:lnTo>
                    <a:pt x="8106" y="1163"/>
                  </a:lnTo>
                  <a:lnTo>
                    <a:pt x="7742" y="982"/>
                  </a:lnTo>
                  <a:lnTo>
                    <a:pt x="7379" y="800"/>
                  </a:lnTo>
                  <a:lnTo>
                    <a:pt x="6616" y="509"/>
                  </a:lnTo>
                  <a:lnTo>
                    <a:pt x="5816" y="291"/>
                  </a:lnTo>
                  <a:lnTo>
                    <a:pt x="4944" y="109"/>
                  </a:lnTo>
                  <a:lnTo>
                    <a:pt x="4108" y="0"/>
                  </a:lnTo>
                  <a:close/>
                </a:path>
              </a:pathLst>
            </a:custGeom>
            <a:solidFill>
              <a:srgbClr val="EFAEA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6" name="Google Shape;2725;p11">
              <a:extLst>
                <a:ext uri="{FF2B5EF4-FFF2-40B4-BE49-F238E27FC236}">
                  <a16:creationId xmlns:a16="http://schemas.microsoft.com/office/drawing/2014/main" id="{42ADDF00-4662-0A48-968B-DB915FFFFF44}"/>
                </a:ext>
              </a:extLst>
            </p:cNvPr>
            <p:cNvSpPr/>
            <p:nvPr/>
          </p:nvSpPr>
          <p:spPr>
            <a:xfrm>
              <a:off x="6600425" y="5165425"/>
              <a:ext cx="322600" cy="259900"/>
            </a:xfrm>
            <a:custGeom>
              <a:avLst/>
              <a:gdLst/>
              <a:ahLst/>
              <a:cxnLst/>
              <a:rect l="l" t="t" r="r" b="b"/>
              <a:pathLst>
                <a:path w="12904" h="10396" extrusionOk="0">
                  <a:moveTo>
                    <a:pt x="11413" y="1"/>
                  </a:moveTo>
                  <a:lnTo>
                    <a:pt x="11268" y="73"/>
                  </a:lnTo>
                  <a:lnTo>
                    <a:pt x="11122" y="219"/>
                  </a:lnTo>
                  <a:lnTo>
                    <a:pt x="11013" y="364"/>
                  </a:lnTo>
                  <a:lnTo>
                    <a:pt x="10868" y="655"/>
                  </a:lnTo>
                  <a:lnTo>
                    <a:pt x="10686" y="1018"/>
                  </a:lnTo>
                  <a:lnTo>
                    <a:pt x="10214" y="1782"/>
                  </a:lnTo>
                  <a:lnTo>
                    <a:pt x="9596" y="2581"/>
                  </a:lnTo>
                  <a:lnTo>
                    <a:pt x="8905" y="3344"/>
                  </a:lnTo>
                  <a:lnTo>
                    <a:pt x="8178" y="4108"/>
                  </a:lnTo>
                  <a:lnTo>
                    <a:pt x="7815" y="4435"/>
                  </a:lnTo>
                  <a:lnTo>
                    <a:pt x="7415" y="4762"/>
                  </a:lnTo>
                  <a:lnTo>
                    <a:pt x="7052" y="5016"/>
                  </a:lnTo>
                  <a:lnTo>
                    <a:pt x="6688" y="5234"/>
                  </a:lnTo>
                  <a:lnTo>
                    <a:pt x="6325" y="5416"/>
                  </a:lnTo>
                  <a:lnTo>
                    <a:pt x="5998" y="5561"/>
                  </a:lnTo>
                  <a:lnTo>
                    <a:pt x="5525" y="5671"/>
                  </a:lnTo>
                  <a:lnTo>
                    <a:pt x="5198" y="5707"/>
                  </a:lnTo>
                  <a:lnTo>
                    <a:pt x="4944" y="5671"/>
                  </a:lnTo>
                  <a:lnTo>
                    <a:pt x="4762" y="5598"/>
                  </a:lnTo>
                  <a:lnTo>
                    <a:pt x="4617" y="5489"/>
                  </a:lnTo>
                  <a:lnTo>
                    <a:pt x="4544" y="5343"/>
                  </a:lnTo>
                  <a:lnTo>
                    <a:pt x="4508" y="5198"/>
                  </a:lnTo>
                  <a:lnTo>
                    <a:pt x="4471" y="5089"/>
                  </a:lnTo>
                  <a:lnTo>
                    <a:pt x="4435" y="5016"/>
                  </a:lnTo>
                  <a:lnTo>
                    <a:pt x="4399" y="4980"/>
                  </a:lnTo>
                  <a:lnTo>
                    <a:pt x="4326" y="4980"/>
                  </a:lnTo>
                  <a:lnTo>
                    <a:pt x="4144" y="5089"/>
                  </a:lnTo>
                  <a:lnTo>
                    <a:pt x="3454" y="5525"/>
                  </a:lnTo>
                  <a:lnTo>
                    <a:pt x="2472" y="6216"/>
                  </a:lnTo>
                  <a:lnTo>
                    <a:pt x="1491" y="6943"/>
                  </a:lnTo>
                  <a:lnTo>
                    <a:pt x="1091" y="7306"/>
                  </a:lnTo>
                  <a:lnTo>
                    <a:pt x="764" y="7633"/>
                  </a:lnTo>
                  <a:lnTo>
                    <a:pt x="473" y="7997"/>
                  </a:lnTo>
                  <a:lnTo>
                    <a:pt x="255" y="8396"/>
                  </a:lnTo>
                  <a:lnTo>
                    <a:pt x="110" y="8796"/>
                  </a:lnTo>
                  <a:lnTo>
                    <a:pt x="1" y="9160"/>
                  </a:lnTo>
                  <a:lnTo>
                    <a:pt x="1" y="9523"/>
                  </a:lnTo>
                  <a:lnTo>
                    <a:pt x="73" y="9850"/>
                  </a:lnTo>
                  <a:lnTo>
                    <a:pt x="110" y="9959"/>
                  </a:lnTo>
                  <a:lnTo>
                    <a:pt x="182" y="10068"/>
                  </a:lnTo>
                  <a:lnTo>
                    <a:pt x="291" y="10177"/>
                  </a:lnTo>
                  <a:lnTo>
                    <a:pt x="364" y="10250"/>
                  </a:lnTo>
                  <a:lnTo>
                    <a:pt x="510" y="10323"/>
                  </a:lnTo>
                  <a:lnTo>
                    <a:pt x="691" y="10359"/>
                  </a:lnTo>
                  <a:lnTo>
                    <a:pt x="1127" y="10395"/>
                  </a:lnTo>
                  <a:lnTo>
                    <a:pt x="1673" y="10359"/>
                  </a:lnTo>
                  <a:lnTo>
                    <a:pt x="2254" y="10286"/>
                  </a:lnTo>
                  <a:lnTo>
                    <a:pt x="2908" y="10141"/>
                  </a:lnTo>
                  <a:lnTo>
                    <a:pt x="3526" y="10032"/>
                  </a:lnTo>
                  <a:lnTo>
                    <a:pt x="4071" y="9887"/>
                  </a:lnTo>
                  <a:lnTo>
                    <a:pt x="4544" y="9741"/>
                  </a:lnTo>
                  <a:lnTo>
                    <a:pt x="4653" y="9705"/>
                  </a:lnTo>
                  <a:lnTo>
                    <a:pt x="4980" y="9523"/>
                  </a:lnTo>
                  <a:lnTo>
                    <a:pt x="5380" y="9269"/>
                  </a:lnTo>
                  <a:lnTo>
                    <a:pt x="6325" y="8542"/>
                  </a:lnTo>
                  <a:lnTo>
                    <a:pt x="7597" y="7524"/>
                  </a:lnTo>
                  <a:lnTo>
                    <a:pt x="8833" y="6470"/>
                  </a:lnTo>
                  <a:lnTo>
                    <a:pt x="9923" y="5561"/>
                  </a:lnTo>
                  <a:lnTo>
                    <a:pt x="10323" y="5234"/>
                  </a:lnTo>
                  <a:lnTo>
                    <a:pt x="10650" y="5016"/>
                  </a:lnTo>
                  <a:lnTo>
                    <a:pt x="10795" y="5125"/>
                  </a:lnTo>
                  <a:lnTo>
                    <a:pt x="10904" y="5343"/>
                  </a:lnTo>
                  <a:lnTo>
                    <a:pt x="11013" y="5561"/>
                  </a:lnTo>
                  <a:lnTo>
                    <a:pt x="11122" y="5852"/>
                  </a:lnTo>
                  <a:lnTo>
                    <a:pt x="11268" y="6470"/>
                  </a:lnTo>
                  <a:lnTo>
                    <a:pt x="11377" y="7161"/>
                  </a:lnTo>
                  <a:lnTo>
                    <a:pt x="11486" y="7815"/>
                  </a:lnTo>
                  <a:lnTo>
                    <a:pt x="11522" y="8360"/>
                  </a:lnTo>
                  <a:lnTo>
                    <a:pt x="11559" y="8869"/>
                  </a:lnTo>
                  <a:lnTo>
                    <a:pt x="12322" y="8833"/>
                  </a:lnTo>
                  <a:lnTo>
                    <a:pt x="12249" y="8396"/>
                  </a:lnTo>
                  <a:lnTo>
                    <a:pt x="12213" y="7960"/>
                  </a:lnTo>
                  <a:lnTo>
                    <a:pt x="12213" y="7342"/>
                  </a:lnTo>
                  <a:lnTo>
                    <a:pt x="12249" y="6652"/>
                  </a:lnTo>
                  <a:lnTo>
                    <a:pt x="12322" y="5852"/>
                  </a:lnTo>
                  <a:lnTo>
                    <a:pt x="12467" y="5053"/>
                  </a:lnTo>
                  <a:lnTo>
                    <a:pt x="12576" y="4653"/>
                  </a:lnTo>
                  <a:lnTo>
                    <a:pt x="12722" y="4253"/>
                  </a:lnTo>
                  <a:lnTo>
                    <a:pt x="12831" y="3817"/>
                  </a:lnTo>
                  <a:lnTo>
                    <a:pt x="12903" y="3453"/>
                  </a:lnTo>
                  <a:lnTo>
                    <a:pt x="12903" y="3054"/>
                  </a:lnTo>
                  <a:lnTo>
                    <a:pt x="12903" y="2727"/>
                  </a:lnTo>
                  <a:lnTo>
                    <a:pt x="12903" y="2399"/>
                  </a:lnTo>
                  <a:lnTo>
                    <a:pt x="12831" y="2072"/>
                  </a:lnTo>
                  <a:lnTo>
                    <a:pt x="12758" y="1782"/>
                  </a:lnTo>
                  <a:lnTo>
                    <a:pt x="12649" y="1527"/>
                  </a:lnTo>
                  <a:lnTo>
                    <a:pt x="12395" y="1018"/>
                  </a:lnTo>
                  <a:lnTo>
                    <a:pt x="12140" y="618"/>
                  </a:lnTo>
                  <a:lnTo>
                    <a:pt x="11849" y="291"/>
                  </a:lnTo>
                  <a:lnTo>
                    <a:pt x="11559" y="37"/>
                  </a:lnTo>
                  <a:lnTo>
                    <a:pt x="11486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7" name="Google Shape;2726;p11">
              <a:extLst>
                <a:ext uri="{FF2B5EF4-FFF2-40B4-BE49-F238E27FC236}">
                  <a16:creationId xmlns:a16="http://schemas.microsoft.com/office/drawing/2014/main" id="{092CD332-C61F-18C2-7C75-F9B4C7BA5836}"/>
                </a:ext>
              </a:extLst>
            </p:cNvPr>
            <p:cNvSpPr/>
            <p:nvPr/>
          </p:nvSpPr>
          <p:spPr>
            <a:xfrm>
              <a:off x="6147025" y="3401750"/>
              <a:ext cx="617900" cy="915025"/>
            </a:xfrm>
            <a:custGeom>
              <a:avLst/>
              <a:gdLst/>
              <a:ahLst/>
              <a:cxnLst/>
              <a:rect l="l" t="t" r="r" b="b"/>
              <a:pathLst>
                <a:path w="24716" h="36601" extrusionOk="0">
                  <a:moveTo>
                    <a:pt x="19772" y="1"/>
                  </a:moveTo>
                  <a:lnTo>
                    <a:pt x="19772" y="37"/>
                  </a:lnTo>
                  <a:lnTo>
                    <a:pt x="19845" y="146"/>
                  </a:lnTo>
                  <a:lnTo>
                    <a:pt x="19990" y="328"/>
                  </a:lnTo>
                  <a:lnTo>
                    <a:pt x="20426" y="800"/>
                  </a:lnTo>
                  <a:lnTo>
                    <a:pt x="20390" y="837"/>
                  </a:lnTo>
                  <a:lnTo>
                    <a:pt x="20426" y="873"/>
                  </a:lnTo>
                  <a:lnTo>
                    <a:pt x="20608" y="909"/>
                  </a:lnTo>
                  <a:lnTo>
                    <a:pt x="20681" y="946"/>
                  </a:lnTo>
                  <a:lnTo>
                    <a:pt x="20754" y="982"/>
                  </a:lnTo>
                  <a:lnTo>
                    <a:pt x="20754" y="1018"/>
                  </a:lnTo>
                  <a:lnTo>
                    <a:pt x="20681" y="1091"/>
                  </a:lnTo>
                  <a:lnTo>
                    <a:pt x="19954" y="1527"/>
                  </a:lnTo>
                  <a:lnTo>
                    <a:pt x="18573" y="2290"/>
                  </a:lnTo>
                  <a:lnTo>
                    <a:pt x="17592" y="2763"/>
                  </a:lnTo>
                  <a:lnTo>
                    <a:pt x="16574" y="3272"/>
                  </a:lnTo>
                  <a:lnTo>
                    <a:pt x="15483" y="3744"/>
                  </a:lnTo>
                  <a:lnTo>
                    <a:pt x="14320" y="4180"/>
                  </a:lnTo>
                  <a:lnTo>
                    <a:pt x="13121" y="4580"/>
                  </a:lnTo>
                  <a:lnTo>
                    <a:pt x="11922" y="4907"/>
                  </a:lnTo>
                  <a:lnTo>
                    <a:pt x="11304" y="5016"/>
                  </a:lnTo>
                  <a:lnTo>
                    <a:pt x="10686" y="5125"/>
                  </a:lnTo>
                  <a:lnTo>
                    <a:pt x="10068" y="5234"/>
                  </a:lnTo>
                  <a:lnTo>
                    <a:pt x="9486" y="5271"/>
                  </a:lnTo>
                  <a:lnTo>
                    <a:pt x="9377" y="5271"/>
                  </a:lnTo>
                  <a:lnTo>
                    <a:pt x="8687" y="5307"/>
                  </a:lnTo>
                  <a:lnTo>
                    <a:pt x="7851" y="5307"/>
                  </a:lnTo>
                  <a:lnTo>
                    <a:pt x="7669" y="5343"/>
                  </a:lnTo>
                  <a:lnTo>
                    <a:pt x="7342" y="5525"/>
                  </a:lnTo>
                  <a:lnTo>
                    <a:pt x="7160" y="5598"/>
                  </a:lnTo>
                  <a:lnTo>
                    <a:pt x="6942" y="5671"/>
                  </a:lnTo>
                  <a:lnTo>
                    <a:pt x="6760" y="5707"/>
                  </a:lnTo>
                  <a:lnTo>
                    <a:pt x="6542" y="5707"/>
                  </a:lnTo>
                  <a:lnTo>
                    <a:pt x="6179" y="6288"/>
                  </a:lnTo>
                  <a:lnTo>
                    <a:pt x="5779" y="6979"/>
                  </a:lnTo>
                  <a:lnTo>
                    <a:pt x="5416" y="7742"/>
                  </a:lnTo>
                  <a:lnTo>
                    <a:pt x="5052" y="8542"/>
                  </a:lnTo>
                  <a:lnTo>
                    <a:pt x="4725" y="9450"/>
                  </a:lnTo>
                  <a:lnTo>
                    <a:pt x="4362" y="10395"/>
                  </a:lnTo>
                  <a:lnTo>
                    <a:pt x="4035" y="11377"/>
                  </a:lnTo>
                  <a:lnTo>
                    <a:pt x="3707" y="12394"/>
                  </a:lnTo>
                  <a:lnTo>
                    <a:pt x="3090" y="14575"/>
                  </a:lnTo>
                  <a:lnTo>
                    <a:pt x="2508" y="16865"/>
                  </a:lnTo>
                  <a:lnTo>
                    <a:pt x="1999" y="19191"/>
                  </a:lnTo>
                  <a:lnTo>
                    <a:pt x="1527" y="21554"/>
                  </a:lnTo>
                  <a:lnTo>
                    <a:pt x="1127" y="23880"/>
                  </a:lnTo>
                  <a:lnTo>
                    <a:pt x="763" y="26097"/>
                  </a:lnTo>
                  <a:lnTo>
                    <a:pt x="473" y="28205"/>
                  </a:lnTo>
                  <a:lnTo>
                    <a:pt x="255" y="30095"/>
                  </a:lnTo>
                  <a:lnTo>
                    <a:pt x="109" y="31803"/>
                  </a:lnTo>
                  <a:lnTo>
                    <a:pt x="37" y="33221"/>
                  </a:lnTo>
                  <a:lnTo>
                    <a:pt x="0" y="34311"/>
                  </a:lnTo>
                  <a:lnTo>
                    <a:pt x="37" y="34711"/>
                  </a:lnTo>
                  <a:lnTo>
                    <a:pt x="73" y="35002"/>
                  </a:lnTo>
                  <a:lnTo>
                    <a:pt x="146" y="35183"/>
                  </a:lnTo>
                  <a:lnTo>
                    <a:pt x="218" y="35329"/>
                  </a:lnTo>
                  <a:lnTo>
                    <a:pt x="327" y="35474"/>
                  </a:lnTo>
                  <a:lnTo>
                    <a:pt x="473" y="35619"/>
                  </a:lnTo>
                  <a:lnTo>
                    <a:pt x="800" y="35837"/>
                  </a:lnTo>
                  <a:lnTo>
                    <a:pt x="1200" y="36056"/>
                  </a:lnTo>
                  <a:lnTo>
                    <a:pt x="1708" y="36201"/>
                  </a:lnTo>
                  <a:lnTo>
                    <a:pt x="2290" y="36346"/>
                  </a:lnTo>
                  <a:lnTo>
                    <a:pt x="2908" y="36419"/>
                  </a:lnTo>
                  <a:lnTo>
                    <a:pt x="3635" y="36492"/>
                  </a:lnTo>
                  <a:lnTo>
                    <a:pt x="4362" y="36564"/>
                  </a:lnTo>
                  <a:lnTo>
                    <a:pt x="5161" y="36564"/>
                  </a:lnTo>
                  <a:lnTo>
                    <a:pt x="6870" y="36601"/>
                  </a:lnTo>
                  <a:lnTo>
                    <a:pt x="8650" y="36528"/>
                  </a:lnTo>
                  <a:lnTo>
                    <a:pt x="10468" y="36455"/>
                  </a:lnTo>
                  <a:lnTo>
                    <a:pt x="12212" y="36419"/>
                  </a:lnTo>
                  <a:lnTo>
                    <a:pt x="13921" y="36346"/>
                  </a:lnTo>
                  <a:lnTo>
                    <a:pt x="15447" y="36346"/>
                  </a:lnTo>
                  <a:lnTo>
                    <a:pt x="16174" y="36383"/>
                  </a:lnTo>
                  <a:lnTo>
                    <a:pt x="16828" y="36419"/>
                  </a:lnTo>
                  <a:lnTo>
                    <a:pt x="17991" y="36528"/>
                  </a:lnTo>
                  <a:lnTo>
                    <a:pt x="19227" y="36564"/>
                  </a:lnTo>
                  <a:lnTo>
                    <a:pt x="20390" y="36564"/>
                  </a:lnTo>
                  <a:lnTo>
                    <a:pt x="20935" y="36528"/>
                  </a:lnTo>
                  <a:lnTo>
                    <a:pt x="21444" y="36492"/>
                  </a:lnTo>
                  <a:lnTo>
                    <a:pt x="21917" y="36419"/>
                  </a:lnTo>
                  <a:lnTo>
                    <a:pt x="22316" y="36310"/>
                  </a:lnTo>
                  <a:lnTo>
                    <a:pt x="22680" y="36201"/>
                  </a:lnTo>
                  <a:lnTo>
                    <a:pt x="22934" y="36056"/>
                  </a:lnTo>
                  <a:lnTo>
                    <a:pt x="23152" y="35874"/>
                  </a:lnTo>
                  <a:lnTo>
                    <a:pt x="23225" y="35765"/>
                  </a:lnTo>
                  <a:lnTo>
                    <a:pt x="23261" y="35692"/>
                  </a:lnTo>
                  <a:lnTo>
                    <a:pt x="23298" y="35547"/>
                  </a:lnTo>
                  <a:lnTo>
                    <a:pt x="23298" y="35438"/>
                  </a:lnTo>
                  <a:lnTo>
                    <a:pt x="23261" y="35292"/>
                  </a:lnTo>
                  <a:lnTo>
                    <a:pt x="23225" y="35147"/>
                  </a:lnTo>
                  <a:lnTo>
                    <a:pt x="23043" y="34783"/>
                  </a:lnTo>
                  <a:lnTo>
                    <a:pt x="22898" y="34420"/>
                  </a:lnTo>
                  <a:lnTo>
                    <a:pt x="22825" y="34057"/>
                  </a:lnTo>
                  <a:lnTo>
                    <a:pt x="22753" y="33729"/>
                  </a:lnTo>
                  <a:lnTo>
                    <a:pt x="22716" y="33439"/>
                  </a:lnTo>
                  <a:lnTo>
                    <a:pt x="22716" y="33148"/>
                  </a:lnTo>
                  <a:lnTo>
                    <a:pt x="22716" y="32857"/>
                  </a:lnTo>
                  <a:lnTo>
                    <a:pt x="22753" y="32566"/>
                  </a:lnTo>
                  <a:lnTo>
                    <a:pt x="22898" y="32058"/>
                  </a:lnTo>
                  <a:lnTo>
                    <a:pt x="23080" y="31549"/>
                  </a:lnTo>
                  <a:lnTo>
                    <a:pt x="23480" y="30567"/>
                  </a:lnTo>
                  <a:lnTo>
                    <a:pt x="23698" y="30058"/>
                  </a:lnTo>
                  <a:lnTo>
                    <a:pt x="23843" y="29513"/>
                  </a:lnTo>
                  <a:lnTo>
                    <a:pt x="23952" y="28932"/>
                  </a:lnTo>
                  <a:lnTo>
                    <a:pt x="23988" y="28605"/>
                  </a:lnTo>
                  <a:lnTo>
                    <a:pt x="23988" y="28278"/>
                  </a:lnTo>
                  <a:lnTo>
                    <a:pt x="23952" y="27914"/>
                  </a:lnTo>
                  <a:lnTo>
                    <a:pt x="23916" y="27514"/>
                  </a:lnTo>
                  <a:lnTo>
                    <a:pt x="23807" y="27114"/>
                  </a:lnTo>
                  <a:lnTo>
                    <a:pt x="23698" y="26678"/>
                  </a:lnTo>
                  <a:lnTo>
                    <a:pt x="23552" y="26242"/>
                  </a:lnTo>
                  <a:lnTo>
                    <a:pt x="23370" y="25733"/>
                  </a:lnTo>
                  <a:lnTo>
                    <a:pt x="23116" y="25225"/>
                  </a:lnTo>
                  <a:lnTo>
                    <a:pt x="22862" y="24679"/>
                  </a:lnTo>
                  <a:lnTo>
                    <a:pt x="22716" y="24352"/>
                  </a:lnTo>
                  <a:lnTo>
                    <a:pt x="22571" y="24025"/>
                  </a:lnTo>
                  <a:lnTo>
                    <a:pt x="22498" y="23698"/>
                  </a:lnTo>
                  <a:lnTo>
                    <a:pt x="22425" y="23335"/>
                  </a:lnTo>
                  <a:lnTo>
                    <a:pt x="22353" y="23007"/>
                  </a:lnTo>
                  <a:lnTo>
                    <a:pt x="22353" y="22644"/>
                  </a:lnTo>
                  <a:lnTo>
                    <a:pt x="22353" y="21917"/>
                  </a:lnTo>
                  <a:lnTo>
                    <a:pt x="22462" y="21154"/>
                  </a:lnTo>
                  <a:lnTo>
                    <a:pt x="22607" y="20391"/>
                  </a:lnTo>
                  <a:lnTo>
                    <a:pt x="22825" y="19555"/>
                  </a:lnTo>
                  <a:lnTo>
                    <a:pt x="23080" y="18682"/>
                  </a:lnTo>
                  <a:lnTo>
                    <a:pt x="23625" y="16829"/>
                  </a:lnTo>
                  <a:lnTo>
                    <a:pt x="23879" y="15811"/>
                  </a:lnTo>
                  <a:lnTo>
                    <a:pt x="24134" y="14757"/>
                  </a:lnTo>
                  <a:lnTo>
                    <a:pt x="24352" y="13667"/>
                  </a:lnTo>
                  <a:lnTo>
                    <a:pt x="24534" y="12504"/>
                  </a:lnTo>
                  <a:lnTo>
                    <a:pt x="24643" y="11268"/>
                  </a:lnTo>
                  <a:lnTo>
                    <a:pt x="24715" y="9959"/>
                  </a:lnTo>
                  <a:lnTo>
                    <a:pt x="24715" y="9305"/>
                  </a:lnTo>
                  <a:lnTo>
                    <a:pt x="24679" y="8578"/>
                  </a:lnTo>
                  <a:lnTo>
                    <a:pt x="24606" y="7851"/>
                  </a:lnTo>
                  <a:lnTo>
                    <a:pt x="24497" y="7124"/>
                  </a:lnTo>
                  <a:lnTo>
                    <a:pt x="24352" y="6361"/>
                  </a:lnTo>
                  <a:lnTo>
                    <a:pt x="24170" y="5598"/>
                  </a:lnTo>
                  <a:lnTo>
                    <a:pt x="23952" y="4798"/>
                  </a:lnTo>
                  <a:lnTo>
                    <a:pt x="23698" y="3962"/>
                  </a:lnTo>
                  <a:lnTo>
                    <a:pt x="23516" y="3490"/>
                  </a:lnTo>
                  <a:lnTo>
                    <a:pt x="23261" y="3090"/>
                  </a:lnTo>
                  <a:lnTo>
                    <a:pt x="22971" y="2690"/>
                  </a:lnTo>
                  <a:lnTo>
                    <a:pt x="22680" y="2327"/>
                  </a:lnTo>
                  <a:lnTo>
                    <a:pt x="22316" y="2000"/>
                  </a:lnTo>
                  <a:lnTo>
                    <a:pt x="21989" y="1672"/>
                  </a:lnTo>
                  <a:lnTo>
                    <a:pt x="21262" y="1091"/>
                  </a:lnTo>
                  <a:lnTo>
                    <a:pt x="21081" y="946"/>
                  </a:lnTo>
                  <a:lnTo>
                    <a:pt x="20826" y="728"/>
                  </a:lnTo>
                  <a:lnTo>
                    <a:pt x="20717" y="582"/>
                  </a:lnTo>
                  <a:lnTo>
                    <a:pt x="20681" y="618"/>
                  </a:lnTo>
                  <a:lnTo>
                    <a:pt x="20245" y="291"/>
                  </a:lnTo>
                  <a:lnTo>
                    <a:pt x="19954" y="73"/>
                  </a:lnTo>
                  <a:lnTo>
                    <a:pt x="19809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8" name="Google Shape;2727;p11">
              <a:extLst>
                <a:ext uri="{FF2B5EF4-FFF2-40B4-BE49-F238E27FC236}">
                  <a16:creationId xmlns:a16="http://schemas.microsoft.com/office/drawing/2014/main" id="{F8C6B055-01F7-89A5-C8DC-123AB12702F3}"/>
                </a:ext>
              </a:extLst>
            </p:cNvPr>
            <p:cNvSpPr/>
            <p:nvPr/>
          </p:nvSpPr>
          <p:spPr>
            <a:xfrm>
              <a:off x="6147025" y="3401750"/>
              <a:ext cx="617900" cy="915025"/>
            </a:xfrm>
            <a:custGeom>
              <a:avLst/>
              <a:gdLst/>
              <a:ahLst/>
              <a:cxnLst/>
              <a:rect l="l" t="t" r="r" b="b"/>
              <a:pathLst>
                <a:path w="24716" h="36601" fill="none" extrusionOk="0">
                  <a:moveTo>
                    <a:pt x="73" y="35002"/>
                  </a:moveTo>
                  <a:lnTo>
                    <a:pt x="73" y="35002"/>
                  </a:lnTo>
                  <a:lnTo>
                    <a:pt x="146" y="35183"/>
                  </a:lnTo>
                  <a:lnTo>
                    <a:pt x="218" y="35329"/>
                  </a:lnTo>
                  <a:lnTo>
                    <a:pt x="327" y="35474"/>
                  </a:lnTo>
                  <a:lnTo>
                    <a:pt x="473" y="35619"/>
                  </a:lnTo>
                  <a:lnTo>
                    <a:pt x="800" y="35837"/>
                  </a:lnTo>
                  <a:lnTo>
                    <a:pt x="1200" y="36056"/>
                  </a:lnTo>
                  <a:lnTo>
                    <a:pt x="1708" y="36201"/>
                  </a:lnTo>
                  <a:lnTo>
                    <a:pt x="2290" y="36346"/>
                  </a:lnTo>
                  <a:lnTo>
                    <a:pt x="2908" y="36419"/>
                  </a:lnTo>
                  <a:lnTo>
                    <a:pt x="3635" y="36492"/>
                  </a:lnTo>
                  <a:lnTo>
                    <a:pt x="4362" y="36564"/>
                  </a:lnTo>
                  <a:lnTo>
                    <a:pt x="5161" y="36564"/>
                  </a:lnTo>
                  <a:lnTo>
                    <a:pt x="6870" y="36601"/>
                  </a:lnTo>
                  <a:lnTo>
                    <a:pt x="8650" y="36528"/>
                  </a:lnTo>
                  <a:lnTo>
                    <a:pt x="10468" y="36455"/>
                  </a:lnTo>
                  <a:lnTo>
                    <a:pt x="10468" y="36455"/>
                  </a:lnTo>
                  <a:lnTo>
                    <a:pt x="12212" y="36419"/>
                  </a:lnTo>
                  <a:lnTo>
                    <a:pt x="13921" y="36346"/>
                  </a:lnTo>
                  <a:lnTo>
                    <a:pt x="15447" y="36346"/>
                  </a:lnTo>
                  <a:lnTo>
                    <a:pt x="16174" y="36383"/>
                  </a:lnTo>
                  <a:lnTo>
                    <a:pt x="16828" y="36419"/>
                  </a:lnTo>
                  <a:lnTo>
                    <a:pt x="16828" y="36419"/>
                  </a:lnTo>
                  <a:lnTo>
                    <a:pt x="17991" y="36528"/>
                  </a:lnTo>
                  <a:lnTo>
                    <a:pt x="19227" y="36564"/>
                  </a:lnTo>
                  <a:lnTo>
                    <a:pt x="20390" y="36564"/>
                  </a:lnTo>
                  <a:lnTo>
                    <a:pt x="20935" y="36528"/>
                  </a:lnTo>
                  <a:lnTo>
                    <a:pt x="21444" y="36492"/>
                  </a:lnTo>
                  <a:lnTo>
                    <a:pt x="21917" y="36419"/>
                  </a:lnTo>
                  <a:lnTo>
                    <a:pt x="22316" y="36310"/>
                  </a:lnTo>
                  <a:lnTo>
                    <a:pt x="22680" y="36201"/>
                  </a:lnTo>
                  <a:lnTo>
                    <a:pt x="22934" y="36056"/>
                  </a:lnTo>
                  <a:lnTo>
                    <a:pt x="23152" y="35874"/>
                  </a:lnTo>
                  <a:lnTo>
                    <a:pt x="23225" y="35765"/>
                  </a:lnTo>
                  <a:lnTo>
                    <a:pt x="23261" y="35692"/>
                  </a:lnTo>
                  <a:lnTo>
                    <a:pt x="23298" y="35547"/>
                  </a:lnTo>
                  <a:lnTo>
                    <a:pt x="23298" y="35438"/>
                  </a:lnTo>
                  <a:lnTo>
                    <a:pt x="23261" y="35292"/>
                  </a:lnTo>
                  <a:lnTo>
                    <a:pt x="23225" y="35147"/>
                  </a:lnTo>
                  <a:lnTo>
                    <a:pt x="23225" y="35147"/>
                  </a:lnTo>
                  <a:lnTo>
                    <a:pt x="23043" y="34783"/>
                  </a:lnTo>
                  <a:lnTo>
                    <a:pt x="22898" y="34420"/>
                  </a:lnTo>
                  <a:lnTo>
                    <a:pt x="22825" y="34057"/>
                  </a:lnTo>
                  <a:lnTo>
                    <a:pt x="22753" y="33729"/>
                  </a:lnTo>
                  <a:lnTo>
                    <a:pt x="22716" y="33439"/>
                  </a:lnTo>
                  <a:lnTo>
                    <a:pt x="22716" y="33148"/>
                  </a:lnTo>
                  <a:lnTo>
                    <a:pt x="22716" y="32857"/>
                  </a:lnTo>
                  <a:lnTo>
                    <a:pt x="22753" y="32566"/>
                  </a:lnTo>
                  <a:lnTo>
                    <a:pt x="22898" y="32058"/>
                  </a:lnTo>
                  <a:lnTo>
                    <a:pt x="23080" y="31549"/>
                  </a:lnTo>
                  <a:lnTo>
                    <a:pt x="23480" y="30567"/>
                  </a:lnTo>
                  <a:lnTo>
                    <a:pt x="23698" y="30058"/>
                  </a:lnTo>
                  <a:lnTo>
                    <a:pt x="23843" y="29513"/>
                  </a:lnTo>
                  <a:lnTo>
                    <a:pt x="23952" y="28932"/>
                  </a:lnTo>
                  <a:lnTo>
                    <a:pt x="23988" y="28605"/>
                  </a:lnTo>
                  <a:lnTo>
                    <a:pt x="23988" y="28278"/>
                  </a:lnTo>
                  <a:lnTo>
                    <a:pt x="23952" y="27914"/>
                  </a:lnTo>
                  <a:lnTo>
                    <a:pt x="23916" y="27514"/>
                  </a:lnTo>
                  <a:lnTo>
                    <a:pt x="23807" y="27114"/>
                  </a:lnTo>
                  <a:lnTo>
                    <a:pt x="23698" y="26678"/>
                  </a:lnTo>
                  <a:lnTo>
                    <a:pt x="23552" y="26242"/>
                  </a:lnTo>
                  <a:lnTo>
                    <a:pt x="23370" y="25733"/>
                  </a:lnTo>
                  <a:lnTo>
                    <a:pt x="23116" y="25225"/>
                  </a:lnTo>
                  <a:lnTo>
                    <a:pt x="22862" y="24679"/>
                  </a:lnTo>
                  <a:lnTo>
                    <a:pt x="22862" y="24679"/>
                  </a:lnTo>
                  <a:lnTo>
                    <a:pt x="22716" y="24352"/>
                  </a:lnTo>
                  <a:lnTo>
                    <a:pt x="22571" y="24025"/>
                  </a:lnTo>
                  <a:lnTo>
                    <a:pt x="22498" y="23698"/>
                  </a:lnTo>
                  <a:lnTo>
                    <a:pt x="22425" y="23335"/>
                  </a:lnTo>
                  <a:lnTo>
                    <a:pt x="22353" y="23007"/>
                  </a:lnTo>
                  <a:lnTo>
                    <a:pt x="22353" y="22644"/>
                  </a:lnTo>
                  <a:lnTo>
                    <a:pt x="22353" y="21917"/>
                  </a:lnTo>
                  <a:lnTo>
                    <a:pt x="22462" y="21154"/>
                  </a:lnTo>
                  <a:lnTo>
                    <a:pt x="22607" y="20391"/>
                  </a:lnTo>
                  <a:lnTo>
                    <a:pt x="22825" y="19555"/>
                  </a:lnTo>
                  <a:lnTo>
                    <a:pt x="23080" y="18682"/>
                  </a:lnTo>
                  <a:lnTo>
                    <a:pt x="23625" y="16829"/>
                  </a:lnTo>
                  <a:lnTo>
                    <a:pt x="23879" y="15811"/>
                  </a:lnTo>
                  <a:lnTo>
                    <a:pt x="24134" y="14757"/>
                  </a:lnTo>
                  <a:lnTo>
                    <a:pt x="24352" y="13667"/>
                  </a:lnTo>
                  <a:lnTo>
                    <a:pt x="24534" y="12504"/>
                  </a:lnTo>
                  <a:lnTo>
                    <a:pt x="24643" y="11268"/>
                  </a:lnTo>
                  <a:lnTo>
                    <a:pt x="24715" y="9959"/>
                  </a:lnTo>
                  <a:lnTo>
                    <a:pt x="24715" y="9959"/>
                  </a:lnTo>
                  <a:lnTo>
                    <a:pt x="24715" y="9305"/>
                  </a:lnTo>
                  <a:lnTo>
                    <a:pt x="24679" y="8578"/>
                  </a:lnTo>
                  <a:lnTo>
                    <a:pt x="24606" y="7851"/>
                  </a:lnTo>
                  <a:lnTo>
                    <a:pt x="24497" y="7124"/>
                  </a:lnTo>
                  <a:lnTo>
                    <a:pt x="24352" y="6361"/>
                  </a:lnTo>
                  <a:lnTo>
                    <a:pt x="24170" y="5598"/>
                  </a:lnTo>
                  <a:lnTo>
                    <a:pt x="23952" y="4798"/>
                  </a:lnTo>
                  <a:lnTo>
                    <a:pt x="23698" y="3962"/>
                  </a:lnTo>
                  <a:lnTo>
                    <a:pt x="23698" y="3962"/>
                  </a:lnTo>
                  <a:lnTo>
                    <a:pt x="23516" y="3490"/>
                  </a:lnTo>
                  <a:lnTo>
                    <a:pt x="23261" y="3090"/>
                  </a:lnTo>
                  <a:lnTo>
                    <a:pt x="22971" y="2690"/>
                  </a:lnTo>
                  <a:lnTo>
                    <a:pt x="22680" y="2327"/>
                  </a:lnTo>
                  <a:lnTo>
                    <a:pt x="22316" y="2000"/>
                  </a:lnTo>
                  <a:lnTo>
                    <a:pt x="21989" y="1672"/>
                  </a:lnTo>
                  <a:lnTo>
                    <a:pt x="21262" y="1091"/>
                  </a:lnTo>
                  <a:lnTo>
                    <a:pt x="21262" y="1091"/>
                  </a:lnTo>
                  <a:lnTo>
                    <a:pt x="21081" y="946"/>
                  </a:lnTo>
                  <a:lnTo>
                    <a:pt x="21081" y="946"/>
                  </a:lnTo>
                  <a:lnTo>
                    <a:pt x="20826" y="728"/>
                  </a:lnTo>
                  <a:lnTo>
                    <a:pt x="20826" y="728"/>
                  </a:lnTo>
                  <a:lnTo>
                    <a:pt x="20826" y="728"/>
                  </a:lnTo>
                  <a:lnTo>
                    <a:pt x="20717" y="582"/>
                  </a:lnTo>
                  <a:lnTo>
                    <a:pt x="20717" y="582"/>
                  </a:lnTo>
                  <a:lnTo>
                    <a:pt x="20681" y="618"/>
                  </a:lnTo>
                  <a:lnTo>
                    <a:pt x="20681" y="618"/>
                  </a:lnTo>
                  <a:lnTo>
                    <a:pt x="20245" y="291"/>
                  </a:lnTo>
                  <a:lnTo>
                    <a:pt x="19954" y="73"/>
                  </a:lnTo>
                  <a:lnTo>
                    <a:pt x="19809" y="1"/>
                  </a:lnTo>
                  <a:lnTo>
                    <a:pt x="19772" y="1"/>
                  </a:lnTo>
                  <a:lnTo>
                    <a:pt x="19772" y="37"/>
                  </a:lnTo>
                  <a:lnTo>
                    <a:pt x="19845" y="146"/>
                  </a:lnTo>
                  <a:lnTo>
                    <a:pt x="19990" y="328"/>
                  </a:lnTo>
                  <a:lnTo>
                    <a:pt x="20426" y="800"/>
                  </a:lnTo>
                  <a:lnTo>
                    <a:pt x="20426" y="800"/>
                  </a:lnTo>
                  <a:lnTo>
                    <a:pt x="20390" y="837"/>
                  </a:lnTo>
                  <a:lnTo>
                    <a:pt x="20426" y="873"/>
                  </a:lnTo>
                  <a:lnTo>
                    <a:pt x="20608" y="909"/>
                  </a:lnTo>
                  <a:lnTo>
                    <a:pt x="20681" y="946"/>
                  </a:lnTo>
                  <a:lnTo>
                    <a:pt x="20754" y="982"/>
                  </a:lnTo>
                  <a:lnTo>
                    <a:pt x="20754" y="1018"/>
                  </a:lnTo>
                  <a:lnTo>
                    <a:pt x="20681" y="1091"/>
                  </a:lnTo>
                  <a:lnTo>
                    <a:pt x="20681" y="1091"/>
                  </a:lnTo>
                  <a:lnTo>
                    <a:pt x="20681" y="1091"/>
                  </a:lnTo>
                  <a:lnTo>
                    <a:pt x="19954" y="1527"/>
                  </a:lnTo>
                  <a:lnTo>
                    <a:pt x="19954" y="1527"/>
                  </a:lnTo>
                  <a:lnTo>
                    <a:pt x="18573" y="2290"/>
                  </a:lnTo>
                  <a:lnTo>
                    <a:pt x="18573" y="2290"/>
                  </a:lnTo>
                  <a:lnTo>
                    <a:pt x="17592" y="2763"/>
                  </a:lnTo>
                  <a:lnTo>
                    <a:pt x="16574" y="3272"/>
                  </a:lnTo>
                  <a:lnTo>
                    <a:pt x="15483" y="3744"/>
                  </a:lnTo>
                  <a:lnTo>
                    <a:pt x="14320" y="4180"/>
                  </a:lnTo>
                  <a:lnTo>
                    <a:pt x="13121" y="4580"/>
                  </a:lnTo>
                  <a:lnTo>
                    <a:pt x="11922" y="4907"/>
                  </a:lnTo>
                  <a:lnTo>
                    <a:pt x="11304" y="5016"/>
                  </a:lnTo>
                  <a:lnTo>
                    <a:pt x="10686" y="5125"/>
                  </a:lnTo>
                  <a:lnTo>
                    <a:pt x="10068" y="5234"/>
                  </a:lnTo>
                  <a:lnTo>
                    <a:pt x="9486" y="5271"/>
                  </a:lnTo>
                  <a:lnTo>
                    <a:pt x="9486" y="5271"/>
                  </a:lnTo>
                  <a:lnTo>
                    <a:pt x="9377" y="5271"/>
                  </a:lnTo>
                  <a:lnTo>
                    <a:pt x="9377" y="5271"/>
                  </a:lnTo>
                  <a:lnTo>
                    <a:pt x="8687" y="5307"/>
                  </a:lnTo>
                  <a:lnTo>
                    <a:pt x="8033" y="5307"/>
                  </a:lnTo>
                  <a:lnTo>
                    <a:pt x="8033" y="5307"/>
                  </a:lnTo>
                  <a:lnTo>
                    <a:pt x="7851" y="5307"/>
                  </a:lnTo>
                  <a:lnTo>
                    <a:pt x="7669" y="5343"/>
                  </a:lnTo>
                  <a:lnTo>
                    <a:pt x="7342" y="5525"/>
                  </a:lnTo>
                  <a:lnTo>
                    <a:pt x="7342" y="5525"/>
                  </a:lnTo>
                  <a:lnTo>
                    <a:pt x="7160" y="5598"/>
                  </a:lnTo>
                  <a:lnTo>
                    <a:pt x="6942" y="5671"/>
                  </a:lnTo>
                  <a:lnTo>
                    <a:pt x="6760" y="5707"/>
                  </a:lnTo>
                  <a:lnTo>
                    <a:pt x="6542" y="5707"/>
                  </a:lnTo>
                  <a:lnTo>
                    <a:pt x="6542" y="5707"/>
                  </a:lnTo>
                  <a:lnTo>
                    <a:pt x="6179" y="6288"/>
                  </a:lnTo>
                  <a:lnTo>
                    <a:pt x="5779" y="6979"/>
                  </a:lnTo>
                  <a:lnTo>
                    <a:pt x="5416" y="7742"/>
                  </a:lnTo>
                  <a:lnTo>
                    <a:pt x="5052" y="8542"/>
                  </a:lnTo>
                  <a:lnTo>
                    <a:pt x="4725" y="9450"/>
                  </a:lnTo>
                  <a:lnTo>
                    <a:pt x="4362" y="10395"/>
                  </a:lnTo>
                  <a:lnTo>
                    <a:pt x="4035" y="11377"/>
                  </a:lnTo>
                  <a:lnTo>
                    <a:pt x="3707" y="12394"/>
                  </a:lnTo>
                  <a:lnTo>
                    <a:pt x="3090" y="14575"/>
                  </a:lnTo>
                  <a:lnTo>
                    <a:pt x="2508" y="16865"/>
                  </a:lnTo>
                  <a:lnTo>
                    <a:pt x="1999" y="19191"/>
                  </a:lnTo>
                  <a:lnTo>
                    <a:pt x="1527" y="21554"/>
                  </a:lnTo>
                  <a:lnTo>
                    <a:pt x="1127" y="23880"/>
                  </a:lnTo>
                  <a:lnTo>
                    <a:pt x="763" y="26097"/>
                  </a:lnTo>
                  <a:lnTo>
                    <a:pt x="473" y="28205"/>
                  </a:lnTo>
                  <a:lnTo>
                    <a:pt x="255" y="30095"/>
                  </a:lnTo>
                  <a:lnTo>
                    <a:pt x="109" y="31803"/>
                  </a:lnTo>
                  <a:lnTo>
                    <a:pt x="37" y="33221"/>
                  </a:lnTo>
                  <a:lnTo>
                    <a:pt x="0" y="34311"/>
                  </a:lnTo>
                  <a:lnTo>
                    <a:pt x="37" y="34711"/>
                  </a:lnTo>
                  <a:lnTo>
                    <a:pt x="73" y="3500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9" name="Google Shape;2728;p11">
              <a:extLst>
                <a:ext uri="{FF2B5EF4-FFF2-40B4-BE49-F238E27FC236}">
                  <a16:creationId xmlns:a16="http://schemas.microsoft.com/office/drawing/2014/main" id="{0814BBFA-0927-9CD1-63B9-F162DF9A15C3}"/>
                </a:ext>
              </a:extLst>
            </p:cNvPr>
            <p:cNvSpPr/>
            <p:nvPr/>
          </p:nvSpPr>
          <p:spPr>
            <a:xfrm>
              <a:off x="6392350" y="3519875"/>
              <a:ext cx="375300" cy="176300"/>
            </a:xfrm>
            <a:custGeom>
              <a:avLst/>
              <a:gdLst/>
              <a:ahLst/>
              <a:cxnLst/>
              <a:rect l="l" t="t" r="r" b="b"/>
              <a:pathLst>
                <a:path w="15012" h="7052" extrusionOk="0">
                  <a:moveTo>
                    <a:pt x="909" y="1"/>
                  </a:moveTo>
                  <a:lnTo>
                    <a:pt x="582" y="219"/>
                  </a:lnTo>
                  <a:lnTo>
                    <a:pt x="400" y="328"/>
                  </a:lnTo>
                  <a:lnTo>
                    <a:pt x="1" y="509"/>
                  </a:lnTo>
                  <a:lnTo>
                    <a:pt x="727" y="437"/>
                  </a:lnTo>
                  <a:lnTo>
                    <a:pt x="1418" y="328"/>
                  </a:lnTo>
                  <a:lnTo>
                    <a:pt x="1164" y="182"/>
                  </a:lnTo>
                  <a:lnTo>
                    <a:pt x="909" y="1"/>
                  </a:lnTo>
                  <a:close/>
                  <a:moveTo>
                    <a:pt x="14684" y="1200"/>
                  </a:moveTo>
                  <a:lnTo>
                    <a:pt x="14502" y="1418"/>
                  </a:lnTo>
                  <a:lnTo>
                    <a:pt x="14684" y="2436"/>
                  </a:lnTo>
                  <a:lnTo>
                    <a:pt x="14830" y="3381"/>
                  </a:lnTo>
                  <a:lnTo>
                    <a:pt x="14902" y="4326"/>
                  </a:lnTo>
                  <a:lnTo>
                    <a:pt x="14902" y="5234"/>
                  </a:lnTo>
                  <a:lnTo>
                    <a:pt x="14866" y="6143"/>
                  </a:lnTo>
                  <a:lnTo>
                    <a:pt x="14793" y="7052"/>
                  </a:lnTo>
                  <a:lnTo>
                    <a:pt x="14902" y="6397"/>
                  </a:lnTo>
                  <a:lnTo>
                    <a:pt x="14939" y="5779"/>
                  </a:lnTo>
                  <a:lnTo>
                    <a:pt x="14975" y="5089"/>
                  </a:lnTo>
                  <a:lnTo>
                    <a:pt x="15011" y="4435"/>
                  </a:lnTo>
                  <a:lnTo>
                    <a:pt x="14975" y="3708"/>
                  </a:lnTo>
                  <a:lnTo>
                    <a:pt x="14939" y="3017"/>
                  </a:lnTo>
                  <a:lnTo>
                    <a:pt x="14866" y="2254"/>
                  </a:lnTo>
                  <a:lnTo>
                    <a:pt x="14757" y="1491"/>
                  </a:lnTo>
                  <a:lnTo>
                    <a:pt x="14684" y="1200"/>
                  </a:lnTo>
                  <a:close/>
                </a:path>
              </a:pathLst>
            </a:custGeom>
            <a:solidFill>
              <a:srgbClr val="2222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0" name="Google Shape;2729;p11">
              <a:extLst>
                <a:ext uri="{FF2B5EF4-FFF2-40B4-BE49-F238E27FC236}">
                  <a16:creationId xmlns:a16="http://schemas.microsoft.com/office/drawing/2014/main" id="{FF0BB08F-03A4-D3CA-D121-41B9F8ECD742}"/>
                </a:ext>
              </a:extLst>
            </p:cNvPr>
            <p:cNvSpPr/>
            <p:nvPr/>
          </p:nvSpPr>
          <p:spPr>
            <a:xfrm>
              <a:off x="6754900" y="3549850"/>
              <a:ext cx="12750" cy="146325"/>
            </a:xfrm>
            <a:custGeom>
              <a:avLst/>
              <a:gdLst/>
              <a:ahLst/>
              <a:cxnLst/>
              <a:rect l="l" t="t" r="r" b="b"/>
              <a:pathLst>
                <a:path w="510" h="5853" fill="none" extrusionOk="0">
                  <a:moveTo>
                    <a:pt x="182" y="1"/>
                  </a:moveTo>
                  <a:lnTo>
                    <a:pt x="182" y="1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182" y="1237"/>
                  </a:lnTo>
                  <a:lnTo>
                    <a:pt x="328" y="2182"/>
                  </a:lnTo>
                  <a:lnTo>
                    <a:pt x="400" y="3127"/>
                  </a:lnTo>
                  <a:lnTo>
                    <a:pt x="400" y="4035"/>
                  </a:lnTo>
                  <a:lnTo>
                    <a:pt x="400" y="4035"/>
                  </a:lnTo>
                  <a:lnTo>
                    <a:pt x="364" y="4944"/>
                  </a:lnTo>
                  <a:lnTo>
                    <a:pt x="291" y="5853"/>
                  </a:lnTo>
                  <a:lnTo>
                    <a:pt x="291" y="5853"/>
                  </a:lnTo>
                  <a:lnTo>
                    <a:pt x="400" y="5198"/>
                  </a:lnTo>
                  <a:lnTo>
                    <a:pt x="437" y="4580"/>
                  </a:lnTo>
                  <a:lnTo>
                    <a:pt x="473" y="3890"/>
                  </a:lnTo>
                  <a:lnTo>
                    <a:pt x="509" y="3236"/>
                  </a:lnTo>
                  <a:lnTo>
                    <a:pt x="473" y="2509"/>
                  </a:lnTo>
                  <a:lnTo>
                    <a:pt x="437" y="1818"/>
                  </a:lnTo>
                  <a:lnTo>
                    <a:pt x="364" y="1055"/>
                  </a:lnTo>
                  <a:lnTo>
                    <a:pt x="255" y="292"/>
                  </a:lnTo>
                  <a:lnTo>
                    <a:pt x="255" y="292"/>
                  </a:lnTo>
                  <a:lnTo>
                    <a:pt x="18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1" name="Google Shape;2730;p11">
              <a:extLst>
                <a:ext uri="{FF2B5EF4-FFF2-40B4-BE49-F238E27FC236}">
                  <a16:creationId xmlns:a16="http://schemas.microsoft.com/office/drawing/2014/main" id="{29A938B9-D028-7654-906E-3B5CA1C5058C}"/>
                </a:ext>
              </a:extLst>
            </p:cNvPr>
            <p:cNvSpPr/>
            <p:nvPr/>
          </p:nvSpPr>
          <p:spPr>
            <a:xfrm>
              <a:off x="6392350" y="3519875"/>
              <a:ext cx="35450" cy="12750"/>
            </a:xfrm>
            <a:custGeom>
              <a:avLst/>
              <a:gdLst/>
              <a:ahLst/>
              <a:cxnLst/>
              <a:rect l="l" t="t" r="r" b="b"/>
              <a:pathLst>
                <a:path w="1418" h="510" fill="none" extrusionOk="0">
                  <a:moveTo>
                    <a:pt x="909" y="1"/>
                  </a:moveTo>
                  <a:lnTo>
                    <a:pt x="582" y="219"/>
                  </a:lnTo>
                  <a:lnTo>
                    <a:pt x="400" y="328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727" y="437"/>
                  </a:lnTo>
                  <a:lnTo>
                    <a:pt x="1418" y="328"/>
                  </a:lnTo>
                  <a:lnTo>
                    <a:pt x="1418" y="328"/>
                  </a:lnTo>
                  <a:lnTo>
                    <a:pt x="1164" y="182"/>
                  </a:lnTo>
                  <a:lnTo>
                    <a:pt x="909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2" name="Google Shape;2731;p11">
              <a:extLst>
                <a:ext uri="{FF2B5EF4-FFF2-40B4-BE49-F238E27FC236}">
                  <a16:creationId xmlns:a16="http://schemas.microsoft.com/office/drawing/2014/main" id="{2DD60CFC-D78C-F639-2975-F0E86BCD5944}"/>
                </a:ext>
              </a:extLst>
            </p:cNvPr>
            <p:cNvSpPr/>
            <p:nvPr/>
          </p:nvSpPr>
          <p:spPr>
            <a:xfrm>
              <a:off x="6328750" y="3528050"/>
              <a:ext cx="436175" cy="186300"/>
            </a:xfrm>
            <a:custGeom>
              <a:avLst/>
              <a:gdLst/>
              <a:ahLst/>
              <a:cxnLst/>
              <a:rect l="l" t="t" r="r" b="b"/>
              <a:pathLst>
                <a:path w="17447" h="7452" extrusionOk="0">
                  <a:moveTo>
                    <a:pt x="3962" y="1"/>
                  </a:moveTo>
                  <a:lnTo>
                    <a:pt x="3271" y="110"/>
                  </a:lnTo>
                  <a:lnTo>
                    <a:pt x="2545" y="182"/>
                  </a:lnTo>
                  <a:lnTo>
                    <a:pt x="0" y="1527"/>
                  </a:lnTo>
                  <a:lnTo>
                    <a:pt x="291" y="1782"/>
                  </a:lnTo>
                  <a:lnTo>
                    <a:pt x="1091" y="2436"/>
                  </a:lnTo>
                  <a:lnTo>
                    <a:pt x="1709" y="2872"/>
                  </a:lnTo>
                  <a:lnTo>
                    <a:pt x="2435" y="3381"/>
                  </a:lnTo>
                  <a:lnTo>
                    <a:pt x="3235" y="3926"/>
                  </a:lnTo>
                  <a:lnTo>
                    <a:pt x="4180" y="4471"/>
                  </a:lnTo>
                  <a:lnTo>
                    <a:pt x="5198" y="5053"/>
                  </a:lnTo>
                  <a:lnTo>
                    <a:pt x="6324" y="5562"/>
                  </a:lnTo>
                  <a:lnTo>
                    <a:pt x="7524" y="6070"/>
                  </a:lnTo>
                  <a:lnTo>
                    <a:pt x="8796" y="6543"/>
                  </a:lnTo>
                  <a:lnTo>
                    <a:pt x="9487" y="6725"/>
                  </a:lnTo>
                  <a:lnTo>
                    <a:pt x="10141" y="6906"/>
                  </a:lnTo>
                  <a:lnTo>
                    <a:pt x="10868" y="7088"/>
                  </a:lnTo>
                  <a:lnTo>
                    <a:pt x="11595" y="7197"/>
                  </a:lnTo>
                  <a:lnTo>
                    <a:pt x="12322" y="7306"/>
                  </a:lnTo>
                  <a:lnTo>
                    <a:pt x="13085" y="7379"/>
                  </a:lnTo>
                  <a:lnTo>
                    <a:pt x="13848" y="7452"/>
                  </a:lnTo>
                  <a:lnTo>
                    <a:pt x="15266" y="7452"/>
                  </a:lnTo>
                  <a:lnTo>
                    <a:pt x="15920" y="7415"/>
                  </a:lnTo>
                  <a:lnTo>
                    <a:pt x="16574" y="7342"/>
                  </a:lnTo>
                  <a:lnTo>
                    <a:pt x="17265" y="7270"/>
                  </a:lnTo>
                  <a:lnTo>
                    <a:pt x="17337" y="6725"/>
                  </a:lnTo>
                  <a:lnTo>
                    <a:pt x="17410" y="5816"/>
                  </a:lnTo>
                  <a:lnTo>
                    <a:pt x="17446" y="4907"/>
                  </a:lnTo>
                  <a:lnTo>
                    <a:pt x="17446" y="3999"/>
                  </a:lnTo>
                  <a:lnTo>
                    <a:pt x="17374" y="3054"/>
                  </a:lnTo>
                  <a:lnTo>
                    <a:pt x="17228" y="2109"/>
                  </a:lnTo>
                  <a:lnTo>
                    <a:pt x="17046" y="1091"/>
                  </a:lnTo>
                  <a:lnTo>
                    <a:pt x="16719" y="1345"/>
                  </a:lnTo>
                  <a:lnTo>
                    <a:pt x="16356" y="1600"/>
                  </a:lnTo>
                  <a:lnTo>
                    <a:pt x="15920" y="1818"/>
                  </a:lnTo>
                  <a:lnTo>
                    <a:pt x="15447" y="2072"/>
                  </a:lnTo>
                  <a:lnTo>
                    <a:pt x="14357" y="2545"/>
                  </a:lnTo>
                  <a:lnTo>
                    <a:pt x="13157" y="2981"/>
                  </a:lnTo>
                  <a:lnTo>
                    <a:pt x="11958" y="3344"/>
                  </a:lnTo>
                  <a:lnTo>
                    <a:pt x="10795" y="3635"/>
                  </a:lnTo>
                  <a:lnTo>
                    <a:pt x="9777" y="3817"/>
                  </a:lnTo>
                  <a:lnTo>
                    <a:pt x="9305" y="3890"/>
                  </a:lnTo>
                  <a:lnTo>
                    <a:pt x="8687" y="3890"/>
                  </a:lnTo>
                  <a:lnTo>
                    <a:pt x="8469" y="3853"/>
                  </a:lnTo>
                  <a:lnTo>
                    <a:pt x="8287" y="3781"/>
                  </a:lnTo>
                  <a:lnTo>
                    <a:pt x="8178" y="3708"/>
                  </a:lnTo>
                  <a:lnTo>
                    <a:pt x="8105" y="3563"/>
                  </a:lnTo>
                  <a:lnTo>
                    <a:pt x="8069" y="3308"/>
                  </a:lnTo>
                  <a:lnTo>
                    <a:pt x="8033" y="2981"/>
                  </a:lnTo>
                  <a:lnTo>
                    <a:pt x="8033" y="2581"/>
                  </a:lnTo>
                  <a:lnTo>
                    <a:pt x="8069" y="1527"/>
                  </a:lnTo>
                  <a:lnTo>
                    <a:pt x="8142" y="291"/>
                  </a:lnTo>
                  <a:lnTo>
                    <a:pt x="7269" y="437"/>
                  </a:lnTo>
                  <a:lnTo>
                    <a:pt x="6397" y="473"/>
                  </a:lnTo>
                  <a:lnTo>
                    <a:pt x="5743" y="437"/>
                  </a:lnTo>
                  <a:lnTo>
                    <a:pt x="5125" y="364"/>
                  </a:lnTo>
                  <a:lnTo>
                    <a:pt x="4544" y="219"/>
                  </a:lnTo>
                  <a:lnTo>
                    <a:pt x="3962" y="1"/>
                  </a:lnTo>
                  <a:close/>
                </a:path>
              </a:pathLst>
            </a:custGeom>
            <a:solidFill>
              <a:srgbClr val="06061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3" name="Google Shape;2732;p11">
              <a:extLst>
                <a:ext uri="{FF2B5EF4-FFF2-40B4-BE49-F238E27FC236}">
                  <a16:creationId xmlns:a16="http://schemas.microsoft.com/office/drawing/2014/main" id="{C7102EFC-9177-3C84-9DE6-568A8DF2ABF1}"/>
                </a:ext>
              </a:extLst>
            </p:cNvPr>
            <p:cNvSpPr/>
            <p:nvPr/>
          </p:nvSpPr>
          <p:spPr>
            <a:xfrm>
              <a:off x="6328750" y="3528050"/>
              <a:ext cx="436175" cy="186300"/>
            </a:xfrm>
            <a:custGeom>
              <a:avLst/>
              <a:gdLst/>
              <a:ahLst/>
              <a:cxnLst/>
              <a:rect l="l" t="t" r="r" b="b"/>
              <a:pathLst>
                <a:path w="17447" h="7452" fill="none" extrusionOk="0">
                  <a:moveTo>
                    <a:pt x="3962" y="1"/>
                  </a:moveTo>
                  <a:lnTo>
                    <a:pt x="3962" y="1"/>
                  </a:lnTo>
                  <a:lnTo>
                    <a:pt x="3271" y="110"/>
                  </a:lnTo>
                  <a:lnTo>
                    <a:pt x="2545" y="182"/>
                  </a:lnTo>
                  <a:lnTo>
                    <a:pt x="0" y="1527"/>
                  </a:lnTo>
                  <a:lnTo>
                    <a:pt x="0" y="1527"/>
                  </a:lnTo>
                  <a:lnTo>
                    <a:pt x="291" y="1782"/>
                  </a:lnTo>
                  <a:lnTo>
                    <a:pt x="1091" y="2436"/>
                  </a:lnTo>
                  <a:lnTo>
                    <a:pt x="1709" y="2872"/>
                  </a:lnTo>
                  <a:lnTo>
                    <a:pt x="2435" y="3381"/>
                  </a:lnTo>
                  <a:lnTo>
                    <a:pt x="3235" y="3926"/>
                  </a:lnTo>
                  <a:lnTo>
                    <a:pt x="4180" y="4471"/>
                  </a:lnTo>
                  <a:lnTo>
                    <a:pt x="5198" y="5053"/>
                  </a:lnTo>
                  <a:lnTo>
                    <a:pt x="6324" y="5562"/>
                  </a:lnTo>
                  <a:lnTo>
                    <a:pt x="7524" y="6070"/>
                  </a:lnTo>
                  <a:lnTo>
                    <a:pt x="8796" y="6543"/>
                  </a:lnTo>
                  <a:lnTo>
                    <a:pt x="9487" y="6725"/>
                  </a:lnTo>
                  <a:lnTo>
                    <a:pt x="10141" y="6906"/>
                  </a:lnTo>
                  <a:lnTo>
                    <a:pt x="10868" y="7088"/>
                  </a:lnTo>
                  <a:lnTo>
                    <a:pt x="11595" y="7197"/>
                  </a:lnTo>
                  <a:lnTo>
                    <a:pt x="12322" y="7306"/>
                  </a:lnTo>
                  <a:lnTo>
                    <a:pt x="13085" y="7379"/>
                  </a:lnTo>
                  <a:lnTo>
                    <a:pt x="13848" y="7452"/>
                  </a:lnTo>
                  <a:lnTo>
                    <a:pt x="14611" y="7452"/>
                  </a:lnTo>
                  <a:lnTo>
                    <a:pt x="14611" y="7452"/>
                  </a:lnTo>
                  <a:lnTo>
                    <a:pt x="15266" y="7452"/>
                  </a:lnTo>
                  <a:lnTo>
                    <a:pt x="15920" y="7415"/>
                  </a:lnTo>
                  <a:lnTo>
                    <a:pt x="16574" y="7342"/>
                  </a:lnTo>
                  <a:lnTo>
                    <a:pt x="17265" y="7270"/>
                  </a:lnTo>
                  <a:lnTo>
                    <a:pt x="17265" y="7270"/>
                  </a:lnTo>
                  <a:lnTo>
                    <a:pt x="17337" y="6725"/>
                  </a:lnTo>
                  <a:lnTo>
                    <a:pt x="17337" y="6725"/>
                  </a:lnTo>
                  <a:lnTo>
                    <a:pt x="17410" y="5816"/>
                  </a:lnTo>
                  <a:lnTo>
                    <a:pt x="17446" y="4907"/>
                  </a:lnTo>
                  <a:lnTo>
                    <a:pt x="17446" y="4907"/>
                  </a:lnTo>
                  <a:lnTo>
                    <a:pt x="17446" y="3999"/>
                  </a:lnTo>
                  <a:lnTo>
                    <a:pt x="17374" y="3054"/>
                  </a:lnTo>
                  <a:lnTo>
                    <a:pt x="17228" y="2109"/>
                  </a:lnTo>
                  <a:lnTo>
                    <a:pt x="17046" y="1091"/>
                  </a:lnTo>
                  <a:lnTo>
                    <a:pt x="17046" y="1091"/>
                  </a:lnTo>
                  <a:lnTo>
                    <a:pt x="16719" y="1345"/>
                  </a:lnTo>
                  <a:lnTo>
                    <a:pt x="16356" y="1600"/>
                  </a:lnTo>
                  <a:lnTo>
                    <a:pt x="15920" y="1818"/>
                  </a:lnTo>
                  <a:lnTo>
                    <a:pt x="15447" y="2072"/>
                  </a:lnTo>
                  <a:lnTo>
                    <a:pt x="14357" y="2545"/>
                  </a:lnTo>
                  <a:lnTo>
                    <a:pt x="13157" y="2981"/>
                  </a:lnTo>
                  <a:lnTo>
                    <a:pt x="11958" y="3344"/>
                  </a:lnTo>
                  <a:lnTo>
                    <a:pt x="10795" y="3635"/>
                  </a:lnTo>
                  <a:lnTo>
                    <a:pt x="9777" y="3817"/>
                  </a:lnTo>
                  <a:lnTo>
                    <a:pt x="9305" y="3890"/>
                  </a:lnTo>
                  <a:lnTo>
                    <a:pt x="8941" y="3890"/>
                  </a:lnTo>
                  <a:lnTo>
                    <a:pt x="8941" y="3890"/>
                  </a:lnTo>
                  <a:lnTo>
                    <a:pt x="8687" y="3890"/>
                  </a:lnTo>
                  <a:lnTo>
                    <a:pt x="8469" y="3853"/>
                  </a:lnTo>
                  <a:lnTo>
                    <a:pt x="8287" y="3781"/>
                  </a:lnTo>
                  <a:lnTo>
                    <a:pt x="8178" y="3708"/>
                  </a:lnTo>
                  <a:lnTo>
                    <a:pt x="8178" y="3708"/>
                  </a:lnTo>
                  <a:lnTo>
                    <a:pt x="8105" y="3563"/>
                  </a:lnTo>
                  <a:lnTo>
                    <a:pt x="8069" y="3308"/>
                  </a:lnTo>
                  <a:lnTo>
                    <a:pt x="8033" y="2981"/>
                  </a:lnTo>
                  <a:lnTo>
                    <a:pt x="8033" y="2581"/>
                  </a:lnTo>
                  <a:lnTo>
                    <a:pt x="8069" y="1527"/>
                  </a:lnTo>
                  <a:lnTo>
                    <a:pt x="8142" y="291"/>
                  </a:lnTo>
                  <a:lnTo>
                    <a:pt x="8142" y="291"/>
                  </a:lnTo>
                  <a:lnTo>
                    <a:pt x="7269" y="437"/>
                  </a:lnTo>
                  <a:lnTo>
                    <a:pt x="6397" y="473"/>
                  </a:lnTo>
                  <a:lnTo>
                    <a:pt x="6397" y="473"/>
                  </a:lnTo>
                  <a:lnTo>
                    <a:pt x="5743" y="437"/>
                  </a:lnTo>
                  <a:lnTo>
                    <a:pt x="5125" y="364"/>
                  </a:lnTo>
                  <a:lnTo>
                    <a:pt x="4544" y="219"/>
                  </a:lnTo>
                  <a:lnTo>
                    <a:pt x="396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4" name="Google Shape;2733;p11">
              <a:extLst>
                <a:ext uri="{FF2B5EF4-FFF2-40B4-BE49-F238E27FC236}">
                  <a16:creationId xmlns:a16="http://schemas.microsoft.com/office/drawing/2014/main" id="{7C758BED-E4E5-5C84-D08B-E6E1C81DDAFB}"/>
                </a:ext>
              </a:extLst>
            </p:cNvPr>
            <p:cNvSpPr/>
            <p:nvPr/>
          </p:nvSpPr>
          <p:spPr>
            <a:xfrm>
              <a:off x="5591825" y="2540350"/>
              <a:ext cx="226300" cy="284450"/>
            </a:xfrm>
            <a:custGeom>
              <a:avLst/>
              <a:gdLst/>
              <a:ahLst/>
              <a:cxnLst/>
              <a:rect l="l" t="t" r="r" b="b"/>
              <a:pathLst>
                <a:path w="9052" h="11378" extrusionOk="0">
                  <a:moveTo>
                    <a:pt x="1527" y="1"/>
                  </a:moveTo>
                  <a:lnTo>
                    <a:pt x="1200" y="37"/>
                  </a:lnTo>
                  <a:lnTo>
                    <a:pt x="910" y="146"/>
                  </a:lnTo>
                  <a:lnTo>
                    <a:pt x="582" y="292"/>
                  </a:lnTo>
                  <a:lnTo>
                    <a:pt x="292" y="546"/>
                  </a:lnTo>
                  <a:lnTo>
                    <a:pt x="183" y="655"/>
                  </a:lnTo>
                  <a:lnTo>
                    <a:pt x="110" y="800"/>
                  </a:lnTo>
                  <a:lnTo>
                    <a:pt x="37" y="1055"/>
                  </a:lnTo>
                  <a:lnTo>
                    <a:pt x="1" y="1382"/>
                  </a:lnTo>
                  <a:lnTo>
                    <a:pt x="1" y="1709"/>
                  </a:lnTo>
                  <a:lnTo>
                    <a:pt x="74" y="2073"/>
                  </a:lnTo>
                  <a:lnTo>
                    <a:pt x="183" y="2472"/>
                  </a:lnTo>
                  <a:lnTo>
                    <a:pt x="328" y="2836"/>
                  </a:lnTo>
                  <a:lnTo>
                    <a:pt x="473" y="3236"/>
                  </a:lnTo>
                  <a:lnTo>
                    <a:pt x="873" y="3999"/>
                  </a:lnTo>
                  <a:lnTo>
                    <a:pt x="1237" y="4689"/>
                  </a:lnTo>
                  <a:lnTo>
                    <a:pt x="1600" y="5235"/>
                  </a:lnTo>
                  <a:lnTo>
                    <a:pt x="1855" y="5562"/>
                  </a:lnTo>
                  <a:lnTo>
                    <a:pt x="2254" y="6034"/>
                  </a:lnTo>
                  <a:lnTo>
                    <a:pt x="2800" y="6543"/>
                  </a:lnTo>
                  <a:lnTo>
                    <a:pt x="3454" y="7161"/>
                  </a:lnTo>
                  <a:lnTo>
                    <a:pt x="4108" y="7815"/>
                  </a:lnTo>
                  <a:lnTo>
                    <a:pt x="4726" y="8506"/>
                  </a:lnTo>
                  <a:lnTo>
                    <a:pt x="5017" y="8906"/>
                  </a:lnTo>
                  <a:lnTo>
                    <a:pt x="5271" y="9269"/>
                  </a:lnTo>
                  <a:lnTo>
                    <a:pt x="5489" y="9669"/>
                  </a:lnTo>
                  <a:lnTo>
                    <a:pt x="5671" y="10032"/>
                  </a:lnTo>
                  <a:lnTo>
                    <a:pt x="5780" y="10432"/>
                  </a:lnTo>
                  <a:lnTo>
                    <a:pt x="5816" y="10832"/>
                  </a:lnTo>
                  <a:lnTo>
                    <a:pt x="5853" y="11014"/>
                  </a:lnTo>
                  <a:lnTo>
                    <a:pt x="5889" y="11159"/>
                  </a:lnTo>
                  <a:lnTo>
                    <a:pt x="5925" y="11268"/>
                  </a:lnTo>
                  <a:lnTo>
                    <a:pt x="5998" y="11341"/>
                  </a:lnTo>
                  <a:lnTo>
                    <a:pt x="6071" y="11377"/>
                  </a:lnTo>
                  <a:lnTo>
                    <a:pt x="6180" y="11377"/>
                  </a:lnTo>
                  <a:lnTo>
                    <a:pt x="6289" y="11341"/>
                  </a:lnTo>
                  <a:lnTo>
                    <a:pt x="6398" y="11304"/>
                  </a:lnTo>
                  <a:lnTo>
                    <a:pt x="6652" y="11123"/>
                  </a:lnTo>
                  <a:lnTo>
                    <a:pt x="6907" y="10868"/>
                  </a:lnTo>
                  <a:lnTo>
                    <a:pt x="7197" y="10577"/>
                  </a:lnTo>
                  <a:lnTo>
                    <a:pt x="7488" y="10250"/>
                  </a:lnTo>
                  <a:lnTo>
                    <a:pt x="8070" y="9487"/>
                  </a:lnTo>
                  <a:lnTo>
                    <a:pt x="8579" y="8797"/>
                  </a:lnTo>
                  <a:lnTo>
                    <a:pt x="9051" y="8033"/>
                  </a:lnTo>
                  <a:lnTo>
                    <a:pt x="7197" y="5598"/>
                  </a:lnTo>
                  <a:lnTo>
                    <a:pt x="6870" y="5126"/>
                  </a:lnTo>
                  <a:lnTo>
                    <a:pt x="6652" y="4726"/>
                  </a:lnTo>
                  <a:lnTo>
                    <a:pt x="6507" y="4399"/>
                  </a:lnTo>
                  <a:lnTo>
                    <a:pt x="6470" y="4072"/>
                  </a:lnTo>
                  <a:lnTo>
                    <a:pt x="6434" y="3817"/>
                  </a:lnTo>
                  <a:lnTo>
                    <a:pt x="6470" y="3599"/>
                  </a:lnTo>
                  <a:lnTo>
                    <a:pt x="6543" y="3417"/>
                  </a:lnTo>
                  <a:lnTo>
                    <a:pt x="6616" y="3236"/>
                  </a:lnTo>
                  <a:lnTo>
                    <a:pt x="6798" y="2981"/>
                  </a:lnTo>
                  <a:lnTo>
                    <a:pt x="6870" y="2872"/>
                  </a:lnTo>
                  <a:lnTo>
                    <a:pt x="6943" y="2727"/>
                  </a:lnTo>
                  <a:lnTo>
                    <a:pt x="6943" y="2618"/>
                  </a:lnTo>
                  <a:lnTo>
                    <a:pt x="6907" y="2509"/>
                  </a:lnTo>
                  <a:lnTo>
                    <a:pt x="6834" y="2400"/>
                  </a:lnTo>
                  <a:lnTo>
                    <a:pt x="6689" y="2254"/>
                  </a:lnTo>
                  <a:lnTo>
                    <a:pt x="6543" y="2182"/>
                  </a:lnTo>
                  <a:lnTo>
                    <a:pt x="6361" y="2145"/>
                  </a:lnTo>
                  <a:lnTo>
                    <a:pt x="6216" y="2145"/>
                  </a:lnTo>
                  <a:lnTo>
                    <a:pt x="6071" y="2182"/>
                  </a:lnTo>
                  <a:lnTo>
                    <a:pt x="5744" y="2363"/>
                  </a:lnTo>
                  <a:lnTo>
                    <a:pt x="5416" y="2545"/>
                  </a:lnTo>
                  <a:lnTo>
                    <a:pt x="5089" y="2727"/>
                  </a:lnTo>
                  <a:lnTo>
                    <a:pt x="4944" y="2763"/>
                  </a:lnTo>
                  <a:lnTo>
                    <a:pt x="4799" y="2799"/>
                  </a:lnTo>
                  <a:lnTo>
                    <a:pt x="4653" y="2763"/>
                  </a:lnTo>
                  <a:lnTo>
                    <a:pt x="4544" y="2727"/>
                  </a:lnTo>
                  <a:lnTo>
                    <a:pt x="4399" y="2581"/>
                  </a:lnTo>
                  <a:lnTo>
                    <a:pt x="4290" y="2400"/>
                  </a:lnTo>
                  <a:lnTo>
                    <a:pt x="4072" y="1964"/>
                  </a:lnTo>
                  <a:lnTo>
                    <a:pt x="3708" y="1455"/>
                  </a:lnTo>
                  <a:lnTo>
                    <a:pt x="3236" y="946"/>
                  </a:lnTo>
                  <a:lnTo>
                    <a:pt x="2981" y="728"/>
                  </a:lnTo>
                  <a:lnTo>
                    <a:pt x="2727" y="510"/>
                  </a:lnTo>
                  <a:lnTo>
                    <a:pt x="2436" y="328"/>
                  </a:lnTo>
                  <a:lnTo>
                    <a:pt x="2145" y="146"/>
                  </a:lnTo>
                  <a:lnTo>
                    <a:pt x="1855" y="74"/>
                  </a:lnTo>
                  <a:lnTo>
                    <a:pt x="1527" y="1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5" name="Google Shape;2734;p11">
              <a:extLst>
                <a:ext uri="{FF2B5EF4-FFF2-40B4-BE49-F238E27FC236}">
                  <a16:creationId xmlns:a16="http://schemas.microsoft.com/office/drawing/2014/main" id="{A00CAA88-A85D-D534-30E0-6436A7093C48}"/>
                </a:ext>
              </a:extLst>
            </p:cNvPr>
            <p:cNvSpPr/>
            <p:nvPr/>
          </p:nvSpPr>
          <p:spPr>
            <a:xfrm>
              <a:off x="6322375" y="2781150"/>
              <a:ext cx="342600" cy="758750"/>
            </a:xfrm>
            <a:custGeom>
              <a:avLst/>
              <a:gdLst/>
              <a:ahLst/>
              <a:cxnLst/>
              <a:rect l="l" t="t" r="r" b="b"/>
              <a:pathLst>
                <a:path w="13704" h="30350" extrusionOk="0">
                  <a:moveTo>
                    <a:pt x="7197" y="0"/>
                  </a:moveTo>
                  <a:lnTo>
                    <a:pt x="4508" y="1054"/>
                  </a:lnTo>
                  <a:lnTo>
                    <a:pt x="1" y="15993"/>
                  </a:lnTo>
                  <a:lnTo>
                    <a:pt x="146" y="17483"/>
                  </a:lnTo>
                  <a:lnTo>
                    <a:pt x="328" y="19082"/>
                  </a:lnTo>
                  <a:lnTo>
                    <a:pt x="619" y="20972"/>
                  </a:lnTo>
                  <a:lnTo>
                    <a:pt x="982" y="23044"/>
                  </a:lnTo>
                  <a:lnTo>
                    <a:pt x="1200" y="24098"/>
                  </a:lnTo>
                  <a:lnTo>
                    <a:pt x="1455" y="25115"/>
                  </a:lnTo>
                  <a:lnTo>
                    <a:pt x="1746" y="26060"/>
                  </a:lnTo>
                  <a:lnTo>
                    <a:pt x="2036" y="26969"/>
                  </a:lnTo>
                  <a:lnTo>
                    <a:pt x="2327" y="27769"/>
                  </a:lnTo>
                  <a:lnTo>
                    <a:pt x="2690" y="28423"/>
                  </a:lnTo>
                  <a:lnTo>
                    <a:pt x="2945" y="28823"/>
                  </a:lnTo>
                  <a:lnTo>
                    <a:pt x="3236" y="29150"/>
                  </a:lnTo>
                  <a:lnTo>
                    <a:pt x="3526" y="29440"/>
                  </a:lnTo>
                  <a:lnTo>
                    <a:pt x="3890" y="29659"/>
                  </a:lnTo>
                  <a:lnTo>
                    <a:pt x="4253" y="29877"/>
                  </a:lnTo>
                  <a:lnTo>
                    <a:pt x="4653" y="30022"/>
                  </a:lnTo>
                  <a:lnTo>
                    <a:pt x="5053" y="30167"/>
                  </a:lnTo>
                  <a:lnTo>
                    <a:pt x="5489" y="30240"/>
                  </a:lnTo>
                  <a:lnTo>
                    <a:pt x="5925" y="30313"/>
                  </a:lnTo>
                  <a:lnTo>
                    <a:pt x="6398" y="30349"/>
                  </a:lnTo>
                  <a:lnTo>
                    <a:pt x="6870" y="30349"/>
                  </a:lnTo>
                  <a:lnTo>
                    <a:pt x="7343" y="30313"/>
                  </a:lnTo>
                  <a:lnTo>
                    <a:pt x="7815" y="30276"/>
                  </a:lnTo>
                  <a:lnTo>
                    <a:pt x="8288" y="30204"/>
                  </a:lnTo>
                  <a:lnTo>
                    <a:pt x="9233" y="30022"/>
                  </a:lnTo>
                  <a:lnTo>
                    <a:pt x="10141" y="29731"/>
                  </a:lnTo>
                  <a:lnTo>
                    <a:pt x="11014" y="29440"/>
                  </a:lnTo>
                  <a:lnTo>
                    <a:pt x="11777" y="29113"/>
                  </a:lnTo>
                  <a:lnTo>
                    <a:pt x="12467" y="28786"/>
                  </a:lnTo>
                  <a:lnTo>
                    <a:pt x="13013" y="28459"/>
                  </a:lnTo>
                  <a:lnTo>
                    <a:pt x="13412" y="28132"/>
                  </a:lnTo>
                  <a:lnTo>
                    <a:pt x="13558" y="27987"/>
                  </a:lnTo>
                  <a:lnTo>
                    <a:pt x="13667" y="27841"/>
                  </a:lnTo>
                  <a:lnTo>
                    <a:pt x="13703" y="27732"/>
                  </a:lnTo>
                  <a:lnTo>
                    <a:pt x="13703" y="27660"/>
                  </a:lnTo>
                  <a:lnTo>
                    <a:pt x="13412" y="26787"/>
                  </a:lnTo>
                  <a:lnTo>
                    <a:pt x="13194" y="25879"/>
                  </a:lnTo>
                  <a:lnTo>
                    <a:pt x="12940" y="24897"/>
                  </a:lnTo>
                  <a:lnTo>
                    <a:pt x="12722" y="23916"/>
                  </a:lnTo>
                  <a:lnTo>
                    <a:pt x="12322" y="21808"/>
                  </a:lnTo>
                  <a:lnTo>
                    <a:pt x="11959" y="19591"/>
                  </a:lnTo>
                  <a:lnTo>
                    <a:pt x="11668" y="17337"/>
                  </a:lnTo>
                  <a:lnTo>
                    <a:pt x="11377" y="15048"/>
                  </a:lnTo>
                  <a:lnTo>
                    <a:pt x="11159" y="12758"/>
                  </a:lnTo>
                  <a:lnTo>
                    <a:pt x="10977" y="10577"/>
                  </a:lnTo>
                  <a:lnTo>
                    <a:pt x="10832" y="8469"/>
                  </a:lnTo>
                  <a:lnTo>
                    <a:pt x="10723" y="6506"/>
                  </a:lnTo>
                  <a:lnTo>
                    <a:pt x="10541" y="3199"/>
                  </a:lnTo>
                  <a:lnTo>
                    <a:pt x="10468" y="982"/>
                  </a:lnTo>
                  <a:lnTo>
                    <a:pt x="10468" y="146"/>
                  </a:lnTo>
                  <a:lnTo>
                    <a:pt x="71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6" name="Google Shape;2735;p11">
              <a:extLst>
                <a:ext uri="{FF2B5EF4-FFF2-40B4-BE49-F238E27FC236}">
                  <a16:creationId xmlns:a16="http://schemas.microsoft.com/office/drawing/2014/main" id="{6E75A3AA-3183-F338-FC1D-DED474CC2BAC}"/>
                </a:ext>
              </a:extLst>
            </p:cNvPr>
            <p:cNvSpPr/>
            <p:nvPr/>
          </p:nvSpPr>
          <p:spPr>
            <a:xfrm>
              <a:off x="6322375" y="2781150"/>
              <a:ext cx="342600" cy="758750"/>
            </a:xfrm>
            <a:custGeom>
              <a:avLst/>
              <a:gdLst/>
              <a:ahLst/>
              <a:cxnLst/>
              <a:rect l="l" t="t" r="r" b="b"/>
              <a:pathLst>
                <a:path w="13704" h="30350" fill="none" extrusionOk="0">
                  <a:moveTo>
                    <a:pt x="7197" y="0"/>
                  </a:moveTo>
                  <a:lnTo>
                    <a:pt x="4508" y="1054"/>
                  </a:lnTo>
                  <a:lnTo>
                    <a:pt x="1" y="15993"/>
                  </a:lnTo>
                  <a:lnTo>
                    <a:pt x="1" y="15993"/>
                  </a:lnTo>
                  <a:lnTo>
                    <a:pt x="146" y="17483"/>
                  </a:lnTo>
                  <a:lnTo>
                    <a:pt x="328" y="19082"/>
                  </a:lnTo>
                  <a:lnTo>
                    <a:pt x="619" y="20972"/>
                  </a:lnTo>
                  <a:lnTo>
                    <a:pt x="982" y="23044"/>
                  </a:lnTo>
                  <a:lnTo>
                    <a:pt x="1200" y="24098"/>
                  </a:lnTo>
                  <a:lnTo>
                    <a:pt x="1455" y="25115"/>
                  </a:lnTo>
                  <a:lnTo>
                    <a:pt x="1746" y="26060"/>
                  </a:lnTo>
                  <a:lnTo>
                    <a:pt x="2036" y="26969"/>
                  </a:lnTo>
                  <a:lnTo>
                    <a:pt x="2327" y="27769"/>
                  </a:lnTo>
                  <a:lnTo>
                    <a:pt x="2690" y="28423"/>
                  </a:lnTo>
                  <a:lnTo>
                    <a:pt x="2690" y="28423"/>
                  </a:lnTo>
                  <a:lnTo>
                    <a:pt x="2945" y="28823"/>
                  </a:lnTo>
                  <a:lnTo>
                    <a:pt x="3236" y="29150"/>
                  </a:lnTo>
                  <a:lnTo>
                    <a:pt x="3526" y="29440"/>
                  </a:lnTo>
                  <a:lnTo>
                    <a:pt x="3890" y="29659"/>
                  </a:lnTo>
                  <a:lnTo>
                    <a:pt x="4253" y="29877"/>
                  </a:lnTo>
                  <a:lnTo>
                    <a:pt x="4653" y="30022"/>
                  </a:lnTo>
                  <a:lnTo>
                    <a:pt x="5053" y="30167"/>
                  </a:lnTo>
                  <a:lnTo>
                    <a:pt x="5489" y="30240"/>
                  </a:lnTo>
                  <a:lnTo>
                    <a:pt x="5925" y="30313"/>
                  </a:lnTo>
                  <a:lnTo>
                    <a:pt x="6398" y="30349"/>
                  </a:lnTo>
                  <a:lnTo>
                    <a:pt x="6870" y="30349"/>
                  </a:lnTo>
                  <a:lnTo>
                    <a:pt x="7343" y="30313"/>
                  </a:lnTo>
                  <a:lnTo>
                    <a:pt x="7815" y="30276"/>
                  </a:lnTo>
                  <a:lnTo>
                    <a:pt x="8288" y="30204"/>
                  </a:lnTo>
                  <a:lnTo>
                    <a:pt x="9233" y="30022"/>
                  </a:lnTo>
                  <a:lnTo>
                    <a:pt x="10141" y="29731"/>
                  </a:lnTo>
                  <a:lnTo>
                    <a:pt x="11014" y="29440"/>
                  </a:lnTo>
                  <a:lnTo>
                    <a:pt x="11777" y="29113"/>
                  </a:lnTo>
                  <a:lnTo>
                    <a:pt x="12467" y="28786"/>
                  </a:lnTo>
                  <a:lnTo>
                    <a:pt x="13013" y="28459"/>
                  </a:lnTo>
                  <a:lnTo>
                    <a:pt x="13412" y="28132"/>
                  </a:lnTo>
                  <a:lnTo>
                    <a:pt x="13558" y="27987"/>
                  </a:lnTo>
                  <a:lnTo>
                    <a:pt x="13667" y="27841"/>
                  </a:lnTo>
                  <a:lnTo>
                    <a:pt x="13703" y="27732"/>
                  </a:lnTo>
                  <a:lnTo>
                    <a:pt x="13703" y="27660"/>
                  </a:lnTo>
                  <a:lnTo>
                    <a:pt x="13703" y="27660"/>
                  </a:lnTo>
                  <a:lnTo>
                    <a:pt x="13412" y="26787"/>
                  </a:lnTo>
                  <a:lnTo>
                    <a:pt x="13194" y="25879"/>
                  </a:lnTo>
                  <a:lnTo>
                    <a:pt x="12940" y="24897"/>
                  </a:lnTo>
                  <a:lnTo>
                    <a:pt x="12722" y="23916"/>
                  </a:lnTo>
                  <a:lnTo>
                    <a:pt x="12322" y="21808"/>
                  </a:lnTo>
                  <a:lnTo>
                    <a:pt x="11959" y="19591"/>
                  </a:lnTo>
                  <a:lnTo>
                    <a:pt x="11668" y="17337"/>
                  </a:lnTo>
                  <a:lnTo>
                    <a:pt x="11377" y="15048"/>
                  </a:lnTo>
                  <a:lnTo>
                    <a:pt x="11159" y="12758"/>
                  </a:lnTo>
                  <a:lnTo>
                    <a:pt x="10977" y="10577"/>
                  </a:lnTo>
                  <a:lnTo>
                    <a:pt x="10832" y="8469"/>
                  </a:lnTo>
                  <a:lnTo>
                    <a:pt x="10723" y="6506"/>
                  </a:lnTo>
                  <a:lnTo>
                    <a:pt x="10541" y="3199"/>
                  </a:lnTo>
                  <a:lnTo>
                    <a:pt x="10468" y="982"/>
                  </a:lnTo>
                  <a:lnTo>
                    <a:pt x="10468" y="146"/>
                  </a:lnTo>
                  <a:lnTo>
                    <a:pt x="719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7" name="Google Shape;2736;p11">
              <a:extLst>
                <a:ext uri="{FF2B5EF4-FFF2-40B4-BE49-F238E27FC236}">
                  <a16:creationId xmlns:a16="http://schemas.microsoft.com/office/drawing/2014/main" id="{44A1BECA-8815-9668-038C-7389460855DA}"/>
                </a:ext>
              </a:extLst>
            </p:cNvPr>
            <p:cNvSpPr/>
            <p:nvPr/>
          </p:nvSpPr>
          <p:spPr>
            <a:xfrm>
              <a:off x="6486850" y="2781150"/>
              <a:ext cx="644250" cy="888675"/>
            </a:xfrm>
            <a:custGeom>
              <a:avLst/>
              <a:gdLst/>
              <a:ahLst/>
              <a:cxnLst/>
              <a:rect l="l" t="t" r="r" b="b"/>
              <a:pathLst>
                <a:path w="25770" h="35547" extrusionOk="0">
                  <a:moveTo>
                    <a:pt x="3671" y="0"/>
                  </a:moveTo>
                  <a:lnTo>
                    <a:pt x="3381" y="1200"/>
                  </a:lnTo>
                  <a:lnTo>
                    <a:pt x="3054" y="2545"/>
                  </a:lnTo>
                  <a:lnTo>
                    <a:pt x="2617" y="4144"/>
                  </a:lnTo>
                  <a:lnTo>
                    <a:pt x="2109" y="5888"/>
                  </a:lnTo>
                  <a:lnTo>
                    <a:pt x="1563" y="7633"/>
                  </a:lnTo>
                  <a:lnTo>
                    <a:pt x="982" y="9232"/>
                  </a:lnTo>
                  <a:lnTo>
                    <a:pt x="691" y="9959"/>
                  </a:lnTo>
                  <a:lnTo>
                    <a:pt x="400" y="10577"/>
                  </a:lnTo>
                  <a:lnTo>
                    <a:pt x="291" y="10868"/>
                  </a:lnTo>
                  <a:lnTo>
                    <a:pt x="182" y="11159"/>
                  </a:lnTo>
                  <a:lnTo>
                    <a:pt x="110" y="11449"/>
                  </a:lnTo>
                  <a:lnTo>
                    <a:pt x="37" y="11740"/>
                  </a:lnTo>
                  <a:lnTo>
                    <a:pt x="0" y="12322"/>
                  </a:lnTo>
                  <a:lnTo>
                    <a:pt x="0" y="12903"/>
                  </a:lnTo>
                  <a:lnTo>
                    <a:pt x="110" y="13485"/>
                  </a:lnTo>
                  <a:lnTo>
                    <a:pt x="255" y="14103"/>
                  </a:lnTo>
                  <a:lnTo>
                    <a:pt x="437" y="14684"/>
                  </a:lnTo>
                  <a:lnTo>
                    <a:pt x="655" y="15266"/>
                  </a:lnTo>
                  <a:lnTo>
                    <a:pt x="1164" y="16356"/>
                  </a:lnTo>
                  <a:lnTo>
                    <a:pt x="1672" y="17446"/>
                  </a:lnTo>
                  <a:lnTo>
                    <a:pt x="2145" y="18428"/>
                  </a:lnTo>
                  <a:lnTo>
                    <a:pt x="2327" y="18864"/>
                  </a:lnTo>
                  <a:lnTo>
                    <a:pt x="2472" y="19300"/>
                  </a:lnTo>
                  <a:lnTo>
                    <a:pt x="2545" y="19591"/>
                  </a:lnTo>
                  <a:lnTo>
                    <a:pt x="2581" y="19882"/>
                  </a:lnTo>
                  <a:lnTo>
                    <a:pt x="2654" y="20608"/>
                  </a:lnTo>
                  <a:lnTo>
                    <a:pt x="2654" y="21481"/>
                  </a:lnTo>
                  <a:lnTo>
                    <a:pt x="2581" y="22498"/>
                  </a:lnTo>
                  <a:lnTo>
                    <a:pt x="2508" y="23552"/>
                  </a:lnTo>
                  <a:lnTo>
                    <a:pt x="2399" y="24716"/>
                  </a:lnTo>
                  <a:lnTo>
                    <a:pt x="2181" y="27078"/>
                  </a:lnTo>
                  <a:lnTo>
                    <a:pt x="1927" y="29331"/>
                  </a:lnTo>
                  <a:lnTo>
                    <a:pt x="1745" y="31330"/>
                  </a:lnTo>
                  <a:lnTo>
                    <a:pt x="1709" y="32166"/>
                  </a:lnTo>
                  <a:lnTo>
                    <a:pt x="1709" y="32821"/>
                  </a:lnTo>
                  <a:lnTo>
                    <a:pt x="1745" y="33293"/>
                  </a:lnTo>
                  <a:lnTo>
                    <a:pt x="1818" y="33475"/>
                  </a:lnTo>
                  <a:lnTo>
                    <a:pt x="1854" y="33584"/>
                  </a:lnTo>
                  <a:lnTo>
                    <a:pt x="1963" y="33657"/>
                  </a:lnTo>
                  <a:lnTo>
                    <a:pt x="2109" y="33693"/>
                  </a:lnTo>
                  <a:lnTo>
                    <a:pt x="2254" y="33729"/>
                  </a:lnTo>
                  <a:lnTo>
                    <a:pt x="2472" y="33766"/>
                  </a:lnTo>
                  <a:lnTo>
                    <a:pt x="2981" y="33766"/>
                  </a:lnTo>
                  <a:lnTo>
                    <a:pt x="3599" y="33693"/>
                  </a:lnTo>
                  <a:lnTo>
                    <a:pt x="4289" y="33548"/>
                  </a:lnTo>
                  <a:lnTo>
                    <a:pt x="5053" y="33366"/>
                  </a:lnTo>
                  <a:lnTo>
                    <a:pt x="5852" y="33148"/>
                  </a:lnTo>
                  <a:lnTo>
                    <a:pt x="6688" y="32893"/>
                  </a:lnTo>
                  <a:lnTo>
                    <a:pt x="7488" y="32639"/>
                  </a:lnTo>
                  <a:lnTo>
                    <a:pt x="8287" y="32312"/>
                  </a:lnTo>
                  <a:lnTo>
                    <a:pt x="9014" y="31985"/>
                  </a:lnTo>
                  <a:lnTo>
                    <a:pt x="9668" y="31658"/>
                  </a:lnTo>
                  <a:lnTo>
                    <a:pt x="10250" y="31330"/>
                  </a:lnTo>
                  <a:lnTo>
                    <a:pt x="10686" y="31003"/>
                  </a:lnTo>
                  <a:lnTo>
                    <a:pt x="10868" y="30822"/>
                  </a:lnTo>
                  <a:lnTo>
                    <a:pt x="10977" y="30676"/>
                  </a:lnTo>
                  <a:lnTo>
                    <a:pt x="11086" y="30495"/>
                  </a:lnTo>
                  <a:lnTo>
                    <a:pt x="11122" y="30349"/>
                  </a:lnTo>
                  <a:lnTo>
                    <a:pt x="11159" y="30058"/>
                  </a:lnTo>
                  <a:lnTo>
                    <a:pt x="11159" y="29731"/>
                  </a:lnTo>
                  <a:lnTo>
                    <a:pt x="11122" y="29368"/>
                  </a:lnTo>
                  <a:lnTo>
                    <a:pt x="11086" y="29004"/>
                  </a:lnTo>
                  <a:lnTo>
                    <a:pt x="10868" y="28205"/>
                  </a:lnTo>
                  <a:lnTo>
                    <a:pt x="10577" y="27332"/>
                  </a:lnTo>
                  <a:lnTo>
                    <a:pt x="10214" y="26424"/>
                  </a:lnTo>
                  <a:lnTo>
                    <a:pt x="9777" y="25406"/>
                  </a:lnTo>
                  <a:lnTo>
                    <a:pt x="8796" y="23225"/>
                  </a:lnTo>
                  <a:lnTo>
                    <a:pt x="8651" y="22789"/>
                  </a:lnTo>
                  <a:lnTo>
                    <a:pt x="8505" y="22317"/>
                  </a:lnTo>
                  <a:lnTo>
                    <a:pt x="8433" y="21808"/>
                  </a:lnTo>
                  <a:lnTo>
                    <a:pt x="8360" y="21299"/>
                  </a:lnTo>
                  <a:lnTo>
                    <a:pt x="8324" y="20608"/>
                  </a:lnTo>
                  <a:lnTo>
                    <a:pt x="8324" y="19954"/>
                  </a:lnTo>
                  <a:lnTo>
                    <a:pt x="8324" y="19227"/>
                  </a:lnTo>
                  <a:lnTo>
                    <a:pt x="8396" y="18537"/>
                  </a:lnTo>
                  <a:lnTo>
                    <a:pt x="8469" y="17810"/>
                  </a:lnTo>
                  <a:lnTo>
                    <a:pt x="8614" y="17119"/>
                  </a:lnTo>
                  <a:lnTo>
                    <a:pt x="8723" y="16392"/>
                  </a:lnTo>
                  <a:lnTo>
                    <a:pt x="8905" y="15738"/>
                  </a:lnTo>
                  <a:lnTo>
                    <a:pt x="9087" y="15084"/>
                  </a:lnTo>
                  <a:lnTo>
                    <a:pt x="9269" y="14466"/>
                  </a:lnTo>
                  <a:lnTo>
                    <a:pt x="9450" y="13921"/>
                  </a:lnTo>
                  <a:lnTo>
                    <a:pt x="9668" y="13412"/>
                  </a:lnTo>
                  <a:lnTo>
                    <a:pt x="9887" y="12940"/>
                  </a:lnTo>
                  <a:lnTo>
                    <a:pt x="10105" y="12576"/>
                  </a:lnTo>
                  <a:lnTo>
                    <a:pt x="10323" y="12249"/>
                  </a:lnTo>
                  <a:lnTo>
                    <a:pt x="10577" y="12031"/>
                  </a:lnTo>
                  <a:lnTo>
                    <a:pt x="10650" y="11995"/>
                  </a:lnTo>
                  <a:lnTo>
                    <a:pt x="10759" y="12031"/>
                  </a:lnTo>
                  <a:lnTo>
                    <a:pt x="10904" y="12067"/>
                  </a:lnTo>
                  <a:lnTo>
                    <a:pt x="11050" y="12140"/>
                  </a:lnTo>
                  <a:lnTo>
                    <a:pt x="11449" y="12431"/>
                  </a:lnTo>
                  <a:lnTo>
                    <a:pt x="11886" y="12830"/>
                  </a:lnTo>
                  <a:lnTo>
                    <a:pt x="12431" y="13339"/>
                  </a:lnTo>
                  <a:lnTo>
                    <a:pt x="12976" y="13957"/>
                  </a:lnTo>
                  <a:lnTo>
                    <a:pt x="14139" y="15302"/>
                  </a:lnTo>
                  <a:lnTo>
                    <a:pt x="15266" y="16683"/>
                  </a:lnTo>
                  <a:lnTo>
                    <a:pt x="16283" y="18028"/>
                  </a:lnTo>
                  <a:lnTo>
                    <a:pt x="17047" y="19046"/>
                  </a:lnTo>
                  <a:lnTo>
                    <a:pt x="17265" y="19445"/>
                  </a:lnTo>
                  <a:lnTo>
                    <a:pt x="17410" y="19663"/>
                  </a:lnTo>
                  <a:lnTo>
                    <a:pt x="17701" y="20681"/>
                  </a:lnTo>
                  <a:lnTo>
                    <a:pt x="18210" y="22535"/>
                  </a:lnTo>
                  <a:lnTo>
                    <a:pt x="19591" y="27696"/>
                  </a:lnTo>
                  <a:lnTo>
                    <a:pt x="21553" y="35110"/>
                  </a:lnTo>
                  <a:lnTo>
                    <a:pt x="21626" y="35183"/>
                  </a:lnTo>
                  <a:lnTo>
                    <a:pt x="21772" y="35256"/>
                  </a:lnTo>
                  <a:lnTo>
                    <a:pt x="22026" y="35328"/>
                  </a:lnTo>
                  <a:lnTo>
                    <a:pt x="22317" y="35401"/>
                  </a:lnTo>
                  <a:lnTo>
                    <a:pt x="23044" y="35510"/>
                  </a:lnTo>
                  <a:lnTo>
                    <a:pt x="23843" y="35547"/>
                  </a:lnTo>
                  <a:lnTo>
                    <a:pt x="24607" y="35547"/>
                  </a:lnTo>
                  <a:lnTo>
                    <a:pt x="24970" y="35474"/>
                  </a:lnTo>
                  <a:lnTo>
                    <a:pt x="25261" y="35401"/>
                  </a:lnTo>
                  <a:lnTo>
                    <a:pt x="25479" y="35328"/>
                  </a:lnTo>
                  <a:lnTo>
                    <a:pt x="25661" y="35219"/>
                  </a:lnTo>
                  <a:lnTo>
                    <a:pt x="25733" y="35147"/>
                  </a:lnTo>
                  <a:lnTo>
                    <a:pt x="25733" y="35074"/>
                  </a:lnTo>
                  <a:lnTo>
                    <a:pt x="25770" y="34965"/>
                  </a:lnTo>
                  <a:lnTo>
                    <a:pt x="25733" y="34892"/>
                  </a:lnTo>
                  <a:lnTo>
                    <a:pt x="25261" y="32566"/>
                  </a:lnTo>
                  <a:lnTo>
                    <a:pt x="24134" y="27187"/>
                  </a:lnTo>
                  <a:lnTo>
                    <a:pt x="23480" y="24134"/>
                  </a:lnTo>
                  <a:lnTo>
                    <a:pt x="22789" y="21263"/>
                  </a:lnTo>
                  <a:lnTo>
                    <a:pt x="22462" y="19954"/>
                  </a:lnTo>
                  <a:lnTo>
                    <a:pt x="22135" y="18828"/>
                  </a:lnTo>
                  <a:lnTo>
                    <a:pt x="21844" y="17919"/>
                  </a:lnTo>
                  <a:lnTo>
                    <a:pt x="21590" y="17192"/>
                  </a:lnTo>
                  <a:lnTo>
                    <a:pt x="21372" y="16683"/>
                  </a:lnTo>
                  <a:lnTo>
                    <a:pt x="21045" y="16102"/>
                  </a:lnTo>
                  <a:lnTo>
                    <a:pt x="20681" y="15411"/>
                  </a:lnTo>
                  <a:lnTo>
                    <a:pt x="20245" y="14684"/>
                  </a:lnTo>
                  <a:lnTo>
                    <a:pt x="19773" y="13921"/>
                  </a:lnTo>
                  <a:lnTo>
                    <a:pt x="19191" y="13085"/>
                  </a:lnTo>
                  <a:lnTo>
                    <a:pt x="18609" y="12249"/>
                  </a:lnTo>
                  <a:lnTo>
                    <a:pt x="17955" y="11340"/>
                  </a:lnTo>
                  <a:lnTo>
                    <a:pt x="17265" y="10468"/>
                  </a:lnTo>
                  <a:lnTo>
                    <a:pt x="16538" y="9523"/>
                  </a:lnTo>
                  <a:lnTo>
                    <a:pt x="15775" y="8614"/>
                  </a:lnTo>
                  <a:lnTo>
                    <a:pt x="14975" y="7706"/>
                  </a:lnTo>
                  <a:lnTo>
                    <a:pt x="14139" y="6797"/>
                  </a:lnTo>
                  <a:lnTo>
                    <a:pt x="13267" y="5888"/>
                  </a:lnTo>
                  <a:lnTo>
                    <a:pt x="12394" y="5053"/>
                  </a:lnTo>
                  <a:lnTo>
                    <a:pt x="11486" y="4217"/>
                  </a:lnTo>
                  <a:lnTo>
                    <a:pt x="10868" y="3708"/>
                  </a:lnTo>
                  <a:lnTo>
                    <a:pt x="10214" y="3163"/>
                  </a:lnTo>
                  <a:lnTo>
                    <a:pt x="9596" y="2690"/>
                  </a:lnTo>
                  <a:lnTo>
                    <a:pt x="8942" y="2254"/>
                  </a:lnTo>
                  <a:lnTo>
                    <a:pt x="8324" y="1818"/>
                  </a:lnTo>
                  <a:lnTo>
                    <a:pt x="7669" y="1418"/>
                  </a:lnTo>
                  <a:lnTo>
                    <a:pt x="7015" y="1054"/>
                  </a:lnTo>
                  <a:lnTo>
                    <a:pt x="6361" y="727"/>
                  </a:lnTo>
                  <a:lnTo>
                    <a:pt x="6070" y="618"/>
                  </a:lnTo>
                  <a:lnTo>
                    <a:pt x="5743" y="509"/>
                  </a:lnTo>
                  <a:lnTo>
                    <a:pt x="5016" y="291"/>
                  </a:lnTo>
                  <a:lnTo>
                    <a:pt x="3671" y="0"/>
                  </a:lnTo>
                  <a:close/>
                </a:path>
              </a:pathLst>
            </a:custGeom>
            <a:solidFill>
              <a:srgbClr val="E73C3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8" name="Google Shape;2737;p11">
              <a:extLst>
                <a:ext uri="{FF2B5EF4-FFF2-40B4-BE49-F238E27FC236}">
                  <a16:creationId xmlns:a16="http://schemas.microsoft.com/office/drawing/2014/main" id="{3DF25136-E629-4424-C103-5E93355EEE81}"/>
                </a:ext>
              </a:extLst>
            </p:cNvPr>
            <p:cNvSpPr/>
            <p:nvPr/>
          </p:nvSpPr>
          <p:spPr>
            <a:xfrm>
              <a:off x="6486850" y="2781150"/>
              <a:ext cx="644250" cy="888675"/>
            </a:xfrm>
            <a:custGeom>
              <a:avLst/>
              <a:gdLst/>
              <a:ahLst/>
              <a:cxnLst/>
              <a:rect l="l" t="t" r="r" b="b"/>
              <a:pathLst>
                <a:path w="25770" h="35547" fill="none" extrusionOk="0">
                  <a:moveTo>
                    <a:pt x="21553" y="35110"/>
                  </a:moveTo>
                  <a:lnTo>
                    <a:pt x="21553" y="35110"/>
                  </a:lnTo>
                  <a:lnTo>
                    <a:pt x="19591" y="27696"/>
                  </a:lnTo>
                  <a:lnTo>
                    <a:pt x="18210" y="22535"/>
                  </a:lnTo>
                  <a:lnTo>
                    <a:pt x="17701" y="20681"/>
                  </a:lnTo>
                  <a:lnTo>
                    <a:pt x="17410" y="19663"/>
                  </a:lnTo>
                  <a:lnTo>
                    <a:pt x="17410" y="19663"/>
                  </a:lnTo>
                  <a:lnTo>
                    <a:pt x="17265" y="19445"/>
                  </a:lnTo>
                  <a:lnTo>
                    <a:pt x="17047" y="19046"/>
                  </a:lnTo>
                  <a:lnTo>
                    <a:pt x="16283" y="18028"/>
                  </a:lnTo>
                  <a:lnTo>
                    <a:pt x="15266" y="16683"/>
                  </a:lnTo>
                  <a:lnTo>
                    <a:pt x="14139" y="15302"/>
                  </a:lnTo>
                  <a:lnTo>
                    <a:pt x="12976" y="13957"/>
                  </a:lnTo>
                  <a:lnTo>
                    <a:pt x="12431" y="13339"/>
                  </a:lnTo>
                  <a:lnTo>
                    <a:pt x="11886" y="12830"/>
                  </a:lnTo>
                  <a:lnTo>
                    <a:pt x="11449" y="12431"/>
                  </a:lnTo>
                  <a:lnTo>
                    <a:pt x="11050" y="12140"/>
                  </a:lnTo>
                  <a:lnTo>
                    <a:pt x="10904" y="12067"/>
                  </a:lnTo>
                  <a:lnTo>
                    <a:pt x="10759" y="12031"/>
                  </a:lnTo>
                  <a:lnTo>
                    <a:pt x="10650" y="11995"/>
                  </a:lnTo>
                  <a:lnTo>
                    <a:pt x="10577" y="12031"/>
                  </a:lnTo>
                  <a:lnTo>
                    <a:pt x="10577" y="12031"/>
                  </a:lnTo>
                  <a:lnTo>
                    <a:pt x="10323" y="12249"/>
                  </a:lnTo>
                  <a:lnTo>
                    <a:pt x="10105" y="12576"/>
                  </a:lnTo>
                  <a:lnTo>
                    <a:pt x="9887" y="12940"/>
                  </a:lnTo>
                  <a:lnTo>
                    <a:pt x="9668" y="13412"/>
                  </a:lnTo>
                  <a:lnTo>
                    <a:pt x="9450" y="13921"/>
                  </a:lnTo>
                  <a:lnTo>
                    <a:pt x="9269" y="14466"/>
                  </a:lnTo>
                  <a:lnTo>
                    <a:pt x="9087" y="15084"/>
                  </a:lnTo>
                  <a:lnTo>
                    <a:pt x="8905" y="15738"/>
                  </a:lnTo>
                  <a:lnTo>
                    <a:pt x="8723" y="16392"/>
                  </a:lnTo>
                  <a:lnTo>
                    <a:pt x="8614" y="17119"/>
                  </a:lnTo>
                  <a:lnTo>
                    <a:pt x="8469" y="17810"/>
                  </a:lnTo>
                  <a:lnTo>
                    <a:pt x="8396" y="18537"/>
                  </a:lnTo>
                  <a:lnTo>
                    <a:pt x="8324" y="19227"/>
                  </a:lnTo>
                  <a:lnTo>
                    <a:pt x="8324" y="19954"/>
                  </a:lnTo>
                  <a:lnTo>
                    <a:pt x="8324" y="20608"/>
                  </a:lnTo>
                  <a:lnTo>
                    <a:pt x="8360" y="21299"/>
                  </a:lnTo>
                  <a:lnTo>
                    <a:pt x="8360" y="21299"/>
                  </a:lnTo>
                  <a:lnTo>
                    <a:pt x="8433" y="21808"/>
                  </a:lnTo>
                  <a:lnTo>
                    <a:pt x="8505" y="22317"/>
                  </a:lnTo>
                  <a:lnTo>
                    <a:pt x="8651" y="22789"/>
                  </a:lnTo>
                  <a:lnTo>
                    <a:pt x="8796" y="23225"/>
                  </a:lnTo>
                  <a:lnTo>
                    <a:pt x="8796" y="23225"/>
                  </a:lnTo>
                  <a:lnTo>
                    <a:pt x="9777" y="25406"/>
                  </a:lnTo>
                  <a:lnTo>
                    <a:pt x="10214" y="26424"/>
                  </a:lnTo>
                  <a:lnTo>
                    <a:pt x="10577" y="27332"/>
                  </a:lnTo>
                  <a:lnTo>
                    <a:pt x="10868" y="28205"/>
                  </a:lnTo>
                  <a:lnTo>
                    <a:pt x="11086" y="29004"/>
                  </a:lnTo>
                  <a:lnTo>
                    <a:pt x="11122" y="29368"/>
                  </a:lnTo>
                  <a:lnTo>
                    <a:pt x="11159" y="29731"/>
                  </a:lnTo>
                  <a:lnTo>
                    <a:pt x="11159" y="30058"/>
                  </a:lnTo>
                  <a:lnTo>
                    <a:pt x="11122" y="30349"/>
                  </a:lnTo>
                  <a:lnTo>
                    <a:pt x="11122" y="30349"/>
                  </a:lnTo>
                  <a:lnTo>
                    <a:pt x="11086" y="30495"/>
                  </a:lnTo>
                  <a:lnTo>
                    <a:pt x="10977" y="30676"/>
                  </a:lnTo>
                  <a:lnTo>
                    <a:pt x="10868" y="30822"/>
                  </a:lnTo>
                  <a:lnTo>
                    <a:pt x="10686" y="31003"/>
                  </a:lnTo>
                  <a:lnTo>
                    <a:pt x="10250" y="31330"/>
                  </a:lnTo>
                  <a:lnTo>
                    <a:pt x="9668" y="31658"/>
                  </a:lnTo>
                  <a:lnTo>
                    <a:pt x="9014" y="31985"/>
                  </a:lnTo>
                  <a:lnTo>
                    <a:pt x="8287" y="32312"/>
                  </a:lnTo>
                  <a:lnTo>
                    <a:pt x="7488" y="32639"/>
                  </a:lnTo>
                  <a:lnTo>
                    <a:pt x="6688" y="32893"/>
                  </a:lnTo>
                  <a:lnTo>
                    <a:pt x="5852" y="33148"/>
                  </a:lnTo>
                  <a:lnTo>
                    <a:pt x="5053" y="33366"/>
                  </a:lnTo>
                  <a:lnTo>
                    <a:pt x="4289" y="33548"/>
                  </a:lnTo>
                  <a:lnTo>
                    <a:pt x="3599" y="33693"/>
                  </a:lnTo>
                  <a:lnTo>
                    <a:pt x="2981" y="33766"/>
                  </a:lnTo>
                  <a:lnTo>
                    <a:pt x="2472" y="33766"/>
                  </a:lnTo>
                  <a:lnTo>
                    <a:pt x="2254" y="33729"/>
                  </a:lnTo>
                  <a:lnTo>
                    <a:pt x="2109" y="33693"/>
                  </a:lnTo>
                  <a:lnTo>
                    <a:pt x="1963" y="33657"/>
                  </a:lnTo>
                  <a:lnTo>
                    <a:pt x="1854" y="33584"/>
                  </a:lnTo>
                  <a:lnTo>
                    <a:pt x="1854" y="33584"/>
                  </a:lnTo>
                  <a:lnTo>
                    <a:pt x="1818" y="33475"/>
                  </a:lnTo>
                  <a:lnTo>
                    <a:pt x="1745" y="33293"/>
                  </a:lnTo>
                  <a:lnTo>
                    <a:pt x="1709" y="32821"/>
                  </a:lnTo>
                  <a:lnTo>
                    <a:pt x="1709" y="32166"/>
                  </a:lnTo>
                  <a:lnTo>
                    <a:pt x="1745" y="31330"/>
                  </a:lnTo>
                  <a:lnTo>
                    <a:pt x="1927" y="29331"/>
                  </a:lnTo>
                  <a:lnTo>
                    <a:pt x="2181" y="27078"/>
                  </a:lnTo>
                  <a:lnTo>
                    <a:pt x="2399" y="24716"/>
                  </a:lnTo>
                  <a:lnTo>
                    <a:pt x="2508" y="23552"/>
                  </a:lnTo>
                  <a:lnTo>
                    <a:pt x="2581" y="22498"/>
                  </a:lnTo>
                  <a:lnTo>
                    <a:pt x="2654" y="21481"/>
                  </a:lnTo>
                  <a:lnTo>
                    <a:pt x="2654" y="20608"/>
                  </a:lnTo>
                  <a:lnTo>
                    <a:pt x="2581" y="19882"/>
                  </a:lnTo>
                  <a:lnTo>
                    <a:pt x="2545" y="19591"/>
                  </a:lnTo>
                  <a:lnTo>
                    <a:pt x="2472" y="19300"/>
                  </a:lnTo>
                  <a:lnTo>
                    <a:pt x="2472" y="19300"/>
                  </a:lnTo>
                  <a:lnTo>
                    <a:pt x="2327" y="18864"/>
                  </a:lnTo>
                  <a:lnTo>
                    <a:pt x="2145" y="18428"/>
                  </a:lnTo>
                  <a:lnTo>
                    <a:pt x="1672" y="17446"/>
                  </a:lnTo>
                  <a:lnTo>
                    <a:pt x="1164" y="16356"/>
                  </a:lnTo>
                  <a:lnTo>
                    <a:pt x="655" y="15266"/>
                  </a:lnTo>
                  <a:lnTo>
                    <a:pt x="437" y="14684"/>
                  </a:lnTo>
                  <a:lnTo>
                    <a:pt x="255" y="14103"/>
                  </a:lnTo>
                  <a:lnTo>
                    <a:pt x="110" y="13485"/>
                  </a:lnTo>
                  <a:lnTo>
                    <a:pt x="0" y="12903"/>
                  </a:lnTo>
                  <a:lnTo>
                    <a:pt x="0" y="12322"/>
                  </a:lnTo>
                  <a:lnTo>
                    <a:pt x="37" y="11740"/>
                  </a:lnTo>
                  <a:lnTo>
                    <a:pt x="110" y="11449"/>
                  </a:lnTo>
                  <a:lnTo>
                    <a:pt x="182" y="11159"/>
                  </a:lnTo>
                  <a:lnTo>
                    <a:pt x="291" y="10868"/>
                  </a:lnTo>
                  <a:lnTo>
                    <a:pt x="400" y="10577"/>
                  </a:lnTo>
                  <a:lnTo>
                    <a:pt x="400" y="10577"/>
                  </a:lnTo>
                  <a:lnTo>
                    <a:pt x="691" y="9959"/>
                  </a:lnTo>
                  <a:lnTo>
                    <a:pt x="982" y="9232"/>
                  </a:lnTo>
                  <a:lnTo>
                    <a:pt x="1563" y="7633"/>
                  </a:lnTo>
                  <a:lnTo>
                    <a:pt x="2109" y="5888"/>
                  </a:lnTo>
                  <a:lnTo>
                    <a:pt x="2617" y="4144"/>
                  </a:lnTo>
                  <a:lnTo>
                    <a:pt x="3054" y="2545"/>
                  </a:lnTo>
                  <a:lnTo>
                    <a:pt x="3381" y="1200"/>
                  </a:lnTo>
                  <a:lnTo>
                    <a:pt x="3671" y="0"/>
                  </a:lnTo>
                  <a:lnTo>
                    <a:pt x="3671" y="0"/>
                  </a:lnTo>
                  <a:lnTo>
                    <a:pt x="5016" y="291"/>
                  </a:lnTo>
                  <a:lnTo>
                    <a:pt x="5743" y="509"/>
                  </a:lnTo>
                  <a:lnTo>
                    <a:pt x="6070" y="618"/>
                  </a:lnTo>
                  <a:lnTo>
                    <a:pt x="6361" y="727"/>
                  </a:lnTo>
                  <a:lnTo>
                    <a:pt x="6361" y="727"/>
                  </a:lnTo>
                  <a:lnTo>
                    <a:pt x="7015" y="1054"/>
                  </a:lnTo>
                  <a:lnTo>
                    <a:pt x="7669" y="1418"/>
                  </a:lnTo>
                  <a:lnTo>
                    <a:pt x="8324" y="1818"/>
                  </a:lnTo>
                  <a:lnTo>
                    <a:pt x="8942" y="2254"/>
                  </a:lnTo>
                  <a:lnTo>
                    <a:pt x="9596" y="2690"/>
                  </a:lnTo>
                  <a:lnTo>
                    <a:pt x="10214" y="3163"/>
                  </a:lnTo>
                  <a:lnTo>
                    <a:pt x="10868" y="3708"/>
                  </a:lnTo>
                  <a:lnTo>
                    <a:pt x="11486" y="4217"/>
                  </a:lnTo>
                  <a:lnTo>
                    <a:pt x="11486" y="4217"/>
                  </a:lnTo>
                  <a:lnTo>
                    <a:pt x="12394" y="5053"/>
                  </a:lnTo>
                  <a:lnTo>
                    <a:pt x="13267" y="5888"/>
                  </a:lnTo>
                  <a:lnTo>
                    <a:pt x="14139" y="6797"/>
                  </a:lnTo>
                  <a:lnTo>
                    <a:pt x="14975" y="7706"/>
                  </a:lnTo>
                  <a:lnTo>
                    <a:pt x="15775" y="8614"/>
                  </a:lnTo>
                  <a:lnTo>
                    <a:pt x="16538" y="9523"/>
                  </a:lnTo>
                  <a:lnTo>
                    <a:pt x="17265" y="10468"/>
                  </a:lnTo>
                  <a:lnTo>
                    <a:pt x="17955" y="11340"/>
                  </a:lnTo>
                  <a:lnTo>
                    <a:pt x="18609" y="12249"/>
                  </a:lnTo>
                  <a:lnTo>
                    <a:pt x="19191" y="13085"/>
                  </a:lnTo>
                  <a:lnTo>
                    <a:pt x="19773" y="13921"/>
                  </a:lnTo>
                  <a:lnTo>
                    <a:pt x="20245" y="14684"/>
                  </a:lnTo>
                  <a:lnTo>
                    <a:pt x="20681" y="15411"/>
                  </a:lnTo>
                  <a:lnTo>
                    <a:pt x="21045" y="16102"/>
                  </a:lnTo>
                  <a:lnTo>
                    <a:pt x="21372" y="16683"/>
                  </a:lnTo>
                  <a:lnTo>
                    <a:pt x="21590" y="17192"/>
                  </a:lnTo>
                  <a:lnTo>
                    <a:pt x="21590" y="17192"/>
                  </a:lnTo>
                  <a:lnTo>
                    <a:pt x="21844" y="17919"/>
                  </a:lnTo>
                  <a:lnTo>
                    <a:pt x="22135" y="18828"/>
                  </a:lnTo>
                  <a:lnTo>
                    <a:pt x="22462" y="19954"/>
                  </a:lnTo>
                  <a:lnTo>
                    <a:pt x="22789" y="21263"/>
                  </a:lnTo>
                  <a:lnTo>
                    <a:pt x="23480" y="24134"/>
                  </a:lnTo>
                  <a:lnTo>
                    <a:pt x="24134" y="27187"/>
                  </a:lnTo>
                  <a:lnTo>
                    <a:pt x="25261" y="32566"/>
                  </a:lnTo>
                  <a:lnTo>
                    <a:pt x="25733" y="34892"/>
                  </a:lnTo>
                  <a:lnTo>
                    <a:pt x="25733" y="34892"/>
                  </a:lnTo>
                  <a:lnTo>
                    <a:pt x="25770" y="34965"/>
                  </a:lnTo>
                  <a:lnTo>
                    <a:pt x="25733" y="35074"/>
                  </a:lnTo>
                  <a:lnTo>
                    <a:pt x="25733" y="35147"/>
                  </a:lnTo>
                  <a:lnTo>
                    <a:pt x="25661" y="35219"/>
                  </a:lnTo>
                  <a:lnTo>
                    <a:pt x="25479" y="35328"/>
                  </a:lnTo>
                  <a:lnTo>
                    <a:pt x="25261" y="35401"/>
                  </a:lnTo>
                  <a:lnTo>
                    <a:pt x="24970" y="35474"/>
                  </a:lnTo>
                  <a:lnTo>
                    <a:pt x="24607" y="35547"/>
                  </a:lnTo>
                  <a:lnTo>
                    <a:pt x="23843" y="35547"/>
                  </a:lnTo>
                  <a:lnTo>
                    <a:pt x="23044" y="35510"/>
                  </a:lnTo>
                  <a:lnTo>
                    <a:pt x="22317" y="35401"/>
                  </a:lnTo>
                  <a:lnTo>
                    <a:pt x="22026" y="35328"/>
                  </a:lnTo>
                  <a:lnTo>
                    <a:pt x="21772" y="35256"/>
                  </a:lnTo>
                  <a:lnTo>
                    <a:pt x="21626" y="35183"/>
                  </a:lnTo>
                  <a:lnTo>
                    <a:pt x="21553" y="351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9" name="Google Shape;2738;p11">
              <a:extLst>
                <a:ext uri="{FF2B5EF4-FFF2-40B4-BE49-F238E27FC236}">
                  <a16:creationId xmlns:a16="http://schemas.microsoft.com/office/drawing/2014/main" id="{54F521CB-2664-1CAC-85BF-209047A84EB0}"/>
                </a:ext>
              </a:extLst>
            </p:cNvPr>
            <p:cNvSpPr/>
            <p:nvPr/>
          </p:nvSpPr>
          <p:spPr>
            <a:xfrm>
              <a:off x="5709050" y="2687550"/>
              <a:ext cx="751475" cy="905050"/>
            </a:xfrm>
            <a:custGeom>
              <a:avLst/>
              <a:gdLst/>
              <a:ahLst/>
              <a:cxnLst/>
              <a:rect l="l" t="t" r="r" b="b"/>
              <a:pathLst>
                <a:path w="30059" h="36202" extrusionOk="0">
                  <a:moveTo>
                    <a:pt x="3344" y="1"/>
                  </a:moveTo>
                  <a:lnTo>
                    <a:pt x="3090" y="37"/>
                  </a:lnTo>
                  <a:lnTo>
                    <a:pt x="2799" y="146"/>
                  </a:lnTo>
                  <a:lnTo>
                    <a:pt x="2508" y="328"/>
                  </a:lnTo>
                  <a:lnTo>
                    <a:pt x="2254" y="582"/>
                  </a:lnTo>
                  <a:lnTo>
                    <a:pt x="1963" y="837"/>
                  </a:lnTo>
                  <a:lnTo>
                    <a:pt x="1672" y="1164"/>
                  </a:lnTo>
                  <a:lnTo>
                    <a:pt x="1164" y="1854"/>
                  </a:lnTo>
                  <a:lnTo>
                    <a:pt x="691" y="2509"/>
                  </a:lnTo>
                  <a:lnTo>
                    <a:pt x="328" y="3127"/>
                  </a:lnTo>
                  <a:lnTo>
                    <a:pt x="1" y="3708"/>
                  </a:lnTo>
                  <a:lnTo>
                    <a:pt x="1" y="3817"/>
                  </a:lnTo>
                  <a:lnTo>
                    <a:pt x="73" y="3999"/>
                  </a:lnTo>
                  <a:lnTo>
                    <a:pt x="328" y="4544"/>
                  </a:lnTo>
                  <a:lnTo>
                    <a:pt x="764" y="5235"/>
                  </a:lnTo>
                  <a:lnTo>
                    <a:pt x="1345" y="6107"/>
                  </a:lnTo>
                  <a:lnTo>
                    <a:pt x="2000" y="7125"/>
                  </a:lnTo>
                  <a:lnTo>
                    <a:pt x="2799" y="8215"/>
                  </a:lnTo>
                  <a:lnTo>
                    <a:pt x="3671" y="9342"/>
                  </a:lnTo>
                  <a:lnTo>
                    <a:pt x="4653" y="10541"/>
                  </a:lnTo>
                  <a:lnTo>
                    <a:pt x="5634" y="11704"/>
                  </a:lnTo>
                  <a:lnTo>
                    <a:pt x="6688" y="12867"/>
                  </a:lnTo>
                  <a:lnTo>
                    <a:pt x="7706" y="13958"/>
                  </a:lnTo>
                  <a:lnTo>
                    <a:pt x="8760" y="14939"/>
                  </a:lnTo>
                  <a:lnTo>
                    <a:pt x="9305" y="15375"/>
                  </a:lnTo>
                  <a:lnTo>
                    <a:pt x="9814" y="15775"/>
                  </a:lnTo>
                  <a:lnTo>
                    <a:pt x="10286" y="16138"/>
                  </a:lnTo>
                  <a:lnTo>
                    <a:pt x="10795" y="16465"/>
                  </a:lnTo>
                  <a:lnTo>
                    <a:pt x="11268" y="16756"/>
                  </a:lnTo>
                  <a:lnTo>
                    <a:pt x="11740" y="16974"/>
                  </a:lnTo>
                  <a:lnTo>
                    <a:pt x="12176" y="17156"/>
                  </a:lnTo>
                  <a:lnTo>
                    <a:pt x="12576" y="17265"/>
                  </a:lnTo>
                  <a:lnTo>
                    <a:pt x="13085" y="17265"/>
                  </a:lnTo>
                  <a:lnTo>
                    <a:pt x="13630" y="17229"/>
                  </a:lnTo>
                  <a:lnTo>
                    <a:pt x="14248" y="17047"/>
                  </a:lnTo>
                  <a:lnTo>
                    <a:pt x="14902" y="16829"/>
                  </a:lnTo>
                  <a:lnTo>
                    <a:pt x="15593" y="16574"/>
                  </a:lnTo>
                  <a:lnTo>
                    <a:pt x="16320" y="16247"/>
                  </a:lnTo>
                  <a:lnTo>
                    <a:pt x="17737" y="15520"/>
                  </a:lnTo>
                  <a:lnTo>
                    <a:pt x="19155" y="14830"/>
                  </a:lnTo>
                  <a:lnTo>
                    <a:pt x="19845" y="14503"/>
                  </a:lnTo>
                  <a:lnTo>
                    <a:pt x="20463" y="14248"/>
                  </a:lnTo>
                  <a:lnTo>
                    <a:pt x="21045" y="14030"/>
                  </a:lnTo>
                  <a:lnTo>
                    <a:pt x="21554" y="13921"/>
                  </a:lnTo>
                  <a:lnTo>
                    <a:pt x="21808" y="13885"/>
                  </a:lnTo>
                  <a:lnTo>
                    <a:pt x="22026" y="13849"/>
                  </a:lnTo>
                  <a:lnTo>
                    <a:pt x="22208" y="13885"/>
                  </a:lnTo>
                  <a:lnTo>
                    <a:pt x="22390" y="13921"/>
                  </a:lnTo>
                  <a:lnTo>
                    <a:pt x="22426" y="13958"/>
                  </a:lnTo>
                  <a:lnTo>
                    <a:pt x="22426" y="14067"/>
                  </a:lnTo>
                  <a:lnTo>
                    <a:pt x="22280" y="14394"/>
                  </a:lnTo>
                  <a:lnTo>
                    <a:pt x="22099" y="14939"/>
                  </a:lnTo>
                  <a:lnTo>
                    <a:pt x="21844" y="15593"/>
                  </a:lnTo>
                  <a:lnTo>
                    <a:pt x="21735" y="15957"/>
                  </a:lnTo>
                  <a:lnTo>
                    <a:pt x="21663" y="16356"/>
                  </a:lnTo>
                  <a:lnTo>
                    <a:pt x="21590" y="16793"/>
                  </a:lnTo>
                  <a:lnTo>
                    <a:pt x="21517" y="17229"/>
                  </a:lnTo>
                  <a:lnTo>
                    <a:pt x="21517" y="17701"/>
                  </a:lnTo>
                  <a:lnTo>
                    <a:pt x="21590" y="18174"/>
                  </a:lnTo>
                  <a:lnTo>
                    <a:pt x="21663" y="18646"/>
                  </a:lnTo>
                  <a:lnTo>
                    <a:pt x="21808" y="19155"/>
                  </a:lnTo>
                  <a:lnTo>
                    <a:pt x="22171" y="20136"/>
                  </a:lnTo>
                  <a:lnTo>
                    <a:pt x="22535" y="21190"/>
                  </a:lnTo>
                  <a:lnTo>
                    <a:pt x="22862" y="22317"/>
                  </a:lnTo>
                  <a:lnTo>
                    <a:pt x="23189" y="23444"/>
                  </a:lnTo>
                  <a:lnTo>
                    <a:pt x="23480" y="24571"/>
                  </a:lnTo>
                  <a:lnTo>
                    <a:pt x="23698" y="25734"/>
                  </a:lnTo>
                  <a:lnTo>
                    <a:pt x="23916" y="26897"/>
                  </a:lnTo>
                  <a:lnTo>
                    <a:pt x="24061" y="28023"/>
                  </a:lnTo>
                  <a:lnTo>
                    <a:pt x="24170" y="29114"/>
                  </a:lnTo>
                  <a:lnTo>
                    <a:pt x="24207" y="30204"/>
                  </a:lnTo>
                  <a:lnTo>
                    <a:pt x="24170" y="31222"/>
                  </a:lnTo>
                  <a:lnTo>
                    <a:pt x="24134" y="31694"/>
                  </a:lnTo>
                  <a:lnTo>
                    <a:pt x="24061" y="32167"/>
                  </a:lnTo>
                  <a:lnTo>
                    <a:pt x="23989" y="32603"/>
                  </a:lnTo>
                  <a:lnTo>
                    <a:pt x="23843" y="33039"/>
                  </a:lnTo>
                  <a:lnTo>
                    <a:pt x="23734" y="33439"/>
                  </a:lnTo>
                  <a:lnTo>
                    <a:pt x="23553" y="33839"/>
                  </a:lnTo>
                  <a:lnTo>
                    <a:pt x="23371" y="34202"/>
                  </a:lnTo>
                  <a:lnTo>
                    <a:pt x="23189" y="34529"/>
                  </a:lnTo>
                  <a:lnTo>
                    <a:pt x="22935" y="34820"/>
                  </a:lnTo>
                  <a:lnTo>
                    <a:pt x="22680" y="35111"/>
                  </a:lnTo>
                  <a:lnTo>
                    <a:pt x="22571" y="35220"/>
                  </a:lnTo>
                  <a:lnTo>
                    <a:pt x="22499" y="35365"/>
                  </a:lnTo>
                  <a:lnTo>
                    <a:pt x="22499" y="35474"/>
                  </a:lnTo>
                  <a:lnTo>
                    <a:pt x="22499" y="35547"/>
                  </a:lnTo>
                  <a:lnTo>
                    <a:pt x="22571" y="35656"/>
                  </a:lnTo>
                  <a:lnTo>
                    <a:pt x="22680" y="35729"/>
                  </a:lnTo>
                  <a:lnTo>
                    <a:pt x="22935" y="35910"/>
                  </a:lnTo>
                  <a:lnTo>
                    <a:pt x="23334" y="36019"/>
                  </a:lnTo>
                  <a:lnTo>
                    <a:pt x="23843" y="36128"/>
                  </a:lnTo>
                  <a:lnTo>
                    <a:pt x="24389" y="36201"/>
                  </a:lnTo>
                  <a:lnTo>
                    <a:pt x="25624" y="36201"/>
                  </a:lnTo>
                  <a:lnTo>
                    <a:pt x="26279" y="36165"/>
                  </a:lnTo>
                  <a:lnTo>
                    <a:pt x="26896" y="36092"/>
                  </a:lnTo>
                  <a:lnTo>
                    <a:pt x="27478" y="35983"/>
                  </a:lnTo>
                  <a:lnTo>
                    <a:pt x="28023" y="35801"/>
                  </a:lnTo>
                  <a:lnTo>
                    <a:pt x="28496" y="35620"/>
                  </a:lnTo>
                  <a:lnTo>
                    <a:pt x="28677" y="35511"/>
                  </a:lnTo>
                  <a:lnTo>
                    <a:pt x="28859" y="35365"/>
                  </a:lnTo>
                  <a:lnTo>
                    <a:pt x="29004" y="35220"/>
                  </a:lnTo>
                  <a:lnTo>
                    <a:pt x="29113" y="35074"/>
                  </a:lnTo>
                  <a:lnTo>
                    <a:pt x="29404" y="34529"/>
                  </a:lnTo>
                  <a:lnTo>
                    <a:pt x="29659" y="33984"/>
                  </a:lnTo>
                  <a:lnTo>
                    <a:pt x="29840" y="33403"/>
                  </a:lnTo>
                  <a:lnTo>
                    <a:pt x="29949" y="32821"/>
                  </a:lnTo>
                  <a:lnTo>
                    <a:pt x="30022" y="32203"/>
                  </a:lnTo>
                  <a:lnTo>
                    <a:pt x="30058" y="31585"/>
                  </a:lnTo>
                  <a:lnTo>
                    <a:pt x="30022" y="31004"/>
                  </a:lnTo>
                  <a:lnTo>
                    <a:pt x="29986" y="30386"/>
                  </a:lnTo>
                  <a:lnTo>
                    <a:pt x="29877" y="29768"/>
                  </a:lnTo>
                  <a:lnTo>
                    <a:pt x="29731" y="29114"/>
                  </a:lnTo>
                  <a:lnTo>
                    <a:pt x="29586" y="28496"/>
                  </a:lnTo>
                  <a:lnTo>
                    <a:pt x="29404" y="27878"/>
                  </a:lnTo>
                  <a:lnTo>
                    <a:pt x="28968" y="26642"/>
                  </a:lnTo>
                  <a:lnTo>
                    <a:pt x="28496" y="25407"/>
                  </a:lnTo>
                  <a:lnTo>
                    <a:pt x="27478" y="23044"/>
                  </a:lnTo>
                  <a:lnTo>
                    <a:pt x="27042" y="21917"/>
                  </a:lnTo>
                  <a:lnTo>
                    <a:pt x="26606" y="20863"/>
                  </a:lnTo>
                  <a:lnTo>
                    <a:pt x="26315" y="19882"/>
                  </a:lnTo>
                  <a:lnTo>
                    <a:pt x="26206" y="19409"/>
                  </a:lnTo>
                  <a:lnTo>
                    <a:pt x="26097" y="18973"/>
                  </a:lnTo>
                  <a:lnTo>
                    <a:pt x="26060" y="18537"/>
                  </a:lnTo>
                  <a:lnTo>
                    <a:pt x="26060" y="18137"/>
                  </a:lnTo>
                  <a:lnTo>
                    <a:pt x="26097" y="17774"/>
                  </a:lnTo>
                  <a:lnTo>
                    <a:pt x="26206" y="17447"/>
                  </a:lnTo>
                  <a:lnTo>
                    <a:pt x="27042" y="15157"/>
                  </a:lnTo>
                  <a:lnTo>
                    <a:pt x="27369" y="14248"/>
                  </a:lnTo>
                  <a:lnTo>
                    <a:pt x="27660" y="13376"/>
                  </a:lnTo>
                  <a:lnTo>
                    <a:pt x="27878" y="12540"/>
                  </a:lnTo>
                  <a:lnTo>
                    <a:pt x="28096" y="11668"/>
                  </a:lnTo>
                  <a:lnTo>
                    <a:pt x="28278" y="10686"/>
                  </a:lnTo>
                  <a:lnTo>
                    <a:pt x="28459" y="9560"/>
                  </a:lnTo>
                  <a:lnTo>
                    <a:pt x="28605" y="8469"/>
                  </a:lnTo>
                  <a:lnTo>
                    <a:pt x="28786" y="7452"/>
                  </a:lnTo>
                  <a:lnTo>
                    <a:pt x="29113" y="5816"/>
                  </a:lnTo>
                  <a:lnTo>
                    <a:pt x="29368" y="4762"/>
                  </a:lnTo>
                  <a:lnTo>
                    <a:pt x="29477" y="4399"/>
                  </a:lnTo>
                  <a:lnTo>
                    <a:pt x="28786" y="4544"/>
                  </a:lnTo>
                  <a:lnTo>
                    <a:pt x="27987" y="4726"/>
                  </a:lnTo>
                  <a:lnTo>
                    <a:pt x="27042" y="5017"/>
                  </a:lnTo>
                  <a:lnTo>
                    <a:pt x="25915" y="5344"/>
                  </a:lnTo>
                  <a:lnTo>
                    <a:pt x="24752" y="5743"/>
                  </a:lnTo>
                  <a:lnTo>
                    <a:pt x="23553" y="6252"/>
                  </a:lnTo>
                  <a:lnTo>
                    <a:pt x="23007" y="6507"/>
                  </a:lnTo>
                  <a:lnTo>
                    <a:pt x="22426" y="6798"/>
                  </a:lnTo>
                  <a:lnTo>
                    <a:pt x="21881" y="7125"/>
                  </a:lnTo>
                  <a:lnTo>
                    <a:pt x="21299" y="7452"/>
                  </a:lnTo>
                  <a:lnTo>
                    <a:pt x="20209" y="8179"/>
                  </a:lnTo>
                  <a:lnTo>
                    <a:pt x="19155" y="8906"/>
                  </a:lnTo>
                  <a:lnTo>
                    <a:pt x="18101" y="9596"/>
                  </a:lnTo>
                  <a:lnTo>
                    <a:pt x="17556" y="9923"/>
                  </a:lnTo>
                  <a:lnTo>
                    <a:pt x="17010" y="10214"/>
                  </a:lnTo>
                  <a:lnTo>
                    <a:pt x="16465" y="10468"/>
                  </a:lnTo>
                  <a:lnTo>
                    <a:pt x="15884" y="10686"/>
                  </a:lnTo>
                  <a:lnTo>
                    <a:pt x="15338" y="10868"/>
                  </a:lnTo>
                  <a:lnTo>
                    <a:pt x="14757" y="11014"/>
                  </a:lnTo>
                  <a:lnTo>
                    <a:pt x="14139" y="11123"/>
                  </a:lnTo>
                  <a:lnTo>
                    <a:pt x="13521" y="11159"/>
                  </a:lnTo>
                  <a:lnTo>
                    <a:pt x="13303" y="11123"/>
                  </a:lnTo>
                  <a:lnTo>
                    <a:pt x="13085" y="11014"/>
                  </a:lnTo>
                  <a:lnTo>
                    <a:pt x="12794" y="10868"/>
                  </a:lnTo>
                  <a:lnTo>
                    <a:pt x="12503" y="10686"/>
                  </a:lnTo>
                  <a:lnTo>
                    <a:pt x="11849" y="10105"/>
                  </a:lnTo>
                  <a:lnTo>
                    <a:pt x="11086" y="9414"/>
                  </a:lnTo>
                  <a:lnTo>
                    <a:pt x="10250" y="8578"/>
                  </a:lnTo>
                  <a:lnTo>
                    <a:pt x="9414" y="7633"/>
                  </a:lnTo>
                  <a:lnTo>
                    <a:pt x="8542" y="6616"/>
                  </a:lnTo>
                  <a:lnTo>
                    <a:pt x="7669" y="5562"/>
                  </a:lnTo>
                  <a:lnTo>
                    <a:pt x="6034" y="3526"/>
                  </a:lnTo>
                  <a:lnTo>
                    <a:pt x="4653" y="1745"/>
                  </a:lnTo>
                  <a:lnTo>
                    <a:pt x="3344" y="1"/>
                  </a:lnTo>
                  <a:close/>
                </a:path>
              </a:pathLst>
            </a:custGeom>
            <a:solidFill>
              <a:srgbClr val="E73C3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0" name="Google Shape;2739;p11">
              <a:extLst>
                <a:ext uri="{FF2B5EF4-FFF2-40B4-BE49-F238E27FC236}">
                  <a16:creationId xmlns:a16="http://schemas.microsoft.com/office/drawing/2014/main" id="{E8AF3CD8-0111-B5D2-C6BD-AC157E652B9C}"/>
                </a:ext>
              </a:extLst>
            </p:cNvPr>
            <p:cNvSpPr/>
            <p:nvPr/>
          </p:nvSpPr>
          <p:spPr>
            <a:xfrm>
              <a:off x="6426875" y="2587600"/>
              <a:ext cx="156325" cy="365300"/>
            </a:xfrm>
            <a:custGeom>
              <a:avLst/>
              <a:gdLst/>
              <a:ahLst/>
              <a:cxnLst/>
              <a:rect l="l" t="t" r="r" b="b"/>
              <a:pathLst>
                <a:path w="6253" h="14612" extrusionOk="0">
                  <a:moveTo>
                    <a:pt x="2581" y="1"/>
                  </a:moveTo>
                  <a:lnTo>
                    <a:pt x="2472" y="74"/>
                  </a:lnTo>
                  <a:lnTo>
                    <a:pt x="2363" y="146"/>
                  </a:lnTo>
                  <a:lnTo>
                    <a:pt x="2181" y="401"/>
                  </a:lnTo>
                  <a:lnTo>
                    <a:pt x="2000" y="691"/>
                  </a:lnTo>
                  <a:lnTo>
                    <a:pt x="1818" y="1091"/>
                  </a:lnTo>
                  <a:lnTo>
                    <a:pt x="1491" y="1927"/>
                  </a:lnTo>
                  <a:lnTo>
                    <a:pt x="1273" y="2763"/>
                  </a:lnTo>
                  <a:lnTo>
                    <a:pt x="1055" y="3635"/>
                  </a:lnTo>
                  <a:lnTo>
                    <a:pt x="1200" y="4072"/>
                  </a:lnTo>
                  <a:lnTo>
                    <a:pt x="1309" y="4471"/>
                  </a:lnTo>
                  <a:lnTo>
                    <a:pt x="1418" y="5126"/>
                  </a:lnTo>
                  <a:lnTo>
                    <a:pt x="1491" y="5707"/>
                  </a:lnTo>
                  <a:lnTo>
                    <a:pt x="1491" y="6252"/>
                  </a:lnTo>
                  <a:lnTo>
                    <a:pt x="1418" y="6725"/>
                  </a:lnTo>
                  <a:lnTo>
                    <a:pt x="1345" y="7088"/>
                  </a:lnTo>
                  <a:lnTo>
                    <a:pt x="1273" y="7452"/>
                  </a:lnTo>
                  <a:lnTo>
                    <a:pt x="1164" y="7742"/>
                  </a:lnTo>
                  <a:lnTo>
                    <a:pt x="1018" y="8033"/>
                  </a:lnTo>
                  <a:lnTo>
                    <a:pt x="764" y="8542"/>
                  </a:lnTo>
                  <a:lnTo>
                    <a:pt x="510" y="8906"/>
                  </a:lnTo>
                  <a:lnTo>
                    <a:pt x="437" y="9087"/>
                  </a:lnTo>
                  <a:lnTo>
                    <a:pt x="328" y="9378"/>
                  </a:lnTo>
                  <a:lnTo>
                    <a:pt x="182" y="10105"/>
                  </a:lnTo>
                  <a:lnTo>
                    <a:pt x="37" y="11014"/>
                  </a:lnTo>
                  <a:lnTo>
                    <a:pt x="1" y="12031"/>
                  </a:lnTo>
                  <a:lnTo>
                    <a:pt x="1" y="12976"/>
                  </a:lnTo>
                  <a:lnTo>
                    <a:pt x="37" y="13412"/>
                  </a:lnTo>
                  <a:lnTo>
                    <a:pt x="73" y="13812"/>
                  </a:lnTo>
                  <a:lnTo>
                    <a:pt x="146" y="14139"/>
                  </a:lnTo>
                  <a:lnTo>
                    <a:pt x="255" y="14357"/>
                  </a:lnTo>
                  <a:lnTo>
                    <a:pt x="400" y="14539"/>
                  </a:lnTo>
                  <a:lnTo>
                    <a:pt x="473" y="14575"/>
                  </a:lnTo>
                  <a:lnTo>
                    <a:pt x="546" y="14612"/>
                  </a:lnTo>
                  <a:lnTo>
                    <a:pt x="655" y="14575"/>
                  </a:lnTo>
                  <a:lnTo>
                    <a:pt x="764" y="14503"/>
                  </a:lnTo>
                  <a:lnTo>
                    <a:pt x="1127" y="14248"/>
                  </a:lnTo>
                  <a:lnTo>
                    <a:pt x="1527" y="13812"/>
                  </a:lnTo>
                  <a:lnTo>
                    <a:pt x="1963" y="13340"/>
                  </a:lnTo>
                  <a:lnTo>
                    <a:pt x="2945" y="12322"/>
                  </a:lnTo>
                  <a:lnTo>
                    <a:pt x="3417" y="11922"/>
                  </a:lnTo>
                  <a:lnTo>
                    <a:pt x="3853" y="11595"/>
                  </a:lnTo>
                  <a:lnTo>
                    <a:pt x="4035" y="11450"/>
                  </a:lnTo>
                  <a:lnTo>
                    <a:pt x="4253" y="11268"/>
                  </a:lnTo>
                  <a:lnTo>
                    <a:pt x="4689" y="10796"/>
                  </a:lnTo>
                  <a:lnTo>
                    <a:pt x="5089" y="10250"/>
                  </a:lnTo>
                  <a:lnTo>
                    <a:pt x="5453" y="9632"/>
                  </a:lnTo>
                  <a:lnTo>
                    <a:pt x="6034" y="8615"/>
                  </a:lnTo>
                  <a:lnTo>
                    <a:pt x="6252" y="8179"/>
                  </a:lnTo>
                  <a:lnTo>
                    <a:pt x="5780" y="7016"/>
                  </a:lnTo>
                  <a:lnTo>
                    <a:pt x="4617" y="4217"/>
                  </a:lnTo>
                  <a:lnTo>
                    <a:pt x="4289" y="3381"/>
                  </a:lnTo>
                  <a:lnTo>
                    <a:pt x="3853" y="2182"/>
                  </a:lnTo>
                  <a:lnTo>
                    <a:pt x="3417" y="982"/>
                  </a:lnTo>
                  <a:lnTo>
                    <a:pt x="3199" y="473"/>
                  </a:lnTo>
                  <a:lnTo>
                    <a:pt x="3090" y="292"/>
                  </a:lnTo>
                  <a:lnTo>
                    <a:pt x="2981" y="146"/>
                  </a:lnTo>
                  <a:lnTo>
                    <a:pt x="2872" y="74"/>
                  </a:lnTo>
                  <a:lnTo>
                    <a:pt x="2763" y="1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1" name="Google Shape;2740;p11">
              <a:extLst>
                <a:ext uri="{FF2B5EF4-FFF2-40B4-BE49-F238E27FC236}">
                  <a16:creationId xmlns:a16="http://schemas.microsoft.com/office/drawing/2014/main" id="{7193E435-4386-C782-A350-E1737D3154DE}"/>
                </a:ext>
              </a:extLst>
            </p:cNvPr>
            <p:cNvSpPr/>
            <p:nvPr/>
          </p:nvSpPr>
          <p:spPr>
            <a:xfrm>
              <a:off x="6426875" y="2587600"/>
              <a:ext cx="156325" cy="365300"/>
            </a:xfrm>
            <a:custGeom>
              <a:avLst/>
              <a:gdLst/>
              <a:ahLst/>
              <a:cxnLst/>
              <a:rect l="l" t="t" r="r" b="b"/>
              <a:pathLst>
                <a:path w="6253" h="14612" fill="none" extrusionOk="0">
                  <a:moveTo>
                    <a:pt x="546" y="14612"/>
                  </a:moveTo>
                  <a:lnTo>
                    <a:pt x="546" y="14612"/>
                  </a:lnTo>
                  <a:lnTo>
                    <a:pt x="655" y="14575"/>
                  </a:lnTo>
                  <a:lnTo>
                    <a:pt x="764" y="14503"/>
                  </a:lnTo>
                  <a:lnTo>
                    <a:pt x="1127" y="14248"/>
                  </a:lnTo>
                  <a:lnTo>
                    <a:pt x="1527" y="13812"/>
                  </a:lnTo>
                  <a:lnTo>
                    <a:pt x="1963" y="13340"/>
                  </a:lnTo>
                  <a:lnTo>
                    <a:pt x="2945" y="12322"/>
                  </a:lnTo>
                  <a:lnTo>
                    <a:pt x="3417" y="11922"/>
                  </a:lnTo>
                  <a:lnTo>
                    <a:pt x="3853" y="11595"/>
                  </a:lnTo>
                  <a:lnTo>
                    <a:pt x="3853" y="11595"/>
                  </a:lnTo>
                  <a:lnTo>
                    <a:pt x="4035" y="11450"/>
                  </a:lnTo>
                  <a:lnTo>
                    <a:pt x="4253" y="11268"/>
                  </a:lnTo>
                  <a:lnTo>
                    <a:pt x="4689" y="10796"/>
                  </a:lnTo>
                  <a:lnTo>
                    <a:pt x="5089" y="10250"/>
                  </a:lnTo>
                  <a:lnTo>
                    <a:pt x="5453" y="9632"/>
                  </a:lnTo>
                  <a:lnTo>
                    <a:pt x="6034" y="8615"/>
                  </a:lnTo>
                  <a:lnTo>
                    <a:pt x="6252" y="8179"/>
                  </a:lnTo>
                  <a:lnTo>
                    <a:pt x="6252" y="8179"/>
                  </a:lnTo>
                  <a:lnTo>
                    <a:pt x="5780" y="7016"/>
                  </a:lnTo>
                  <a:lnTo>
                    <a:pt x="4617" y="4217"/>
                  </a:lnTo>
                  <a:lnTo>
                    <a:pt x="4617" y="4217"/>
                  </a:lnTo>
                  <a:lnTo>
                    <a:pt x="4289" y="3381"/>
                  </a:lnTo>
                  <a:lnTo>
                    <a:pt x="4289" y="3381"/>
                  </a:lnTo>
                  <a:lnTo>
                    <a:pt x="3853" y="2182"/>
                  </a:lnTo>
                  <a:lnTo>
                    <a:pt x="3417" y="982"/>
                  </a:lnTo>
                  <a:lnTo>
                    <a:pt x="3417" y="982"/>
                  </a:lnTo>
                  <a:lnTo>
                    <a:pt x="3199" y="473"/>
                  </a:lnTo>
                  <a:lnTo>
                    <a:pt x="3090" y="292"/>
                  </a:lnTo>
                  <a:lnTo>
                    <a:pt x="2981" y="146"/>
                  </a:lnTo>
                  <a:lnTo>
                    <a:pt x="2872" y="74"/>
                  </a:lnTo>
                  <a:lnTo>
                    <a:pt x="2763" y="1"/>
                  </a:lnTo>
                  <a:lnTo>
                    <a:pt x="2654" y="1"/>
                  </a:lnTo>
                  <a:lnTo>
                    <a:pt x="2581" y="1"/>
                  </a:lnTo>
                  <a:lnTo>
                    <a:pt x="2472" y="74"/>
                  </a:lnTo>
                  <a:lnTo>
                    <a:pt x="2363" y="146"/>
                  </a:lnTo>
                  <a:lnTo>
                    <a:pt x="2181" y="401"/>
                  </a:lnTo>
                  <a:lnTo>
                    <a:pt x="2000" y="691"/>
                  </a:lnTo>
                  <a:lnTo>
                    <a:pt x="1818" y="1091"/>
                  </a:lnTo>
                  <a:lnTo>
                    <a:pt x="1491" y="1927"/>
                  </a:lnTo>
                  <a:lnTo>
                    <a:pt x="1273" y="2763"/>
                  </a:lnTo>
                  <a:lnTo>
                    <a:pt x="1055" y="3635"/>
                  </a:lnTo>
                  <a:lnTo>
                    <a:pt x="1055" y="3635"/>
                  </a:lnTo>
                  <a:lnTo>
                    <a:pt x="1200" y="4072"/>
                  </a:lnTo>
                  <a:lnTo>
                    <a:pt x="1309" y="4471"/>
                  </a:lnTo>
                  <a:lnTo>
                    <a:pt x="1309" y="4471"/>
                  </a:lnTo>
                  <a:lnTo>
                    <a:pt x="1418" y="5126"/>
                  </a:lnTo>
                  <a:lnTo>
                    <a:pt x="1491" y="5707"/>
                  </a:lnTo>
                  <a:lnTo>
                    <a:pt x="1491" y="6252"/>
                  </a:lnTo>
                  <a:lnTo>
                    <a:pt x="1418" y="6725"/>
                  </a:lnTo>
                  <a:lnTo>
                    <a:pt x="1418" y="6725"/>
                  </a:lnTo>
                  <a:lnTo>
                    <a:pt x="1345" y="7088"/>
                  </a:lnTo>
                  <a:lnTo>
                    <a:pt x="1273" y="7452"/>
                  </a:lnTo>
                  <a:lnTo>
                    <a:pt x="1164" y="7742"/>
                  </a:lnTo>
                  <a:lnTo>
                    <a:pt x="1018" y="8033"/>
                  </a:lnTo>
                  <a:lnTo>
                    <a:pt x="764" y="8542"/>
                  </a:lnTo>
                  <a:lnTo>
                    <a:pt x="510" y="8906"/>
                  </a:lnTo>
                  <a:lnTo>
                    <a:pt x="510" y="8906"/>
                  </a:lnTo>
                  <a:lnTo>
                    <a:pt x="437" y="9087"/>
                  </a:lnTo>
                  <a:lnTo>
                    <a:pt x="328" y="9378"/>
                  </a:lnTo>
                  <a:lnTo>
                    <a:pt x="182" y="10105"/>
                  </a:lnTo>
                  <a:lnTo>
                    <a:pt x="37" y="11014"/>
                  </a:lnTo>
                  <a:lnTo>
                    <a:pt x="1" y="12031"/>
                  </a:lnTo>
                  <a:lnTo>
                    <a:pt x="1" y="12976"/>
                  </a:lnTo>
                  <a:lnTo>
                    <a:pt x="37" y="13412"/>
                  </a:lnTo>
                  <a:lnTo>
                    <a:pt x="73" y="13812"/>
                  </a:lnTo>
                  <a:lnTo>
                    <a:pt x="146" y="14139"/>
                  </a:lnTo>
                  <a:lnTo>
                    <a:pt x="255" y="14357"/>
                  </a:lnTo>
                  <a:lnTo>
                    <a:pt x="400" y="14539"/>
                  </a:lnTo>
                  <a:lnTo>
                    <a:pt x="473" y="14575"/>
                  </a:lnTo>
                  <a:lnTo>
                    <a:pt x="546" y="14612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2" name="Google Shape;2741;p11">
              <a:extLst>
                <a:ext uri="{FF2B5EF4-FFF2-40B4-BE49-F238E27FC236}">
                  <a16:creationId xmlns:a16="http://schemas.microsoft.com/office/drawing/2014/main" id="{6C60C631-D90B-0436-BC82-568A5B759B31}"/>
                </a:ext>
              </a:extLst>
            </p:cNvPr>
            <p:cNvSpPr/>
            <p:nvPr/>
          </p:nvSpPr>
          <p:spPr>
            <a:xfrm>
              <a:off x="6534100" y="2672100"/>
              <a:ext cx="11825" cy="20925"/>
            </a:xfrm>
            <a:custGeom>
              <a:avLst/>
              <a:gdLst/>
              <a:ahLst/>
              <a:cxnLst/>
              <a:rect l="l" t="t" r="r" b="b"/>
              <a:pathLst>
                <a:path w="473" h="837" extrusionOk="0">
                  <a:moveTo>
                    <a:pt x="0" y="1"/>
                  </a:moveTo>
                  <a:lnTo>
                    <a:pt x="328" y="837"/>
                  </a:lnTo>
                  <a:lnTo>
                    <a:pt x="437" y="655"/>
                  </a:lnTo>
                  <a:lnTo>
                    <a:pt x="473" y="546"/>
                  </a:lnTo>
                  <a:lnTo>
                    <a:pt x="437" y="328"/>
                  </a:lnTo>
                  <a:lnTo>
                    <a:pt x="328" y="183"/>
                  </a:lnTo>
                  <a:lnTo>
                    <a:pt x="182" y="7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0D0D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3" name="Google Shape;2742;p11">
              <a:extLst>
                <a:ext uri="{FF2B5EF4-FFF2-40B4-BE49-F238E27FC236}">
                  <a16:creationId xmlns:a16="http://schemas.microsoft.com/office/drawing/2014/main" id="{7C09983D-EADE-1F38-50BA-97E8C538D0DF}"/>
                </a:ext>
              </a:extLst>
            </p:cNvPr>
            <p:cNvSpPr/>
            <p:nvPr/>
          </p:nvSpPr>
          <p:spPr>
            <a:xfrm>
              <a:off x="6534100" y="2672100"/>
              <a:ext cx="11825" cy="20925"/>
            </a:xfrm>
            <a:custGeom>
              <a:avLst/>
              <a:gdLst/>
              <a:ahLst/>
              <a:cxnLst/>
              <a:rect l="l" t="t" r="r" b="b"/>
              <a:pathLst>
                <a:path w="473" h="837" fill="none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328" y="837"/>
                  </a:lnTo>
                  <a:lnTo>
                    <a:pt x="328" y="837"/>
                  </a:lnTo>
                  <a:lnTo>
                    <a:pt x="328" y="837"/>
                  </a:lnTo>
                  <a:lnTo>
                    <a:pt x="437" y="655"/>
                  </a:lnTo>
                  <a:lnTo>
                    <a:pt x="473" y="546"/>
                  </a:lnTo>
                  <a:lnTo>
                    <a:pt x="473" y="546"/>
                  </a:lnTo>
                  <a:lnTo>
                    <a:pt x="437" y="328"/>
                  </a:lnTo>
                  <a:lnTo>
                    <a:pt x="328" y="183"/>
                  </a:lnTo>
                  <a:lnTo>
                    <a:pt x="182" y="74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4" name="Google Shape;2743;p11">
              <a:extLst>
                <a:ext uri="{FF2B5EF4-FFF2-40B4-BE49-F238E27FC236}">
                  <a16:creationId xmlns:a16="http://schemas.microsoft.com/office/drawing/2014/main" id="{E0C0F4C5-E4CB-51DE-3C39-C345538D69D4}"/>
                </a:ext>
              </a:extLst>
            </p:cNvPr>
            <p:cNvSpPr/>
            <p:nvPr/>
          </p:nvSpPr>
          <p:spPr>
            <a:xfrm>
              <a:off x="6459600" y="2671200"/>
              <a:ext cx="82700" cy="84525"/>
            </a:xfrm>
            <a:custGeom>
              <a:avLst/>
              <a:gdLst/>
              <a:ahLst/>
              <a:cxnLst/>
              <a:rect l="l" t="t" r="r" b="b"/>
              <a:pathLst>
                <a:path w="3308" h="3381" extrusionOk="0">
                  <a:moveTo>
                    <a:pt x="2762" y="1"/>
                  </a:moveTo>
                  <a:lnTo>
                    <a:pt x="2544" y="37"/>
                  </a:lnTo>
                  <a:lnTo>
                    <a:pt x="2326" y="73"/>
                  </a:lnTo>
                  <a:lnTo>
                    <a:pt x="1854" y="219"/>
                  </a:lnTo>
                  <a:lnTo>
                    <a:pt x="1454" y="437"/>
                  </a:lnTo>
                  <a:lnTo>
                    <a:pt x="1200" y="619"/>
                  </a:lnTo>
                  <a:lnTo>
                    <a:pt x="981" y="764"/>
                  </a:lnTo>
                  <a:lnTo>
                    <a:pt x="763" y="909"/>
                  </a:lnTo>
                  <a:lnTo>
                    <a:pt x="545" y="982"/>
                  </a:lnTo>
                  <a:lnTo>
                    <a:pt x="364" y="982"/>
                  </a:lnTo>
                  <a:lnTo>
                    <a:pt x="182" y="1055"/>
                  </a:lnTo>
                  <a:lnTo>
                    <a:pt x="0" y="1127"/>
                  </a:lnTo>
                  <a:lnTo>
                    <a:pt x="73" y="1527"/>
                  </a:lnTo>
                  <a:lnTo>
                    <a:pt x="145" y="1891"/>
                  </a:lnTo>
                  <a:lnTo>
                    <a:pt x="182" y="2581"/>
                  </a:lnTo>
                  <a:lnTo>
                    <a:pt x="145" y="3017"/>
                  </a:lnTo>
                  <a:lnTo>
                    <a:pt x="109" y="3381"/>
                  </a:lnTo>
                  <a:lnTo>
                    <a:pt x="727" y="3126"/>
                  </a:lnTo>
                  <a:lnTo>
                    <a:pt x="1272" y="2799"/>
                  </a:lnTo>
                  <a:lnTo>
                    <a:pt x="1781" y="2472"/>
                  </a:lnTo>
                  <a:lnTo>
                    <a:pt x="2217" y="2109"/>
                  </a:lnTo>
                  <a:lnTo>
                    <a:pt x="2581" y="1745"/>
                  </a:lnTo>
                  <a:lnTo>
                    <a:pt x="2908" y="1418"/>
                  </a:lnTo>
                  <a:lnTo>
                    <a:pt x="3162" y="1127"/>
                  </a:lnTo>
                  <a:lnTo>
                    <a:pt x="3308" y="873"/>
                  </a:lnTo>
                  <a:lnTo>
                    <a:pt x="2980" y="37"/>
                  </a:lnTo>
                  <a:lnTo>
                    <a:pt x="2762" y="1"/>
                  </a:lnTo>
                  <a:close/>
                </a:path>
              </a:pathLst>
            </a:custGeom>
            <a:solidFill>
              <a:srgbClr val="C8929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5" name="Google Shape;2744;p11">
              <a:extLst>
                <a:ext uri="{FF2B5EF4-FFF2-40B4-BE49-F238E27FC236}">
                  <a16:creationId xmlns:a16="http://schemas.microsoft.com/office/drawing/2014/main" id="{1959D222-F89C-2CFA-6870-35E493781984}"/>
                </a:ext>
              </a:extLst>
            </p:cNvPr>
            <p:cNvSpPr/>
            <p:nvPr/>
          </p:nvSpPr>
          <p:spPr>
            <a:xfrm>
              <a:off x="6459600" y="2671200"/>
              <a:ext cx="82700" cy="84525"/>
            </a:xfrm>
            <a:custGeom>
              <a:avLst/>
              <a:gdLst/>
              <a:ahLst/>
              <a:cxnLst/>
              <a:rect l="l" t="t" r="r" b="b"/>
              <a:pathLst>
                <a:path w="3308" h="3381" fill="none" extrusionOk="0">
                  <a:moveTo>
                    <a:pt x="2762" y="1"/>
                  </a:moveTo>
                  <a:lnTo>
                    <a:pt x="2762" y="1"/>
                  </a:lnTo>
                  <a:lnTo>
                    <a:pt x="2544" y="37"/>
                  </a:lnTo>
                  <a:lnTo>
                    <a:pt x="2326" y="73"/>
                  </a:lnTo>
                  <a:lnTo>
                    <a:pt x="1854" y="219"/>
                  </a:lnTo>
                  <a:lnTo>
                    <a:pt x="1454" y="437"/>
                  </a:lnTo>
                  <a:lnTo>
                    <a:pt x="1200" y="619"/>
                  </a:lnTo>
                  <a:lnTo>
                    <a:pt x="1200" y="619"/>
                  </a:lnTo>
                  <a:lnTo>
                    <a:pt x="981" y="764"/>
                  </a:lnTo>
                  <a:lnTo>
                    <a:pt x="763" y="909"/>
                  </a:lnTo>
                  <a:lnTo>
                    <a:pt x="545" y="982"/>
                  </a:lnTo>
                  <a:lnTo>
                    <a:pt x="364" y="982"/>
                  </a:lnTo>
                  <a:lnTo>
                    <a:pt x="364" y="982"/>
                  </a:lnTo>
                  <a:lnTo>
                    <a:pt x="182" y="1055"/>
                  </a:lnTo>
                  <a:lnTo>
                    <a:pt x="0" y="1127"/>
                  </a:lnTo>
                  <a:lnTo>
                    <a:pt x="0" y="1127"/>
                  </a:lnTo>
                  <a:lnTo>
                    <a:pt x="73" y="1527"/>
                  </a:lnTo>
                  <a:lnTo>
                    <a:pt x="145" y="1891"/>
                  </a:lnTo>
                  <a:lnTo>
                    <a:pt x="182" y="2581"/>
                  </a:lnTo>
                  <a:lnTo>
                    <a:pt x="182" y="2581"/>
                  </a:lnTo>
                  <a:lnTo>
                    <a:pt x="145" y="3017"/>
                  </a:lnTo>
                  <a:lnTo>
                    <a:pt x="109" y="3381"/>
                  </a:lnTo>
                  <a:lnTo>
                    <a:pt x="109" y="3381"/>
                  </a:lnTo>
                  <a:lnTo>
                    <a:pt x="727" y="3126"/>
                  </a:lnTo>
                  <a:lnTo>
                    <a:pt x="1272" y="2799"/>
                  </a:lnTo>
                  <a:lnTo>
                    <a:pt x="1781" y="2472"/>
                  </a:lnTo>
                  <a:lnTo>
                    <a:pt x="2217" y="2109"/>
                  </a:lnTo>
                  <a:lnTo>
                    <a:pt x="2581" y="1745"/>
                  </a:lnTo>
                  <a:lnTo>
                    <a:pt x="2908" y="1418"/>
                  </a:lnTo>
                  <a:lnTo>
                    <a:pt x="3162" y="1127"/>
                  </a:lnTo>
                  <a:lnTo>
                    <a:pt x="3308" y="873"/>
                  </a:lnTo>
                  <a:lnTo>
                    <a:pt x="3308" y="873"/>
                  </a:lnTo>
                  <a:lnTo>
                    <a:pt x="2980" y="37"/>
                  </a:lnTo>
                  <a:lnTo>
                    <a:pt x="2980" y="37"/>
                  </a:lnTo>
                  <a:lnTo>
                    <a:pt x="2980" y="37"/>
                  </a:lnTo>
                  <a:lnTo>
                    <a:pt x="2762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6" name="Google Shape;2745;p11">
              <a:extLst>
                <a:ext uri="{FF2B5EF4-FFF2-40B4-BE49-F238E27FC236}">
                  <a16:creationId xmlns:a16="http://schemas.microsoft.com/office/drawing/2014/main" id="{9CED2AD0-4887-7BE6-A002-9B70D0B42CA7}"/>
                </a:ext>
              </a:extLst>
            </p:cNvPr>
            <p:cNvSpPr/>
            <p:nvPr/>
          </p:nvSpPr>
          <p:spPr>
            <a:xfrm>
              <a:off x="6694025" y="3082825"/>
              <a:ext cx="57275" cy="230825"/>
            </a:xfrm>
            <a:custGeom>
              <a:avLst/>
              <a:gdLst/>
              <a:ahLst/>
              <a:cxnLst/>
              <a:rect l="l" t="t" r="r" b="b"/>
              <a:pathLst>
                <a:path w="2291" h="9233" extrusionOk="0">
                  <a:moveTo>
                    <a:pt x="2290" y="0"/>
                  </a:moveTo>
                  <a:lnTo>
                    <a:pt x="2181" y="37"/>
                  </a:lnTo>
                  <a:lnTo>
                    <a:pt x="1963" y="291"/>
                  </a:lnTo>
                  <a:lnTo>
                    <a:pt x="1745" y="618"/>
                  </a:lnTo>
                  <a:lnTo>
                    <a:pt x="1527" y="1018"/>
                  </a:lnTo>
                  <a:lnTo>
                    <a:pt x="1309" y="1490"/>
                  </a:lnTo>
                  <a:lnTo>
                    <a:pt x="1127" y="1999"/>
                  </a:lnTo>
                  <a:lnTo>
                    <a:pt x="909" y="2544"/>
                  </a:lnTo>
                  <a:lnTo>
                    <a:pt x="727" y="3162"/>
                  </a:lnTo>
                  <a:lnTo>
                    <a:pt x="582" y="3780"/>
                  </a:lnTo>
                  <a:lnTo>
                    <a:pt x="436" y="4434"/>
                  </a:lnTo>
                  <a:lnTo>
                    <a:pt x="291" y="5125"/>
                  </a:lnTo>
                  <a:lnTo>
                    <a:pt x="182" y="5816"/>
                  </a:lnTo>
                  <a:lnTo>
                    <a:pt x="109" y="6506"/>
                  </a:lnTo>
                  <a:lnTo>
                    <a:pt x="37" y="7197"/>
                  </a:lnTo>
                  <a:lnTo>
                    <a:pt x="0" y="7887"/>
                  </a:lnTo>
                  <a:lnTo>
                    <a:pt x="37" y="8541"/>
                  </a:lnTo>
                  <a:lnTo>
                    <a:pt x="37" y="7887"/>
                  </a:lnTo>
                  <a:lnTo>
                    <a:pt x="73" y="7197"/>
                  </a:lnTo>
                  <a:lnTo>
                    <a:pt x="146" y="6470"/>
                  </a:lnTo>
                  <a:lnTo>
                    <a:pt x="218" y="5743"/>
                  </a:lnTo>
                  <a:lnTo>
                    <a:pt x="327" y="5052"/>
                  </a:lnTo>
                  <a:lnTo>
                    <a:pt x="473" y="4362"/>
                  </a:lnTo>
                  <a:lnTo>
                    <a:pt x="618" y="3671"/>
                  </a:lnTo>
                  <a:lnTo>
                    <a:pt x="800" y="3017"/>
                  </a:lnTo>
                  <a:lnTo>
                    <a:pt x="982" y="2435"/>
                  </a:lnTo>
                  <a:lnTo>
                    <a:pt x="1200" y="1854"/>
                  </a:lnTo>
                  <a:lnTo>
                    <a:pt x="1418" y="1345"/>
                  </a:lnTo>
                  <a:lnTo>
                    <a:pt x="1636" y="909"/>
                  </a:lnTo>
                  <a:lnTo>
                    <a:pt x="1854" y="509"/>
                  </a:lnTo>
                  <a:lnTo>
                    <a:pt x="2072" y="218"/>
                  </a:lnTo>
                  <a:lnTo>
                    <a:pt x="2290" y="0"/>
                  </a:lnTo>
                  <a:close/>
                  <a:moveTo>
                    <a:pt x="37" y="8541"/>
                  </a:moveTo>
                  <a:lnTo>
                    <a:pt x="37" y="8578"/>
                  </a:lnTo>
                  <a:lnTo>
                    <a:pt x="73" y="9232"/>
                  </a:lnTo>
                  <a:lnTo>
                    <a:pt x="73" y="9196"/>
                  </a:lnTo>
                  <a:lnTo>
                    <a:pt x="37" y="8541"/>
                  </a:lnTo>
                  <a:close/>
                </a:path>
              </a:pathLst>
            </a:custGeom>
            <a:solidFill>
              <a:srgbClr val="D5D5D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7" name="Google Shape;2746;p11">
              <a:extLst>
                <a:ext uri="{FF2B5EF4-FFF2-40B4-BE49-F238E27FC236}">
                  <a16:creationId xmlns:a16="http://schemas.microsoft.com/office/drawing/2014/main" id="{2B4ED255-DD99-3D97-0590-942749CC7DDD}"/>
                </a:ext>
              </a:extLst>
            </p:cNvPr>
            <p:cNvSpPr/>
            <p:nvPr/>
          </p:nvSpPr>
          <p:spPr>
            <a:xfrm>
              <a:off x="6694025" y="3082825"/>
              <a:ext cx="57275" cy="230825"/>
            </a:xfrm>
            <a:custGeom>
              <a:avLst/>
              <a:gdLst/>
              <a:ahLst/>
              <a:cxnLst/>
              <a:rect l="l" t="t" r="r" b="b"/>
              <a:pathLst>
                <a:path w="2291" h="9233" fill="none" extrusionOk="0">
                  <a:moveTo>
                    <a:pt x="2290" y="0"/>
                  </a:moveTo>
                  <a:lnTo>
                    <a:pt x="2290" y="0"/>
                  </a:lnTo>
                  <a:lnTo>
                    <a:pt x="2181" y="37"/>
                  </a:lnTo>
                  <a:lnTo>
                    <a:pt x="2181" y="37"/>
                  </a:lnTo>
                  <a:lnTo>
                    <a:pt x="1963" y="291"/>
                  </a:lnTo>
                  <a:lnTo>
                    <a:pt x="1745" y="618"/>
                  </a:lnTo>
                  <a:lnTo>
                    <a:pt x="1527" y="1018"/>
                  </a:lnTo>
                  <a:lnTo>
                    <a:pt x="1309" y="1490"/>
                  </a:lnTo>
                  <a:lnTo>
                    <a:pt x="1127" y="1999"/>
                  </a:lnTo>
                  <a:lnTo>
                    <a:pt x="909" y="2544"/>
                  </a:lnTo>
                  <a:lnTo>
                    <a:pt x="727" y="3162"/>
                  </a:lnTo>
                  <a:lnTo>
                    <a:pt x="582" y="3780"/>
                  </a:lnTo>
                  <a:lnTo>
                    <a:pt x="436" y="4434"/>
                  </a:lnTo>
                  <a:lnTo>
                    <a:pt x="291" y="5125"/>
                  </a:lnTo>
                  <a:lnTo>
                    <a:pt x="182" y="5816"/>
                  </a:lnTo>
                  <a:lnTo>
                    <a:pt x="109" y="6506"/>
                  </a:lnTo>
                  <a:lnTo>
                    <a:pt x="37" y="7197"/>
                  </a:lnTo>
                  <a:lnTo>
                    <a:pt x="0" y="7887"/>
                  </a:lnTo>
                  <a:lnTo>
                    <a:pt x="37" y="8541"/>
                  </a:lnTo>
                  <a:lnTo>
                    <a:pt x="73" y="9196"/>
                  </a:lnTo>
                  <a:lnTo>
                    <a:pt x="73" y="9196"/>
                  </a:lnTo>
                  <a:lnTo>
                    <a:pt x="73" y="9232"/>
                  </a:lnTo>
                  <a:lnTo>
                    <a:pt x="73" y="9232"/>
                  </a:lnTo>
                  <a:lnTo>
                    <a:pt x="37" y="8578"/>
                  </a:lnTo>
                  <a:lnTo>
                    <a:pt x="37" y="7887"/>
                  </a:lnTo>
                  <a:lnTo>
                    <a:pt x="73" y="7197"/>
                  </a:lnTo>
                  <a:lnTo>
                    <a:pt x="146" y="6470"/>
                  </a:lnTo>
                  <a:lnTo>
                    <a:pt x="218" y="5743"/>
                  </a:lnTo>
                  <a:lnTo>
                    <a:pt x="327" y="5052"/>
                  </a:lnTo>
                  <a:lnTo>
                    <a:pt x="473" y="4362"/>
                  </a:lnTo>
                  <a:lnTo>
                    <a:pt x="618" y="3671"/>
                  </a:lnTo>
                  <a:lnTo>
                    <a:pt x="800" y="3017"/>
                  </a:lnTo>
                  <a:lnTo>
                    <a:pt x="982" y="2435"/>
                  </a:lnTo>
                  <a:lnTo>
                    <a:pt x="1200" y="1854"/>
                  </a:lnTo>
                  <a:lnTo>
                    <a:pt x="1418" y="1345"/>
                  </a:lnTo>
                  <a:lnTo>
                    <a:pt x="1636" y="909"/>
                  </a:lnTo>
                  <a:lnTo>
                    <a:pt x="1854" y="509"/>
                  </a:lnTo>
                  <a:lnTo>
                    <a:pt x="2072" y="218"/>
                  </a:lnTo>
                  <a:lnTo>
                    <a:pt x="229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8" name="Google Shape;2747;p11">
              <a:extLst>
                <a:ext uri="{FF2B5EF4-FFF2-40B4-BE49-F238E27FC236}">
                  <a16:creationId xmlns:a16="http://schemas.microsoft.com/office/drawing/2014/main" id="{B2290704-91F2-3738-7369-12DF45C86ABB}"/>
                </a:ext>
              </a:extLst>
            </p:cNvPr>
            <p:cNvSpPr/>
            <p:nvPr/>
          </p:nvSpPr>
          <p:spPr>
            <a:xfrm>
              <a:off x="6653125" y="3083725"/>
              <a:ext cx="95450" cy="229000"/>
            </a:xfrm>
            <a:custGeom>
              <a:avLst/>
              <a:gdLst/>
              <a:ahLst/>
              <a:cxnLst/>
              <a:rect l="l" t="t" r="r" b="b"/>
              <a:pathLst>
                <a:path w="3818" h="9160" extrusionOk="0">
                  <a:moveTo>
                    <a:pt x="3817" y="1"/>
                  </a:moveTo>
                  <a:lnTo>
                    <a:pt x="3417" y="291"/>
                  </a:lnTo>
                  <a:lnTo>
                    <a:pt x="3017" y="582"/>
                  </a:lnTo>
                  <a:lnTo>
                    <a:pt x="2654" y="873"/>
                  </a:lnTo>
                  <a:lnTo>
                    <a:pt x="2291" y="1236"/>
                  </a:lnTo>
                  <a:lnTo>
                    <a:pt x="1963" y="1563"/>
                  </a:lnTo>
                  <a:lnTo>
                    <a:pt x="1636" y="1927"/>
                  </a:lnTo>
                  <a:lnTo>
                    <a:pt x="1091" y="2690"/>
                  </a:lnTo>
                  <a:lnTo>
                    <a:pt x="619" y="3417"/>
                  </a:lnTo>
                  <a:lnTo>
                    <a:pt x="255" y="4108"/>
                  </a:lnTo>
                  <a:lnTo>
                    <a:pt x="146" y="4398"/>
                  </a:lnTo>
                  <a:lnTo>
                    <a:pt x="37" y="4689"/>
                  </a:lnTo>
                  <a:lnTo>
                    <a:pt x="1" y="4980"/>
                  </a:lnTo>
                  <a:lnTo>
                    <a:pt x="1" y="5198"/>
                  </a:lnTo>
                  <a:lnTo>
                    <a:pt x="37" y="5525"/>
                  </a:lnTo>
                  <a:lnTo>
                    <a:pt x="182" y="5925"/>
                  </a:lnTo>
                  <a:lnTo>
                    <a:pt x="364" y="6434"/>
                  </a:lnTo>
                  <a:lnTo>
                    <a:pt x="582" y="6979"/>
                  </a:lnTo>
                  <a:lnTo>
                    <a:pt x="1127" y="8069"/>
                  </a:lnTo>
                  <a:lnTo>
                    <a:pt x="1709" y="9160"/>
                  </a:lnTo>
                  <a:lnTo>
                    <a:pt x="1673" y="8505"/>
                  </a:lnTo>
                  <a:lnTo>
                    <a:pt x="1636" y="7851"/>
                  </a:lnTo>
                  <a:lnTo>
                    <a:pt x="1673" y="7161"/>
                  </a:lnTo>
                  <a:lnTo>
                    <a:pt x="1745" y="6470"/>
                  </a:lnTo>
                  <a:lnTo>
                    <a:pt x="1818" y="5780"/>
                  </a:lnTo>
                  <a:lnTo>
                    <a:pt x="1927" y="5089"/>
                  </a:lnTo>
                  <a:lnTo>
                    <a:pt x="2072" y="4398"/>
                  </a:lnTo>
                  <a:lnTo>
                    <a:pt x="2218" y="3744"/>
                  </a:lnTo>
                  <a:lnTo>
                    <a:pt x="2363" y="3126"/>
                  </a:lnTo>
                  <a:lnTo>
                    <a:pt x="2545" y="2508"/>
                  </a:lnTo>
                  <a:lnTo>
                    <a:pt x="2763" y="1963"/>
                  </a:lnTo>
                  <a:lnTo>
                    <a:pt x="2945" y="1454"/>
                  </a:lnTo>
                  <a:lnTo>
                    <a:pt x="3163" y="982"/>
                  </a:lnTo>
                  <a:lnTo>
                    <a:pt x="3381" y="582"/>
                  </a:lnTo>
                  <a:lnTo>
                    <a:pt x="3599" y="255"/>
                  </a:lnTo>
                  <a:lnTo>
                    <a:pt x="3817" y="1"/>
                  </a:lnTo>
                  <a:close/>
                </a:path>
              </a:pathLst>
            </a:custGeom>
            <a:solidFill>
              <a:srgbClr val="C133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9" name="Google Shape;2748;p11">
              <a:extLst>
                <a:ext uri="{FF2B5EF4-FFF2-40B4-BE49-F238E27FC236}">
                  <a16:creationId xmlns:a16="http://schemas.microsoft.com/office/drawing/2014/main" id="{31101714-0E19-8D70-17D8-1DEE06BD9914}"/>
                </a:ext>
              </a:extLst>
            </p:cNvPr>
            <p:cNvSpPr/>
            <p:nvPr/>
          </p:nvSpPr>
          <p:spPr>
            <a:xfrm>
              <a:off x="6653125" y="3083725"/>
              <a:ext cx="95450" cy="229000"/>
            </a:xfrm>
            <a:custGeom>
              <a:avLst/>
              <a:gdLst/>
              <a:ahLst/>
              <a:cxnLst/>
              <a:rect l="l" t="t" r="r" b="b"/>
              <a:pathLst>
                <a:path w="3818" h="9160" fill="none" extrusionOk="0">
                  <a:moveTo>
                    <a:pt x="3817" y="1"/>
                  </a:moveTo>
                  <a:lnTo>
                    <a:pt x="3817" y="1"/>
                  </a:lnTo>
                  <a:lnTo>
                    <a:pt x="3417" y="291"/>
                  </a:lnTo>
                  <a:lnTo>
                    <a:pt x="3017" y="582"/>
                  </a:lnTo>
                  <a:lnTo>
                    <a:pt x="2654" y="873"/>
                  </a:lnTo>
                  <a:lnTo>
                    <a:pt x="2291" y="1236"/>
                  </a:lnTo>
                  <a:lnTo>
                    <a:pt x="1963" y="1563"/>
                  </a:lnTo>
                  <a:lnTo>
                    <a:pt x="1636" y="1927"/>
                  </a:lnTo>
                  <a:lnTo>
                    <a:pt x="1091" y="2690"/>
                  </a:lnTo>
                  <a:lnTo>
                    <a:pt x="619" y="3417"/>
                  </a:lnTo>
                  <a:lnTo>
                    <a:pt x="255" y="4108"/>
                  </a:lnTo>
                  <a:lnTo>
                    <a:pt x="146" y="4398"/>
                  </a:lnTo>
                  <a:lnTo>
                    <a:pt x="37" y="4689"/>
                  </a:lnTo>
                  <a:lnTo>
                    <a:pt x="1" y="4980"/>
                  </a:lnTo>
                  <a:lnTo>
                    <a:pt x="1" y="5198"/>
                  </a:lnTo>
                  <a:lnTo>
                    <a:pt x="1" y="5198"/>
                  </a:lnTo>
                  <a:lnTo>
                    <a:pt x="37" y="5525"/>
                  </a:lnTo>
                  <a:lnTo>
                    <a:pt x="182" y="5925"/>
                  </a:lnTo>
                  <a:lnTo>
                    <a:pt x="364" y="6434"/>
                  </a:lnTo>
                  <a:lnTo>
                    <a:pt x="582" y="6979"/>
                  </a:lnTo>
                  <a:lnTo>
                    <a:pt x="1127" y="8069"/>
                  </a:lnTo>
                  <a:lnTo>
                    <a:pt x="1709" y="9160"/>
                  </a:lnTo>
                  <a:lnTo>
                    <a:pt x="1709" y="9160"/>
                  </a:lnTo>
                  <a:lnTo>
                    <a:pt x="1673" y="8505"/>
                  </a:lnTo>
                  <a:lnTo>
                    <a:pt x="1636" y="7851"/>
                  </a:lnTo>
                  <a:lnTo>
                    <a:pt x="1673" y="7161"/>
                  </a:lnTo>
                  <a:lnTo>
                    <a:pt x="1745" y="6470"/>
                  </a:lnTo>
                  <a:lnTo>
                    <a:pt x="1818" y="5780"/>
                  </a:lnTo>
                  <a:lnTo>
                    <a:pt x="1927" y="5089"/>
                  </a:lnTo>
                  <a:lnTo>
                    <a:pt x="2072" y="4398"/>
                  </a:lnTo>
                  <a:lnTo>
                    <a:pt x="2218" y="3744"/>
                  </a:lnTo>
                  <a:lnTo>
                    <a:pt x="2363" y="3126"/>
                  </a:lnTo>
                  <a:lnTo>
                    <a:pt x="2545" y="2508"/>
                  </a:lnTo>
                  <a:lnTo>
                    <a:pt x="2763" y="1963"/>
                  </a:lnTo>
                  <a:lnTo>
                    <a:pt x="2945" y="1454"/>
                  </a:lnTo>
                  <a:lnTo>
                    <a:pt x="3163" y="982"/>
                  </a:lnTo>
                  <a:lnTo>
                    <a:pt x="3381" y="582"/>
                  </a:lnTo>
                  <a:lnTo>
                    <a:pt x="3599" y="255"/>
                  </a:lnTo>
                  <a:lnTo>
                    <a:pt x="381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0" name="Google Shape;2749;p11">
              <a:extLst>
                <a:ext uri="{FF2B5EF4-FFF2-40B4-BE49-F238E27FC236}">
                  <a16:creationId xmlns:a16="http://schemas.microsoft.com/office/drawing/2014/main" id="{26389602-67E3-63AB-C8B1-924385EB649B}"/>
                </a:ext>
              </a:extLst>
            </p:cNvPr>
            <p:cNvSpPr/>
            <p:nvPr/>
          </p:nvSpPr>
          <p:spPr>
            <a:xfrm>
              <a:off x="6571350" y="2800225"/>
              <a:ext cx="196300" cy="88175"/>
            </a:xfrm>
            <a:custGeom>
              <a:avLst/>
              <a:gdLst/>
              <a:ahLst/>
              <a:cxnLst/>
              <a:rect l="l" t="t" r="r" b="b"/>
              <a:pathLst>
                <a:path w="7852" h="3527" extrusionOk="0">
                  <a:moveTo>
                    <a:pt x="2727" y="1"/>
                  </a:moveTo>
                  <a:lnTo>
                    <a:pt x="1" y="800"/>
                  </a:lnTo>
                  <a:lnTo>
                    <a:pt x="110" y="1018"/>
                  </a:lnTo>
                  <a:lnTo>
                    <a:pt x="328" y="1236"/>
                  </a:lnTo>
                  <a:lnTo>
                    <a:pt x="582" y="1491"/>
                  </a:lnTo>
                  <a:lnTo>
                    <a:pt x="909" y="1709"/>
                  </a:lnTo>
                  <a:lnTo>
                    <a:pt x="1273" y="1927"/>
                  </a:lnTo>
                  <a:lnTo>
                    <a:pt x="1709" y="2181"/>
                  </a:lnTo>
                  <a:lnTo>
                    <a:pt x="2618" y="2581"/>
                  </a:lnTo>
                  <a:lnTo>
                    <a:pt x="3599" y="2981"/>
                  </a:lnTo>
                  <a:lnTo>
                    <a:pt x="4617" y="3272"/>
                  </a:lnTo>
                  <a:lnTo>
                    <a:pt x="5089" y="3381"/>
                  </a:lnTo>
                  <a:lnTo>
                    <a:pt x="5562" y="3454"/>
                  </a:lnTo>
                  <a:lnTo>
                    <a:pt x="5998" y="3526"/>
                  </a:lnTo>
                  <a:lnTo>
                    <a:pt x="6507" y="3526"/>
                  </a:lnTo>
                  <a:lnTo>
                    <a:pt x="7851" y="3490"/>
                  </a:lnTo>
                  <a:lnTo>
                    <a:pt x="7197" y="2945"/>
                  </a:lnTo>
                  <a:lnTo>
                    <a:pt x="6579" y="2436"/>
                  </a:lnTo>
                  <a:lnTo>
                    <a:pt x="5961" y="1963"/>
                  </a:lnTo>
                  <a:lnTo>
                    <a:pt x="5307" y="1491"/>
                  </a:lnTo>
                  <a:lnTo>
                    <a:pt x="4653" y="1055"/>
                  </a:lnTo>
                  <a:lnTo>
                    <a:pt x="4035" y="655"/>
                  </a:lnTo>
                  <a:lnTo>
                    <a:pt x="3381" y="291"/>
                  </a:lnTo>
                  <a:lnTo>
                    <a:pt x="2727" y="1"/>
                  </a:lnTo>
                  <a:close/>
                </a:path>
              </a:pathLst>
            </a:custGeom>
            <a:solidFill>
              <a:srgbClr val="C133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1" name="Google Shape;2750;p11">
              <a:extLst>
                <a:ext uri="{FF2B5EF4-FFF2-40B4-BE49-F238E27FC236}">
                  <a16:creationId xmlns:a16="http://schemas.microsoft.com/office/drawing/2014/main" id="{02B32407-AE70-D9B5-8723-04FEF1E3DDD2}"/>
                </a:ext>
              </a:extLst>
            </p:cNvPr>
            <p:cNvSpPr/>
            <p:nvPr/>
          </p:nvSpPr>
          <p:spPr>
            <a:xfrm>
              <a:off x="6571350" y="2800225"/>
              <a:ext cx="196300" cy="88175"/>
            </a:xfrm>
            <a:custGeom>
              <a:avLst/>
              <a:gdLst/>
              <a:ahLst/>
              <a:cxnLst/>
              <a:rect l="l" t="t" r="r" b="b"/>
              <a:pathLst>
                <a:path w="7852" h="3527" fill="none" extrusionOk="0">
                  <a:moveTo>
                    <a:pt x="2727" y="1"/>
                  </a:moveTo>
                  <a:lnTo>
                    <a:pt x="1" y="800"/>
                  </a:lnTo>
                  <a:lnTo>
                    <a:pt x="1" y="800"/>
                  </a:lnTo>
                  <a:lnTo>
                    <a:pt x="110" y="1018"/>
                  </a:lnTo>
                  <a:lnTo>
                    <a:pt x="328" y="1236"/>
                  </a:lnTo>
                  <a:lnTo>
                    <a:pt x="582" y="1491"/>
                  </a:lnTo>
                  <a:lnTo>
                    <a:pt x="909" y="1709"/>
                  </a:lnTo>
                  <a:lnTo>
                    <a:pt x="1273" y="1927"/>
                  </a:lnTo>
                  <a:lnTo>
                    <a:pt x="1709" y="2181"/>
                  </a:lnTo>
                  <a:lnTo>
                    <a:pt x="2618" y="2581"/>
                  </a:lnTo>
                  <a:lnTo>
                    <a:pt x="3599" y="2981"/>
                  </a:lnTo>
                  <a:lnTo>
                    <a:pt x="4617" y="3272"/>
                  </a:lnTo>
                  <a:lnTo>
                    <a:pt x="5089" y="3381"/>
                  </a:lnTo>
                  <a:lnTo>
                    <a:pt x="5562" y="3454"/>
                  </a:lnTo>
                  <a:lnTo>
                    <a:pt x="5998" y="3526"/>
                  </a:lnTo>
                  <a:lnTo>
                    <a:pt x="6397" y="3526"/>
                  </a:lnTo>
                  <a:lnTo>
                    <a:pt x="6397" y="3526"/>
                  </a:lnTo>
                  <a:lnTo>
                    <a:pt x="6507" y="3526"/>
                  </a:lnTo>
                  <a:lnTo>
                    <a:pt x="6507" y="3526"/>
                  </a:lnTo>
                  <a:lnTo>
                    <a:pt x="7851" y="3490"/>
                  </a:lnTo>
                  <a:lnTo>
                    <a:pt x="7851" y="3490"/>
                  </a:lnTo>
                  <a:lnTo>
                    <a:pt x="7197" y="2945"/>
                  </a:lnTo>
                  <a:lnTo>
                    <a:pt x="6579" y="2436"/>
                  </a:lnTo>
                  <a:lnTo>
                    <a:pt x="5961" y="1963"/>
                  </a:lnTo>
                  <a:lnTo>
                    <a:pt x="5307" y="1491"/>
                  </a:lnTo>
                  <a:lnTo>
                    <a:pt x="4653" y="1055"/>
                  </a:lnTo>
                  <a:lnTo>
                    <a:pt x="4035" y="655"/>
                  </a:lnTo>
                  <a:lnTo>
                    <a:pt x="3381" y="291"/>
                  </a:lnTo>
                  <a:lnTo>
                    <a:pt x="272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2" name="Google Shape;2751;p11">
              <a:extLst>
                <a:ext uri="{FF2B5EF4-FFF2-40B4-BE49-F238E27FC236}">
                  <a16:creationId xmlns:a16="http://schemas.microsoft.com/office/drawing/2014/main" id="{E0DB4807-94B4-06D3-5EF9-E3DC46A08794}"/>
                </a:ext>
              </a:extLst>
            </p:cNvPr>
            <p:cNvSpPr/>
            <p:nvPr/>
          </p:nvSpPr>
          <p:spPr>
            <a:xfrm>
              <a:off x="6411425" y="2535825"/>
              <a:ext cx="170850" cy="169025"/>
            </a:xfrm>
            <a:custGeom>
              <a:avLst/>
              <a:gdLst/>
              <a:ahLst/>
              <a:cxnLst/>
              <a:rect l="l" t="t" r="r" b="b"/>
              <a:pathLst>
                <a:path w="6834" h="6761" extrusionOk="0">
                  <a:moveTo>
                    <a:pt x="2254" y="0"/>
                  </a:moveTo>
                  <a:lnTo>
                    <a:pt x="1818" y="618"/>
                  </a:lnTo>
                  <a:lnTo>
                    <a:pt x="1418" y="1127"/>
                  </a:lnTo>
                  <a:lnTo>
                    <a:pt x="728" y="1926"/>
                  </a:lnTo>
                  <a:lnTo>
                    <a:pt x="473" y="2217"/>
                  </a:lnTo>
                  <a:lnTo>
                    <a:pt x="364" y="2435"/>
                  </a:lnTo>
                  <a:lnTo>
                    <a:pt x="364" y="2544"/>
                  </a:lnTo>
                  <a:lnTo>
                    <a:pt x="364" y="2617"/>
                  </a:lnTo>
                  <a:lnTo>
                    <a:pt x="437" y="2690"/>
                  </a:lnTo>
                  <a:lnTo>
                    <a:pt x="546" y="2762"/>
                  </a:lnTo>
                  <a:lnTo>
                    <a:pt x="582" y="2799"/>
                  </a:lnTo>
                  <a:lnTo>
                    <a:pt x="582" y="2871"/>
                  </a:lnTo>
                  <a:lnTo>
                    <a:pt x="619" y="3017"/>
                  </a:lnTo>
                  <a:lnTo>
                    <a:pt x="582" y="3235"/>
                  </a:lnTo>
                  <a:lnTo>
                    <a:pt x="510" y="3489"/>
                  </a:lnTo>
                  <a:lnTo>
                    <a:pt x="328" y="4144"/>
                  </a:lnTo>
                  <a:lnTo>
                    <a:pt x="110" y="4870"/>
                  </a:lnTo>
                  <a:lnTo>
                    <a:pt x="37" y="5234"/>
                  </a:lnTo>
                  <a:lnTo>
                    <a:pt x="1" y="5561"/>
                  </a:lnTo>
                  <a:lnTo>
                    <a:pt x="1" y="5888"/>
                  </a:lnTo>
                  <a:lnTo>
                    <a:pt x="37" y="6179"/>
                  </a:lnTo>
                  <a:lnTo>
                    <a:pt x="146" y="6397"/>
                  </a:lnTo>
                  <a:lnTo>
                    <a:pt x="255" y="6506"/>
                  </a:lnTo>
                  <a:lnTo>
                    <a:pt x="328" y="6579"/>
                  </a:lnTo>
                  <a:lnTo>
                    <a:pt x="473" y="6651"/>
                  </a:lnTo>
                  <a:lnTo>
                    <a:pt x="582" y="6688"/>
                  </a:lnTo>
                  <a:lnTo>
                    <a:pt x="764" y="6724"/>
                  </a:lnTo>
                  <a:lnTo>
                    <a:pt x="946" y="6760"/>
                  </a:lnTo>
                  <a:lnTo>
                    <a:pt x="1745" y="6724"/>
                  </a:lnTo>
                  <a:lnTo>
                    <a:pt x="2472" y="6615"/>
                  </a:lnTo>
                  <a:lnTo>
                    <a:pt x="2836" y="6542"/>
                  </a:lnTo>
                  <a:lnTo>
                    <a:pt x="3199" y="6433"/>
                  </a:lnTo>
                  <a:lnTo>
                    <a:pt x="3526" y="6324"/>
                  </a:lnTo>
                  <a:lnTo>
                    <a:pt x="3853" y="6179"/>
                  </a:lnTo>
                  <a:lnTo>
                    <a:pt x="4144" y="5997"/>
                  </a:lnTo>
                  <a:lnTo>
                    <a:pt x="4435" y="5815"/>
                  </a:lnTo>
                  <a:lnTo>
                    <a:pt x="4689" y="5597"/>
                  </a:lnTo>
                  <a:lnTo>
                    <a:pt x="4944" y="5343"/>
                  </a:lnTo>
                  <a:lnTo>
                    <a:pt x="5162" y="5052"/>
                  </a:lnTo>
                  <a:lnTo>
                    <a:pt x="5344" y="4761"/>
                  </a:lnTo>
                  <a:lnTo>
                    <a:pt x="5525" y="4398"/>
                  </a:lnTo>
                  <a:lnTo>
                    <a:pt x="5671" y="4034"/>
                  </a:lnTo>
                  <a:lnTo>
                    <a:pt x="6507" y="1563"/>
                  </a:lnTo>
                  <a:lnTo>
                    <a:pt x="6834" y="691"/>
                  </a:lnTo>
                  <a:lnTo>
                    <a:pt x="2254" y="0"/>
                  </a:lnTo>
                  <a:close/>
                </a:path>
              </a:pathLst>
            </a:custGeom>
            <a:solidFill>
              <a:srgbClr val="F5B1B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3" name="Google Shape;2752;p11">
              <a:extLst>
                <a:ext uri="{FF2B5EF4-FFF2-40B4-BE49-F238E27FC236}">
                  <a16:creationId xmlns:a16="http://schemas.microsoft.com/office/drawing/2014/main" id="{DC31247F-4336-9900-5DA2-D57B51D6E064}"/>
                </a:ext>
              </a:extLst>
            </p:cNvPr>
            <p:cNvSpPr/>
            <p:nvPr/>
          </p:nvSpPr>
          <p:spPr>
            <a:xfrm>
              <a:off x="6460500" y="2464025"/>
              <a:ext cx="262625" cy="533400"/>
            </a:xfrm>
            <a:custGeom>
              <a:avLst/>
              <a:gdLst/>
              <a:ahLst/>
              <a:cxnLst/>
              <a:rect l="l" t="t" r="r" b="b"/>
              <a:pathLst>
                <a:path w="10505" h="21336" extrusionOk="0">
                  <a:moveTo>
                    <a:pt x="3090" y="1"/>
                  </a:moveTo>
                  <a:lnTo>
                    <a:pt x="2763" y="37"/>
                  </a:lnTo>
                  <a:lnTo>
                    <a:pt x="2472" y="74"/>
                  </a:lnTo>
                  <a:lnTo>
                    <a:pt x="1963" y="219"/>
                  </a:lnTo>
                  <a:lnTo>
                    <a:pt x="1491" y="437"/>
                  </a:lnTo>
                  <a:lnTo>
                    <a:pt x="1091" y="691"/>
                  </a:lnTo>
                  <a:lnTo>
                    <a:pt x="727" y="946"/>
                  </a:lnTo>
                  <a:lnTo>
                    <a:pt x="400" y="1237"/>
                  </a:lnTo>
                  <a:lnTo>
                    <a:pt x="182" y="1491"/>
                  </a:lnTo>
                  <a:lnTo>
                    <a:pt x="37" y="1745"/>
                  </a:lnTo>
                  <a:lnTo>
                    <a:pt x="0" y="2000"/>
                  </a:lnTo>
                  <a:lnTo>
                    <a:pt x="0" y="2218"/>
                  </a:lnTo>
                  <a:lnTo>
                    <a:pt x="37" y="2400"/>
                  </a:lnTo>
                  <a:lnTo>
                    <a:pt x="109" y="2581"/>
                  </a:lnTo>
                  <a:lnTo>
                    <a:pt x="291" y="2872"/>
                  </a:lnTo>
                  <a:lnTo>
                    <a:pt x="509" y="3163"/>
                  </a:lnTo>
                  <a:lnTo>
                    <a:pt x="727" y="3381"/>
                  </a:lnTo>
                  <a:lnTo>
                    <a:pt x="945" y="3599"/>
                  </a:lnTo>
                  <a:lnTo>
                    <a:pt x="1127" y="3817"/>
                  </a:lnTo>
                  <a:lnTo>
                    <a:pt x="1309" y="4072"/>
                  </a:lnTo>
                  <a:lnTo>
                    <a:pt x="1418" y="4399"/>
                  </a:lnTo>
                  <a:lnTo>
                    <a:pt x="1491" y="4835"/>
                  </a:lnTo>
                  <a:lnTo>
                    <a:pt x="1527" y="5416"/>
                  </a:lnTo>
                  <a:lnTo>
                    <a:pt x="1527" y="5707"/>
                  </a:lnTo>
                  <a:lnTo>
                    <a:pt x="1563" y="5816"/>
                  </a:lnTo>
                  <a:lnTo>
                    <a:pt x="1636" y="5852"/>
                  </a:lnTo>
                  <a:lnTo>
                    <a:pt x="1672" y="5889"/>
                  </a:lnTo>
                  <a:lnTo>
                    <a:pt x="1745" y="5925"/>
                  </a:lnTo>
                  <a:lnTo>
                    <a:pt x="1927" y="5889"/>
                  </a:lnTo>
                  <a:lnTo>
                    <a:pt x="2072" y="5816"/>
                  </a:lnTo>
                  <a:lnTo>
                    <a:pt x="2254" y="5707"/>
                  </a:lnTo>
                  <a:lnTo>
                    <a:pt x="2472" y="5453"/>
                  </a:lnTo>
                  <a:lnTo>
                    <a:pt x="2581" y="5380"/>
                  </a:lnTo>
                  <a:lnTo>
                    <a:pt x="2690" y="5307"/>
                  </a:lnTo>
                  <a:lnTo>
                    <a:pt x="2835" y="5271"/>
                  </a:lnTo>
                  <a:lnTo>
                    <a:pt x="2981" y="5271"/>
                  </a:lnTo>
                  <a:lnTo>
                    <a:pt x="3126" y="5307"/>
                  </a:lnTo>
                  <a:lnTo>
                    <a:pt x="3272" y="5344"/>
                  </a:lnTo>
                  <a:lnTo>
                    <a:pt x="3453" y="5453"/>
                  </a:lnTo>
                  <a:lnTo>
                    <a:pt x="3599" y="5562"/>
                  </a:lnTo>
                  <a:lnTo>
                    <a:pt x="3744" y="5707"/>
                  </a:lnTo>
                  <a:lnTo>
                    <a:pt x="3780" y="5889"/>
                  </a:lnTo>
                  <a:lnTo>
                    <a:pt x="3744" y="6071"/>
                  </a:lnTo>
                  <a:lnTo>
                    <a:pt x="3671" y="6252"/>
                  </a:lnTo>
                  <a:lnTo>
                    <a:pt x="3562" y="6434"/>
                  </a:lnTo>
                  <a:lnTo>
                    <a:pt x="3417" y="6616"/>
                  </a:lnTo>
                  <a:lnTo>
                    <a:pt x="3090" y="6943"/>
                  </a:lnTo>
                  <a:lnTo>
                    <a:pt x="3053" y="7052"/>
                  </a:lnTo>
                  <a:lnTo>
                    <a:pt x="3017" y="7197"/>
                  </a:lnTo>
                  <a:lnTo>
                    <a:pt x="3053" y="7524"/>
                  </a:lnTo>
                  <a:lnTo>
                    <a:pt x="3090" y="7851"/>
                  </a:lnTo>
                  <a:lnTo>
                    <a:pt x="3090" y="7997"/>
                  </a:lnTo>
                  <a:lnTo>
                    <a:pt x="3017" y="8106"/>
                  </a:lnTo>
                  <a:lnTo>
                    <a:pt x="2799" y="8397"/>
                  </a:lnTo>
                  <a:lnTo>
                    <a:pt x="2545" y="8796"/>
                  </a:lnTo>
                  <a:lnTo>
                    <a:pt x="2436" y="9015"/>
                  </a:lnTo>
                  <a:lnTo>
                    <a:pt x="2363" y="9305"/>
                  </a:lnTo>
                  <a:lnTo>
                    <a:pt x="2290" y="9596"/>
                  </a:lnTo>
                  <a:lnTo>
                    <a:pt x="2218" y="9923"/>
                  </a:lnTo>
                  <a:lnTo>
                    <a:pt x="2218" y="10250"/>
                  </a:lnTo>
                  <a:lnTo>
                    <a:pt x="2254" y="10614"/>
                  </a:lnTo>
                  <a:lnTo>
                    <a:pt x="2290" y="11014"/>
                  </a:lnTo>
                  <a:lnTo>
                    <a:pt x="2436" y="11413"/>
                  </a:lnTo>
                  <a:lnTo>
                    <a:pt x="2581" y="11813"/>
                  </a:lnTo>
                  <a:lnTo>
                    <a:pt x="2835" y="12249"/>
                  </a:lnTo>
                  <a:lnTo>
                    <a:pt x="3126" y="12722"/>
                  </a:lnTo>
                  <a:lnTo>
                    <a:pt x="3490" y="13158"/>
                  </a:lnTo>
                  <a:lnTo>
                    <a:pt x="3599" y="13340"/>
                  </a:lnTo>
                  <a:lnTo>
                    <a:pt x="3671" y="13485"/>
                  </a:lnTo>
                  <a:lnTo>
                    <a:pt x="3635" y="13667"/>
                  </a:lnTo>
                  <a:lnTo>
                    <a:pt x="3599" y="13812"/>
                  </a:lnTo>
                  <a:lnTo>
                    <a:pt x="3490" y="13994"/>
                  </a:lnTo>
                  <a:lnTo>
                    <a:pt x="3344" y="14176"/>
                  </a:lnTo>
                  <a:lnTo>
                    <a:pt x="2981" y="14575"/>
                  </a:lnTo>
                  <a:lnTo>
                    <a:pt x="2581" y="14975"/>
                  </a:lnTo>
                  <a:lnTo>
                    <a:pt x="2145" y="15448"/>
                  </a:lnTo>
                  <a:lnTo>
                    <a:pt x="1963" y="15702"/>
                  </a:lnTo>
                  <a:lnTo>
                    <a:pt x="1781" y="15957"/>
                  </a:lnTo>
                  <a:lnTo>
                    <a:pt x="1636" y="16247"/>
                  </a:lnTo>
                  <a:lnTo>
                    <a:pt x="1491" y="16538"/>
                  </a:lnTo>
                  <a:lnTo>
                    <a:pt x="1418" y="16865"/>
                  </a:lnTo>
                  <a:lnTo>
                    <a:pt x="1345" y="17192"/>
                  </a:lnTo>
                  <a:lnTo>
                    <a:pt x="1345" y="17519"/>
                  </a:lnTo>
                  <a:lnTo>
                    <a:pt x="1345" y="17883"/>
                  </a:lnTo>
                  <a:lnTo>
                    <a:pt x="1418" y="18210"/>
                  </a:lnTo>
                  <a:lnTo>
                    <a:pt x="1491" y="18573"/>
                  </a:lnTo>
                  <a:lnTo>
                    <a:pt x="1636" y="18901"/>
                  </a:lnTo>
                  <a:lnTo>
                    <a:pt x="1781" y="19264"/>
                  </a:lnTo>
                  <a:lnTo>
                    <a:pt x="1963" y="19591"/>
                  </a:lnTo>
                  <a:lnTo>
                    <a:pt x="2145" y="19882"/>
                  </a:lnTo>
                  <a:lnTo>
                    <a:pt x="2399" y="20173"/>
                  </a:lnTo>
                  <a:lnTo>
                    <a:pt x="2654" y="20463"/>
                  </a:lnTo>
                  <a:lnTo>
                    <a:pt x="2981" y="20718"/>
                  </a:lnTo>
                  <a:lnTo>
                    <a:pt x="3272" y="20936"/>
                  </a:lnTo>
                  <a:lnTo>
                    <a:pt x="3635" y="21118"/>
                  </a:lnTo>
                  <a:lnTo>
                    <a:pt x="3998" y="21263"/>
                  </a:lnTo>
                  <a:lnTo>
                    <a:pt x="4326" y="21336"/>
                  </a:lnTo>
                  <a:lnTo>
                    <a:pt x="4544" y="21336"/>
                  </a:lnTo>
                  <a:lnTo>
                    <a:pt x="4616" y="21263"/>
                  </a:lnTo>
                  <a:lnTo>
                    <a:pt x="4689" y="21190"/>
                  </a:lnTo>
                  <a:lnTo>
                    <a:pt x="4798" y="21009"/>
                  </a:lnTo>
                  <a:lnTo>
                    <a:pt x="4834" y="20791"/>
                  </a:lnTo>
                  <a:lnTo>
                    <a:pt x="4871" y="20500"/>
                  </a:lnTo>
                  <a:lnTo>
                    <a:pt x="4834" y="19846"/>
                  </a:lnTo>
                  <a:lnTo>
                    <a:pt x="4798" y="19155"/>
                  </a:lnTo>
                  <a:lnTo>
                    <a:pt x="4798" y="18828"/>
                  </a:lnTo>
                  <a:lnTo>
                    <a:pt x="4871" y="18537"/>
                  </a:lnTo>
                  <a:lnTo>
                    <a:pt x="4943" y="18283"/>
                  </a:lnTo>
                  <a:lnTo>
                    <a:pt x="5016" y="18210"/>
                  </a:lnTo>
                  <a:lnTo>
                    <a:pt x="5125" y="18101"/>
                  </a:lnTo>
                  <a:lnTo>
                    <a:pt x="5198" y="18065"/>
                  </a:lnTo>
                  <a:lnTo>
                    <a:pt x="5343" y="17992"/>
                  </a:lnTo>
                  <a:lnTo>
                    <a:pt x="5489" y="17956"/>
                  </a:lnTo>
                  <a:lnTo>
                    <a:pt x="6288" y="17956"/>
                  </a:lnTo>
                  <a:lnTo>
                    <a:pt x="6797" y="17919"/>
                  </a:lnTo>
                  <a:lnTo>
                    <a:pt x="7161" y="17810"/>
                  </a:lnTo>
                  <a:lnTo>
                    <a:pt x="7415" y="17665"/>
                  </a:lnTo>
                  <a:lnTo>
                    <a:pt x="7524" y="17592"/>
                  </a:lnTo>
                  <a:lnTo>
                    <a:pt x="7597" y="17519"/>
                  </a:lnTo>
                  <a:lnTo>
                    <a:pt x="7706" y="17301"/>
                  </a:lnTo>
                  <a:lnTo>
                    <a:pt x="7706" y="17083"/>
                  </a:lnTo>
                  <a:lnTo>
                    <a:pt x="7706" y="16829"/>
                  </a:lnTo>
                  <a:lnTo>
                    <a:pt x="7633" y="16538"/>
                  </a:lnTo>
                  <a:lnTo>
                    <a:pt x="7524" y="16284"/>
                  </a:lnTo>
                  <a:lnTo>
                    <a:pt x="7306" y="15739"/>
                  </a:lnTo>
                  <a:lnTo>
                    <a:pt x="7197" y="15448"/>
                  </a:lnTo>
                  <a:lnTo>
                    <a:pt x="7124" y="15193"/>
                  </a:lnTo>
                  <a:lnTo>
                    <a:pt x="7088" y="14939"/>
                  </a:lnTo>
                  <a:lnTo>
                    <a:pt x="7124" y="14721"/>
                  </a:lnTo>
                  <a:lnTo>
                    <a:pt x="7161" y="14612"/>
                  </a:lnTo>
                  <a:lnTo>
                    <a:pt x="7233" y="14466"/>
                  </a:lnTo>
                  <a:lnTo>
                    <a:pt x="7415" y="14248"/>
                  </a:lnTo>
                  <a:lnTo>
                    <a:pt x="7633" y="14067"/>
                  </a:lnTo>
                  <a:lnTo>
                    <a:pt x="7924" y="13921"/>
                  </a:lnTo>
                  <a:lnTo>
                    <a:pt x="8215" y="13739"/>
                  </a:lnTo>
                  <a:lnTo>
                    <a:pt x="8542" y="13521"/>
                  </a:lnTo>
                  <a:lnTo>
                    <a:pt x="8869" y="13267"/>
                  </a:lnTo>
                  <a:lnTo>
                    <a:pt x="9232" y="12940"/>
                  </a:lnTo>
                  <a:lnTo>
                    <a:pt x="9523" y="12576"/>
                  </a:lnTo>
                  <a:lnTo>
                    <a:pt x="9777" y="12177"/>
                  </a:lnTo>
                  <a:lnTo>
                    <a:pt x="10032" y="11740"/>
                  </a:lnTo>
                  <a:lnTo>
                    <a:pt x="10214" y="11268"/>
                  </a:lnTo>
                  <a:lnTo>
                    <a:pt x="10359" y="10759"/>
                  </a:lnTo>
                  <a:lnTo>
                    <a:pt x="10468" y="10214"/>
                  </a:lnTo>
                  <a:lnTo>
                    <a:pt x="10504" y="9632"/>
                  </a:lnTo>
                  <a:lnTo>
                    <a:pt x="10468" y="9015"/>
                  </a:lnTo>
                  <a:lnTo>
                    <a:pt x="10432" y="8615"/>
                  </a:lnTo>
                  <a:lnTo>
                    <a:pt x="10359" y="8251"/>
                  </a:lnTo>
                  <a:lnTo>
                    <a:pt x="10250" y="7961"/>
                  </a:lnTo>
                  <a:lnTo>
                    <a:pt x="10141" y="7706"/>
                  </a:lnTo>
                  <a:lnTo>
                    <a:pt x="10032" y="7524"/>
                  </a:lnTo>
                  <a:lnTo>
                    <a:pt x="9886" y="7343"/>
                  </a:lnTo>
                  <a:lnTo>
                    <a:pt x="9705" y="7197"/>
                  </a:lnTo>
                  <a:lnTo>
                    <a:pt x="9559" y="7052"/>
                  </a:lnTo>
                  <a:lnTo>
                    <a:pt x="9196" y="6870"/>
                  </a:lnTo>
                  <a:lnTo>
                    <a:pt x="8869" y="6652"/>
                  </a:lnTo>
                  <a:lnTo>
                    <a:pt x="8542" y="6434"/>
                  </a:lnTo>
                  <a:lnTo>
                    <a:pt x="8396" y="6252"/>
                  </a:lnTo>
                  <a:lnTo>
                    <a:pt x="8251" y="6107"/>
                  </a:lnTo>
                  <a:lnTo>
                    <a:pt x="8178" y="5889"/>
                  </a:lnTo>
                  <a:lnTo>
                    <a:pt x="8106" y="5598"/>
                  </a:lnTo>
                  <a:lnTo>
                    <a:pt x="8033" y="4871"/>
                  </a:lnTo>
                  <a:lnTo>
                    <a:pt x="7960" y="3999"/>
                  </a:lnTo>
                  <a:lnTo>
                    <a:pt x="7924" y="3563"/>
                  </a:lnTo>
                  <a:lnTo>
                    <a:pt x="7815" y="3090"/>
                  </a:lnTo>
                  <a:lnTo>
                    <a:pt x="7706" y="2618"/>
                  </a:lnTo>
                  <a:lnTo>
                    <a:pt x="7488" y="2145"/>
                  </a:lnTo>
                  <a:lnTo>
                    <a:pt x="7233" y="1709"/>
                  </a:lnTo>
                  <a:lnTo>
                    <a:pt x="7088" y="1491"/>
                  </a:lnTo>
                  <a:lnTo>
                    <a:pt x="6906" y="1273"/>
                  </a:lnTo>
                  <a:lnTo>
                    <a:pt x="6724" y="1091"/>
                  </a:lnTo>
                  <a:lnTo>
                    <a:pt x="6506" y="909"/>
                  </a:lnTo>
                  <a:lnTo>
                    <a:pt x="6252" y="728"/>
                  </a:lnTo>
                  <a:lnTo>
                    <a:pt x="5961" y="582"/>
                  </a:lnTo>
                  <a:lnTo>
                    <a:pt x="5670" y="437"/>
                  </a:lnTo>
                  <a:lnTo>
                    <a:pt x="5343" y="292"/>
                  </a:lnTo>
                  <a:lnTo>
                    <a:pt x="4980" y="183"/>
                  </a:lnTo>
                  <a:lnTo>
                    <a:pt x="4616" y="110"/>
                  </a:lnTo>
                  <a:lnTo>
                    <a:pt x="4180" y="37"/>
                  </a:lnTo>
                  <a:lnTo>
                    <a:pt x="3780" y="1"/>
                  </a:lnTo>
                  <a:close/>
                </a:path>
              </a:pathLst>
            </a:custGeom>
            <a:solidFill>
              <a:srgbClr val="6A433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4" name="Google Shape;2753;p11">
              <a:extLst>
                <a:ext uri="{FF2B5EF4-FFF2-40B4-BE49-F238E27FC236}">
                  <a16:creationId xmlns:a16="http://schemas.microsoft.com/office/drawing/2014/main" id="{DAAE378C-EE81-ED2C-21DE-A34C838E8417}"/>
                </a:ext>
              </a:extLst>
            </p:cNvPr>
            <p:cNvSpPr/>
            <p:nvPr/>
          </p:nvSpPr>
          <p:spPr>
            <a:xfrm>
              <a:off x="5186575" y="5062750"/>
              <a:ext cx="231725" cy="377100"/>
            </a:xfrm>
            <a:custGeom>
              <a:avLst/>
              <a:gdLst/>
              <a:ahLst/>
              <a:cxnLst/>
              <a:rect l="l" t="t" r="r" b="b"/>
              <a:pathLst>
                <a:path w="9269" h="15084" extrusionOk="0">
                  <a:moveTo>
                    <a:pt x="1564" y="1"/>
                  </a:moveTo>
                  <a:lnTo>
                    <a:pt x="37" y="11050"/>
                  </a:lnTo>
                  <a:lnTo>
                    <a:pt x="1" y="11377"/>
                  </a:lnTo>
                  <a:lnTo>
                    <a:pt x="1" y="11740"/>
                  </a:lnTo>
                  <a:lnTo>
                    <a:pt x="37" y="12067"/>
                  </a:lnTo>
                  <a:lnTo>
                    <a:pt x="110" y="12394"/>
                  </a:lnTo>
                  <a:lnTo>
                    <a:pt x="219" y="12722"/>
                  </a:lnTo>
                  <a:lnTo>
                    <a:pt x="364" y="13012"/>
                  </a:lnTo>
                  <a:lnTo>
                    <a:pt x="510" y="13303"/>
                  </a:lnTo>
                  <a:lnTo>
                    <a:pt x="691" y="13594"/>
                  </a:lnTo>
                  <a:lnTo>
                    <a:pt x="909" y="13848"/>
                  </a:lnTo>
                  <a:lnTo>
                    <a:pt x="1164" y="14066"/>
                  </a:lnTo>
                  <a:lnTo>
                    <a:pt x="1418" y="14284"/>
                  </a:lnTo>
                  <a:lnTo>
                    <a:pt x="1673" y="14466"/>
                  </a:lnTo>
                  <a:lnTo>
                    <a:pt x="2000" y="14648"/>
                  </a:lnTo>
                  <a:lnTo>
                    <a:pt x="2291" y="14757"/>
                  </a:lnTo>
                  <a:lnTo>
                    <a:pt x="2618" y="14866"/>
                  </a:lnTo>
                  <a:lnTo>
                    <a:pt x="2981" y="14939"/>
                  </a:lnTo>
                  <a:lnTo>
                    <a:pt x="3817" y="15048"/>
                  </a:lnTo>
                  <a:lnTo>
                    <a:pt x="4181" y="15084"/>
                  </a:lnTo>
                  <a:lnTo>
                    <a:pt x="4544" y="15084"/>
                  </a:lnTo>
                  <a:lnTo>
                    <a:pt x="4871" y="15048"/>
                  </a:lnTo>
                  <a:lnTo>
                    <a:pt x="5198" y="14975"/>
                  </a:lnTo>
                  <a:lnTo>
                    <a:pt x="5525" y="14866"/>
                  </a:lnTo>
                  <a:lnTo>
                    <a:pt x="5816" y="14721"/>
                  </a:lnTo>
                  <a:lnTo>
                    <a:pt x="6107" y="14575"/>
                  </a:lnTo>
                  <a:lnTo>
                    <a:pt x="6398" y="14393"/>
                  </a:lnTo>
                  <a:lnTo>
                    <a:pt x="6652" y="14175"/>
                  </a:lnTo>
                  <a:lnTo>
                    <a:pt x="6870" y="13921"/>
                  </a:lnTo>
                  <a:lnTo>
                    <a:pt x="7088" y="13667"/>
                  </a:lnTo>
                  <a:lnTo>
                    <a:pt x="7270" y="13412"/>
                  </a:lnTo>
                  <a:lnTo>
                    <a:pt x="7415" y="13085"/>
                  </a:lnTo>
                  <a:lnTo>
                    <a:pt x="7561" y="12794"/>
                  </a:lnTo>
                  <a:lnTo>
                    <a:pt x="7670" y="12431"/>
                  </a:lnTo>
                  <a:lnTo>
                    <a:pt x="7742" y="12104"/>
                  </a:lnTo>
                  <a:lnTo>
                    <a:pt x="9269" y="1055"/>
                  </a:lnTo>
                  <a:lnTo>
                    <a:pt x="1564" y="1"/>
                  </a:lnTo>
                  <a:close/>
                </a:path>
              </a:pathLst>
            </a:custGeom>
            <a:solidFill>
              <a:srgbClr val="DC53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5" name="Google Shape;2754;p11">
              <a:extLst>
                <a:ext uri="{FF2B5EF4-FFF2-40B4-BE49-F238E27FC236}">
                  <a16:creationId xmlns:a16="http://schemas.microsoft.com/office/drawing/2014/main" id="{873E48FB-B59B-5F92-1125-AE96EFC0B7B7}"/>
                </a:ext>
              </a:extLst>
            </p:cNvPr>
            <p:cNvSpPr/>
            <p:nvPr/>
          </p:nvSpPr>
          <p:spPr>
            <a:xfrm>
              <a:off x="5207475" y="2079675"/>
              <a:ext cx="595200" cy="3143025"/>
            </a:xfrm>
            <a:custGeom>
              <a:avLst/>
              <a:gdLst/>
              <a:ahLst/>
              <a:cxnLst/>
              <a:rect l="l" t="t" r="r" b="b"/>
              <a:pathLst>
                <a:path w="23808" h="125721" extrusionOk="0">
                  <a:moveTo>
                    <a:pt x="20790" y="1"/>
                  </a:moveTo>
                  <a:lnTo>
                    <a:pt x="20572" y="73"/>
                  </a:lnTo>
                  <a:lnTo>
                    <a:pt x="20354" y="146"/>
                  </a:lnTo>
                  <a:lnTo>
                    <a:pt x="20173" y="255"/>
                  </a:lnTo>
                  <a:lnTo>
                    <a:pt x="19991" y="437"/>
                  </a:lnTo>
                  <a:lnTo>
                    <a:pt x="19845" y="618"/>
                  </a:lnTo>
                  <a:lnTo>
                    <a:pt x="19700" y="837"/>
                  </a:lnTo>
                  <a:lnTo>
                    <a:pt x="16138" y="8505"/>
                  </a:lnTo>
                  <a:lnTo>
                    <a:pt x="1" y="124666"/>
                  </a:lnTo>
                  <a:lnTo>
                    <a:pt x="7670" y="125720"/>
                  </a:lnTo>
                  <a:lnTo>
                    <a:pt x="23807" y="9559"/>
                  </a:lnTo>
                  <a:lnTo>
                    <a:pt x="22462" y="1200"/>
                  </a:lnTo>
                  <a:lnTo>
                    <a:pt x="22390" y="946"/>
                  </a:lnTo>
                  <a:lnTo>
                    <a:pt x="22281" y="727"/>
                  </a:lnTo>
                  <a:lnTo>
                    <a:pt x="22172" y="546"/>
                  </a:lnTo>
                  <a:lnTo>
                    <a:pt x="22026" y="364"/>
                  </a:lnTo>
                  <a:lnTo>
                    <a:pt x="21844" y="255"/>
                  </a:lnTo>
                  <a:lnTo>
                    <a:pt x="21626" y="146"/>
                  </a:lnTo>
                  <a:lnTo>
                    <a:pt x="21445" y="73"/>
                  </a:lnTo>
                  <a:lnTo>
                    <a:pt x="21227" y="1"/>
                  </a:lnTo>
                  <a:close/>
                </a:path>
              </a:pathLst>
            </a:custGeom>
            <a:solidFill>
              <a:srgbClr val="FCBF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6" name="Google Shape;2755;p11">
              <a:extLst>
                <a:ext uri="{FF2B5EF4-FFF2-40B4-BE49-F238E27FC236}">
                  <a16:creationId xmlns:a16="http://schemas.microsoft.com/office/drawing/2014/main" id="{89F47491-2C4E-1DDE-0112-A32F2F160025}"/>
                </a:ext>
              </a:extLst>
            </p:cNvPr>
            <p:cNvSpPr/>
            <p:nvPr/>
          </p:nvSpPr>
          <p:spPr>
            <a:xfrm>
              <a:off x="5610000" y="2018800"/>
              <a:ext cx="192675" cy="309875"/>
            </a:xfrm>
            <a:custGeom>
              <a:avLst/>
              <a:gdLst/>
              <a:ahLst/>
              <a:cxnLst/>
              <a:rect l="l" t="t" r="r" b="b"/>
              <a:pathLst>
                <a:path w="7707" h="12395" extrusionOk="0">
                  <a:moveTo>
                    <a:pt x="5307" y="0"/>
                  </a:moveTo>
                  <a:lnTo>
                    <a:pt x="5162" y="37"/>
                  </a:lnTo>
                  <a:lnTo>
                    <a:pt x="4980" y="73"/>
                  </a:lnTo>
                  <a:lnTo>
                    <a:pt x="4835" y="109"/>
                  </a:lnTo>
                  <a:lnTo>
                    <a:pt x="4726" y="218"/>
                  </a:lnTo>
                  <a:lnTo>
                    <a:pt x="4580" y="328"/>
                  </a:lnTo>
                  <a:lnTo>
                    <a:pt x="4471" y="473"/>
                  </a:lnTo>
                  <a:lnTo>
                    <a:pt x="4399" y="618"/>
                  </a:lnTo>
                  <a:lnTo>
                    <a:pt x="37" y="10940"/>
                  </a:lnTo>
                  <a:lnTo>
                    <a:pt x="1" y="11086"/>
                  </a:lnTo>
                  <a:lnTo>
                    <a:pt x="401" y="11304"/>
                  </a:lnTo>
                  <a:lnTo>
                    <a:pt x="691" y="11522"/>
                  </a:lnTo>
                  <a:lnTo>
                    <a:pt x="910" y="11740"/>
                  </a:lnTo>
                  <a:lnTo>
                    <a:pt x="1091" y="11922"/>
                  </a:lnTo>
                  <a:lnTo>
                    <a:pt x="1200" y="12104"/>
                  </a:lnTo>
                  <a:lnTo>
                    <a:pt x="1346" y="12249"/>
                  </a:lnTo>
                  <a:lnTo>
                    <a:pt x="1527" y="12358"/>
                  </a:lnTo>
                  <a:lnTo>
                    <a:pt x="1709" y="12394"/>
                  </a:lnTo>
                  <a:lnTo>
                    <a:pt x="1854" y="12394"/>
                  </a:lnTo>
                  <a:lnTo>
                    <a:pt x="2000" y="12322"/>
                  </a:lnTo>
                  <a:lnTo>
                    <a:pt x="2145" y="12249"/>
                  </a:lnTo>
                  <a:lnTo>
                    <a:pt x="2291" y="12140"/>
                  </a:lnTo>
                  <a:lnTo>
                    <a:pt x="2545" y="11885"/>
                  </a:lnTo>
                  <a:lnTo>
                    <a:pt x="2799" y="11595"/>
                  </a:lnTo>
                  <a:lnTo>
                    <a:pt x="3090" y="11304"/>
                  </a:lnTo>
                  <a:lnTo>
                    <a:pt x="3345" y="11050"/>
                  </a:lnTo>
                  <a:lnTo>
                    <a:pt x="3490" y="10940"/>
                  </a:lnTo>
                  <a:lnTo>
                    <a:pt x="3635" y="10868"/>
                  </a:lnTo>
                  <a:lnTo>
                    <a:pt x="3781" y="10831"/>
                  </a:lnTo>
                  <a:lnTo>
                    <a:pt x="3963" y="10831"/>
                  </a:lnTo>
                  <a:lnTo>
                    <a:pt x="4108" y="10868"/>
                  </a:lnTo>
                  <a:lnTo>
                    <a:pt x="4217" y="10904"/>
                  </a:lnTo>
                  <a:lnTo>
                    <a:pt x="4326" y="10977"/>
                  </a:lnTo>
                  <a:lnTo>
                    <a:pt x="4399" y="11050"/>
                  </a:lnTo>
                  <a:lnTo>
                    <a:pt x="4508" y="11231"/>
                  </a:lnTo>
                  <a:lnTo>
                    <a:pt x="4544" y="11413"/>
                  </a:lnTo>
                  <a:lnTo>
                    <a:pt x="4617" y="11558"/>
                  </a:lnTo>
                  <a:lnTo>
                    <a:pt x="4726" y="11740"/>
                  </a:lnTo>
                  <a:lnTo>
                    <a:pt x="4799" y="11813"/>
                  </a:lnTo>
                  <a:lnTo>
                    <a:pt x="4908" y="11885"/>
                  </a:lnTo>
                  <a:lnTo>
                    <a:pt x="5017" y="11922"/>
                  </a:lnTo>
                  <a:lnTo>
                    <a:pt x="5162" y="11958"/>
                  </a:lnTo>
                  <a:lnTo>
                    <a:pt x="5453" y="11958"/>
                  </a:lnTo>
                  <a:lnTo>
                    <a:pt x="5671" y="11922"/>
                  </a:lnTo>
                  <a:lnTo>
                    <a:pt x="5853" y="11885"/>
                  </a:lnTo>
                  <a:lnTo>
                    <a:pt x="6034" y="11776"/>
                  </a:lnTo>
                  <a:lnTo>
                    <a:pt x="6289" y="11631"/>
                  </a:lnTo>
                  <a:lnTo>
                    <a:pt x="6434" y="11595"/>
                  </a:lnTo>
                  <a:lnTo>
                    <a:pt x="6616" y="11595"/>
                  </a:lnTo>
                  <a:lnTo>
                    <a:pt x="6761" y="11631"/>
                  </a:lnTo>
                  <a:lnTo>
                    <a:pt x="6870" y="11667"/>
                  </a:lnTo>
                  <a:lnTo>
                    <a:pt x="6907" y="11776"/>
                  </a:lnTo>
                  <a:lnTo>
                    <a:pt x="6979" y="11813"/>
                  </a:lnTo>
                  <a:lnTo>
                    <a:pt x="7125" y="11885"/>
                  </a:lnTo>
                  <a:lnTo>
                    <a:pt x="7343" y="11958"/>
                  </a:lnTo>
                  <a:lnTo>
                    <a:pt x="7706" y="11994"/>
                  </a:lnTo>
                  <a:lnTo>
                    <a:pt x="6325" y="873"/>
                  </a:lnTo>
                  <a:lnTo>
                    <a:pt x="6289" y="691"/>
                  </a:lnTo>
                  <a:lnTo>
                    <a:pt x="6216" y="546"/>
                  </a:lnTo>
                  <a:lnTo>
                    <a:pt x="6107" y="400"/>
                  </a:lnTo>
                  <a:lnTo>
                    <a:pt x="5998" y="291"/>
                  </a:lnTo>
                  <a:lnTo>
                    <a:pt x="5889" y="182"/>
                  </a:lnTo>
                  <a:lnTo>
                    <a:pt x="5743" y="109"/>
                  </a:lnTo>
                  <a:lnTo>
                    <a:pt x="5598" y="37"/>
                  </a:lnTo>
                  <a:lnTo>
                    <a:pt x="5453" y="37"/>
                  </a:lnTo>
                  <a:lnTo>
                    <a:pt x="5307" y="0"/>
                  </a:lnTo>
                  <a:close/>
                </a:path>
              </a:pathLst>
            </a:custGeom>
            <a:solidFill>
              <a:srgbClr val="FFAE8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7" name="Google Shape;2756;p11">
              <a:extLst>
                <a:ext uri="{FF2B5EF4-FFF2-40B4-BE49-F238E27FC236}">
                  <a16:creationId xmlns:a16="http://schemas.microsoft.com/office/drawing/2014/main" id="{FFDA95CD-E250-85BE-E66F-2EF0BA3FF30D}"/>
                </a:ext>
              </a:extLst>
            </p:cNvPr>
            <p:cNvSpPr/>
            <p:nvPr/>
          </p:nvSpPr>
          <p:spPr>
            <a:xfrm>
              <a:off x="5696325" y="1989725"/>
              <a:ext cx="79075" cy="114500"/>
            </a:xfrm>
            <a:custGeom>
              <a:avLst/>
              <a:gdLst/>
              <a:ahLst/>
              <a:cxnLst/>
              <a:rect l="l" t="t" r="r" b="b"/>
              <a:pathLst>
                <a:path w="3163" h="4580" extrusionOk="0">
                  <a:moveTo>
                    <a:pt x="2000" y="0"/>
                  </a:moveTo>
                  <a:lnTo>
                    <a:pt x="1818" y="37"/>
                  </a:lnTo>
                  <a:lnTo>
                    <a:pt x="1673" y="146"/>
                  </a:lnTo>
                  <a:lnTo>
                    <a:pt x="1564" y="327"/>
                  </a:lnTo>
                  <a:lnTo>
                    <a:pt x="1" y="3998"/>
                  </a:lnTo>
                  <a:lnTo>
                    <a:pt x="1" y="4071"/>
                  </a:lnTo>
                  <a:lnTo>
                    <a:pt x="37" y="4144"/>
                  </a:lnTo>
                  <a:lnTo>
                    <a:pt x="328" y="4289"/>
                  </a:lnTo>
                  <a:lnTo>
                    <a:pt x="582" y="4325"/>
                  </a:lnTo>
                  <a:lnTo>
                    <a:pt x="800" y="4325"/>
                  </a:lnTo>
                  <a:lnTo>
                    <a:pt x="1018" y="4253"/>
                  </a:lnTo>
                  <a:lnTo>
                    <a:pt x="1382" y="4107"/>
                  </a:lnTo>
                  <a:lnTo>
                    <a:pt x="1564" y="4035"/>
                  </a:lnTo>
                  <a:lnTo>
                    <a:pt x="1782" y="4071"/>
                  </a:lnTo>
                  <a:lnTo>
                    <a:pt x="2036" y="4144"/>
                  </a:lnTo>
                  <a:lnTo>
                    <a:pt x="2327" y="4253"/>
                  </a:lnTo>
                  <a:lnTo>
                    <a:pt x="3017" y="4580"/>
                  </a:lnTo>
                  <a:lnTo>
                    <a:pt x="3126" y="4580"/>
                  </a:lnTo>
                  <a:lnTo>
                    <a:pt x="3163" y="4507"/>
                  </a:lnTo>
                  <a:lnTo>
                    <a:pt x="3163" y="4471"/>
                  </a:lnTo>
                  <a:lnTo>
                    <a:pt x="2654" y="473"/>
                  </a:lnTo>
                  <a:lnTo>
                    <a:pt x="2618" y="291"/>
                  </a:lnTo>
                  <a:lnTo>
                    <a:pt x="2472" y="146"/>
                  </a:lnTo>
                  <a:lnTo>
                    <a:pt x="2327" y="37"/>
                  </a:lnTo>
                  <a:lnTo>
                    <a:pt x="218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8" name="Google Shape;2757;p11">
              <a:extLst>
                <a:ext uri="{FF2B5EF4-FFF2-40B4-BE49-F238E27FC236}">
                  <a16:creationId xmlns:a16="http://schemas.microsoft.com/office/drawing/2014/main" id="{2A2EE0B5-79C4-6C22-9BB6-CA8DD2E1AD59}"/>
                </a:ext>
              </a:extLst>
            </p:cNvPr>
            <p:cNvSpPr/>
            <p:nvPr/>
          </p:nvSpPr>
          <p:spPr>
            <a:xfrm>
              <a:off x="2780500" y="5030950"/>
              <a:ext cx="238075" cy="388025"/>
            </a:xfrm>
            <a:custGeom>
              <a:avLst/>
              <a:gdLst/>
              <a:ahLst/>
              <a:cxnLst/>
              <a:rect l="l" t="t" r="r" b="b"/>
              <a:pathLst>
                <a:path w="9523" h="15521" extrusionOk="0">
                  <a:moveTo>
                    <a:pt x="1600" y="0"/>
                  </a:moveTo>
                  <a:lnTo>
                    <a:pt x="37" y="11340"/>
                  </a:lnTo>
                  <a:lnTo>
                    <a:pt x="0" y="11704"/>
                  </a:lnTo>
                  <a:lnTo>
                    <a:pt x="0" y="12067"/>
                  </a:lnTo>
                  <a:lnTo>
                    <a:pt x="37" y="12431"/>
                  </a:lnTo>
                  <a:lnTo>
                    <a:pt x="109" y="12758"/>
                  </a:lnTo>
                  <a:lnTo>
                    <a:pt x="218" y="13085"/>
                  </a:lnTo>
                  <a:lnTo>
                    <a:pt x="364" y="13412"/>
                  </a:lnTo>
                  <a:lnTo>
                    <a:pt x="509" y="13703"/>
                  </a:lnTo>
                  <a:lnTo>
                    <a:pt x="691" y="13994"/>
                  </a:lnTo>
                  <a:lnTo>
                    <a:pt x="909" y="14248"/>
                  </a:lnTo>
                  <a:lnTo>
                    <a:pt x="1163" y="14466"/>
                  </a:lnTo>
                  <a:lnTo>
                    <a:pt x="1418" y="14684"/>
                  </a:lnTo>
                  <a:lnTo>
                    <a:pt x="1709" y="14902"/>
                  </a:lnTo>
                  <a:lnTo>
                    <a:pt x="2036" y="15048"/>
                  </a:lnTo>
                  <a:lnTo>
                    <a:pt x="2363" y="15193"/>
                  </a:lnTo>
                  <a:lnTo>
                    <a:pt x="2690" y="15302"/>
                  </a:lnTo>
                  <a:lnTo>
                    <a:pt x="3053" y="15338"/>
                  </a:lnTo>
                  <a:lnTo>
                    <a:pt x="3926" y="15484"/>
                  </a:lnTo>
                  <a:lnTo>
                    <a:pt x="4289" y="15520"/>
                  </a:lnTo>
                  <a:lnTo>
                    <a:pt x="4653" y="15484"/>
                  </a:lnTo>
                  <a:lnTo>
                    <a:pt x="4980" y="15447"/>
                  </a:lnTo>
                  <a:lnTo>
                    <a:pt x="5343" y="15375"/>
                  </a:lnTo>
                  <a:lnTo>
                    <a:pt x="5670" y="15266"/>
                  </a:lnTo>
                  <a:lnTo>
                    <a:pt x="5961" y="15157"/>
                  </a:lnTo>
                  <a:lnTo>
                    <a:pt x="6288" y="14975"/>
                  </a:lnTo>
                  <a:lnTo>
                    <a:pt x="6543" y="14793"/>
                  </a:lnTo>
                  <a:lnTo>
                    <a:pt x="6797" y="14575"/>
                  </a:lnTo>
                  <a:lnTo>
                    <a:pt x="7051" y="14321"/>
                  </a:lnTo>
                  <a:lnTo>
                    <a:pt x="7269" y="14066"/>
                  </a:lnTo>
                  <a:lnTo>
                    <a:pt x="7451" y="13775"/>
                  </a:lnTo>
                  <a:lnTo>
                    <a:pt x="7633" y="13485"/>
                  </a:lnTo>
                  <a:lnTo>
                    <a:pt x="7742" y="13158"/>
                  </a:lnTo>
                  <a:lnTo>
                    <a:pt x="7851" y="12794"/>
                  </a:lnTo>
                  <a:lnTo>
                    <a:pt x="7924" y="12431"/>
                  </a:lnTo>
                  <a:lnTo>
                    <a:pt x="9523" y="1091"/>
                  </a:lnTo>
                  <a:lnTo>
                    <a:pt x="1600" y="0"/>
                  </a:lnTo>
                  <a:close/>
                </a:path>
              </a:pathLst>
            </a:custGeom>
            <a:solidFill>
              <a:srgbClr val="DC53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9" name="Google Shape;2758;p11">
              <a:extLst>
                <a:ext uri="{FF2B5EF4-FFF2-40B4-BE49-F238E27FC236}">
                  <a16:creationId xmlns:a16="http://schemas.microsoft.com/office/drawing/2014/main" id="{B947A8BA-A3D6-DD18-225E-918B6FAA0F6D}"/>
                </a:ext>
              </a:extLst>
            </p:cNvPr>
            <p:cNvSpPr/>
            <p:nvPr/>
          </p:nvSpPr>
          <p:spPr>
            <a:xfrm>
              <a:off x="2801400" y="1964275"/>
              <a:ext cx="612450" cy="3231150"/>
            </a:xfrm>
            <a:custGeom>
              <a:avLst/>
              <a:gdLst/>
              <a:ahLst/>
              <a:cxnLst/>
              <a:rect l="l" t="t" r="r" b="b"/>
              <a:pathLst>
                <a:path w="24498" h="129246" extrusionOk="0">
                  <a:moveTo>
                    <a:pt x="21590" y="1"/>
                  </a:moveTo>
                  <a:lnTo>
                    <a:pt x="21372" y="37"/>
                  </a:lnTo>
                  <a:lnTo>
                    <a:pt x="21153" y="73"/>
                  </a:lnTo>
                  <a:lnTo>
                    <a:pt x="20935" y="182"/>
                  </a:lnTo>
                  <a:lnTo>
                    <a:pt x="20754" y="291"/>
                  </a:lnTo>
                  <a:lnTo>
                    <a:pt x="20572" y="437"/>
                  </a:lnTo>
                  <a:lnTo>
                    <a:pt x="20427" y="655"/>
                  </a:lnTo>
                  <a:lnTo>
                    <a:pt x="20281" y="873"/>
                  </a:lnTo>
                  <a:lnTo>
                    <a:pt x="16574" y="8760"/>
                  </a:lnTo>
                  <a:lnTo>
                    <a:pt x="0" y="128156"/>
                  </a:lnTo>
                  <a:lnTo>
                    <a:pt x="7924" y="129246"/>
                  </a:lnTo>
                  <a:lnTo>
                    <a:pt x="24497" y="9850"/>
                  </a:lnTo>
                  <a:lnTo>
                    <a:pt x="23080" y="1273"/>
                  </a:lnTo>
                  <a:lnTo>
                    <a:pt x="23007" y="1018"/>
                  </a:lnTo>
                  <a:lnTo>
                    <a:pt x="22934" y="764"/>
                  </a:lnTo>
                  <a:lnTo>
                    <a:pt x="22789" y="582"/>
                  </a:lnTo>
                  <a:lnTo>
                    <a:pt x="22644" y="400"/>
                  </a:lnTo>
                  <a:lnTo>
                    <a:pt x="22462" y="255"/>
                  </a:lnTo>
                  <a:lnTo>
                    <a:pt x="22244" y="146"/>
                  </a:lnTo>
                  <a:lnTo>
                    <a:pt x="22062" y="73"/>
                  </a:lnTo>
                  <a:lnTo>
                    <a:pt x="21808" y="37"/>
                  </a:lnTo>
                  <a:lnTo>
                    <a:pt x="21590" y="1"/>
                  </a:lnTo>
                  <a:close/>
                </a:path>
              </a:pathLst>
            </a:custGeom>
            <a:solidFill>
              <a:srgbClr val="FCBF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30" name="Google Shape;2759;p11">
              <a:extLst>
                <a:ext uri="{FF2B5EF4-FFF2-40B4-BE49-F238E27FC236}">
                  <a16:creationId xmlns:a16="http://schemas.microsoft.com/office/drawing/2014/main" id="{57FEA73C-BC3B-9502-E92B-741A268A5400}"/>
                </a:ext>
              </a:extLst>
            </p:cNvPr>
            <p:cNvSpPr/>
            <p:nvPr/>
          </p:nvSpPr>
          <p:spPr>
            <a:xfrm>
              <a:off x="3215725" y="1902500"/>
              <a:ext cx="198125" cy="318050"/>
            </a:xfrm>
            <a:custGeom>
              <a:avLst/>
              <a:gdLst/>
              <a:ahLst/>
              <a:cxnLst/>
              <a:rect l="l" t="t" r="r" b="b"/>
              <a:pathLst>
                <a:path w="7925" h="12722" extrusionOk="0">
                  <a:moveTo>
                    <a:pt x="5271" y="0"/>
                  </a:moveTo>
                  <a:lnTo>
                    <a:pt x="5126" y="37"/>
                  </a:lnTo>
                  <a:lnTo>
                    <a:pt x="4980" y="109"/>
                  </a:lnTo>
                  <a:lnTo>
                    <a:pt x="4835" y="182"/>
                  </a:lnTo>
                  <a:lnTo>
                    <a:pt x="4726" y="327"/>
                  </a:lnTo>
                  <a:lnTo>
                    <a:pt x="4617" y="436"/>
                  </a:lnTo>
                  <a:lnTo>
                    <a:pt x="4508" y="618"/>
                  </a:lnTo>
                  <a:lnTo>
                    <a:pt x="1" y="11231"/>
                  </a:lnTo>
                  <a:lnTo>
                    <a:pt x="1" y="11376"/>
                  </a:lnTo>
                  <a:lnTo>
                    <a:pt x="401" y="11594"/>
                  </a:lnTo>
                  <a:lnTo>
                    <a:pt x="691" y="11813"/>
                  </a:lnTo>
                  <a:lnTo>
                    <a:pt x="910" y="12031"/>
                  </a:lnTo>
                  <a:lnTo>
                    <a:pt x="1091" y="12249"/>
                  </a:lnTo>
                  <a:lnTo>
                    <a:pt x="1237" y="12430"/>
                  </a:lnTo>
                  <a:lnTo>
                    <a:pt x="1382" y="12576"/>
                  </a:lnTo>
                  <a:lnTo>
                    <a:pt x="1527" y="12685"/>
                  </a:lnTo>
                  <a:lnTo>
                    <a:pt x="1746" y="12721"/>
                  </a:lnTo>
                  <a:lnTo>
                    <a:pt x="1891" y="12721"/>
                  </a:lnTo>
                  <a:lnTo>
                    <a:pt x="2036" y="12648"/>
                  </a:lnTo>
                  <a:lnTo>
                    <a:pt x="2182" y="12576"/>
                  </a:lnTo>
                  <a:lnTo>
                    <a:pt x="2327" y="12467"/>
                  </a:lnTo>
                  <a:lnTo>
                    <a:pt x="2618" y="12212"/>
                  </a:lnTo>
                  <a:lnTo>
                    <a:pt x="2872" y="11885"/>
                  </a:lnTo>
                  <a:lnTo>
                    <a:pt x="3163" y="11594"/>
                  </a:lnTo>
                  <a:lnTo>
                    <a:pt x="3417" y="11340"/>
                  </a:lnTo>
                  <a:lnTo>
                    <a:pt x="3563" y="11231"/>
                  </a:lnTo>
                  <a:lnTo>
                    <a:pt x="3745" y="11158"/>
                  </a:lnTo>
                  <a:lnTo>
                    <a:pt x="3890" y="11122"/>
                  </a:lnTo>
                  <a:lnTo>
                    <a:pt x="4035" y="11122"/>
                  </a:lnTo>
                  <a:lnTo>
                    <a:pt x="4217" y="11158"/>
                  </a:lnTo>
                  <a:lnTo>
                    <a:pt x="4326" y="11195"/>
                  </a:lnTo>
                  <a:lnTo>
                    <a:pt x="4435" y="11267"/>
                  </a:lnTo>
                  <a:lnTo>
                    <a:pt x="4508" y="11340"/>
                  </a:lnTo>
                  <a:lnTo>
                    <a:pt x="4617" y="11522"/>
                  </a:lnTo>
                  <a:lnTo>
                    <a:pt x="4690" y="11703"/>
                  </a:lnTo>
                  <a:lnTo>
                    <a:pt x="4762" y="11885"/>
                  </a:lnTo>
                  <a:lnTo>
                    <a:pt x="4835" y="12067"/>
                  </a:lnTo>
                  <a:lnTo>
                    <a:pt x="4908" y="12140"/>
                  </a:lnTo>
                  <a:lnTo>
                    <a:pt x="5017" y="12176"/>
                  </a:lnTo>
                  <a:lnTo>
                    <a:pt x="5126" y="12249"/>
                  </a:lnTo>
                  <a:lnTo>
                    <a:pt x="5307" y="12249"/>
                  </a:lnTo>
                  <a:lnTo>
                    <a:pt x="5598" y="12285"/>
                  </a:lnTo>
                  <a:lnTo>
                    <a:pt x="5816" y="12249"/>
                  </a:lnTo>
                  <a:lnTo>
                    <a:pt x="5998" y="12176"/>
                  </a:lnTo>
                  <a:lnTo>
                    <a:pt x="6180" y="12103"/>
                  </a:lnTo>
                  <a:lnTo>
                    <a:pt x="6470" y="11958"/>
                  </a:lnTo>
                  <a:lnTo>
                    <a:pt x="6616" y="11922"/>
                  </a:lnTo>
                  <a:lnTo>
                    <a:pt x="6798" y="11922"/>
                  </a:lnTo>
                  <a:lnTo>
                    <a:pt x="6943" y="11958"/>
                  </a:lnTo>
                  <a:lnTo>
                    <a:pt x="7016" y="11994"/>
                  </a:lnTo>
                  <a:lnTo>
                    <a:pt x="7088" y="12103"/>
                  </a:lnTo>
                  <a:lnTo>
                    <a:pt x="7161" y="12140"/>
                  </a:lnTo>
                  <a:lnTo>
                    <a:pt x="7306" y="12212"/>
                  </a:lnTo>
                  <a:lnTo>
                    <a:pt x="7524" y="12249"/>
                  </a:lnTo>
                  <a:lnTo>
                    <a:pt x="7924" y="12321"/>
                  </a:lnTo>
                  <a:lnTo>
                    <a:pt x="7924" y="12321"/>
                  </a:lnTo>
                  <a:lnTo>
                    <a:pt x="6470" y="909"/>
                  </a:lnTo>
                  <a:lnTo>
                    <a:pt x="6434" y="691"/>
                  </a:lnTo>
                  <a:lnTo>
                    <a:pt x="6361" y="545"/>
                  </a:lnTo>
                  <a:lnTo>
                    <a:pt x="6289" y="400"/>
                  </a:lnTo>
                  <a:lnTo>
                    <a:pt x="6180" y="291"/>
                  </a:lnTo>
                  <a:lnTo>
                    <a:pt x="6034" y="182"/>
                  </a:lnTo>
                  <a:lnTo>
                    <a:pt x="5889" y="109"/>
                  </a:lnTo>
                  <a:lnTo>
                    <a:pt x="5744" y="37"/>
                  </a:lnTo>
                  <a:lnTo>
                    <a:pt x="5598" y="0"/>
                  </a:lnTo>
                  <a:close/>
                </a:path>
              </a:pathLst>
            </a:custGeom>
            <a:solidFill>
              <a:srgbClr val="FFAE8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31" name="Google Shape;2760;p11">
              <a:extLst>
                <a:ext uri="{FF2B5EF4-FFF2-40B4-BE49-F238E27FC236}">
                  <a16:creationId xmlns:a16="http://schemas.microsoft.com/office/drawing/2014/main" id="{FB04EDD3-9733-AD6B-40DB-E32F30B1C0E7}"/>
                </a:ext>
              </a:extLst>
            </p:cNvPr>
            <p:cNvSpPr/>
            <p:nvPr/>
          </p:nvSpPr>
          <p:spPr>
            <a:xfrm>
              <a:off x="3303875" y="1871600"/>
              <a:ext cx="81800" cy="118150"/>
            </a:xfrm>
            <a:custGeom>
              <a:avLst/>
              <a:gdLst/>
              <a:ahLst/>
              <a:cxnLst/>
              <a:rect l="l" t="t" r="r" b="b"/>
              <a:pathLst>
                <a:path w="3272" h="4726" extrusionOk="0">
                  <a:moveTo>
                    <a:pt x="2254" y="0"/>
                  </a:moveTo>
                  <a:lnTo>
                    <a:pt x="2072" y="37"/>
                  </a:lnTo>
                  <a:lnTo>
                    <a:pt x="1890" y="73"/>
                  </a:lnTo>
                  <a:lnTo>
                    <a:pt x="1745" y="182"/>
                  </a:lnTo>
                  <a:lnTo>
                    <a:pt x="1636" y="364"/>
                  </a:lnTo>
                  <a:lnTo>
                    <a:pt x="0" y="4144"/>
                  </a:lnTo>
                  <a:lnTo>
                    <a:pt x="0" y="4217"/>
                  </a:lnTo>
                  <a:lnTo>
                    <a:pt x="73" y="4289"/>
                  </a:lnTo>
                  <a:lnTo>
                    <a:pt x="364" y="4435"/>
                  </a:lnTo>
                  <a:lnTo>
                    <a:pt x="618" y="4471"/>
                  </a:lnTo>
                  <a:lnTo>
                    <a:pt x="836" y="4471"/>
                  </a:lnTo>
                  <a:lnTo>
                    <a:pt x="1054" y="4398"/>
                  </a:lnTo>
                  <a:lnTo>
                    <a:pt x="1418" y="4217"/>
                  </a:lnTo>
                  <a:lnTo>
                    <a:pt x="1636" y="4180"/>
                  </a:lnTo>
                  <a:lnTo>
                    <a:pt x="1854" y="4217"/>
                  </a:lnTo>
                  <a:lnTo>
                    <a:pt x="2108" y="4289"/>
                  </a:lnTo>
                  <a:lnTo>
                    <a:pt x="2399" y="4398"/>
                  </a:lnTo>
                  <a:lnTo>
                    <a:pt x="3090" y="4725"/>
                  </a:lnTo>
                  <a:lnTo>
                    <a:pt x="3199" y="4725"/>
                  </a:lnTo>
                  <a:lnTo>
                    <a:pt x="3235" y="4653"/>
                  </a:lnTo>
                  <a:lnTo>
                    <a:pt x="3272" y="4616"/>
                  </a:lnTo>
                  <a:lnTo>
                    <a:pt x="2763" y="509"/>
                  </a:lnTo>
                  <a:lnTo>
                    <a:pt x="2690" y="328"/>
                  </a:lnTo>
                  <a:lnTo>
                    <a:pt x="2581" y="182"/>
                  </a:lnTo>
                  <a:lnTo>
                    <a:pt x="2436" y="73"/>
                  </a:lnTo>
                  <a:lnTo>
                    <a:pt x="22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532" name="Google Shape;2761;p11">
            <a:extLst>
              <a:ext uri="{FF2B5EF4-FFF2-40B4-BE49-F238E27FC236}">
                <a16:creationId xmlns:a16="http://schemas.microsoft.com/office/drawing/2014/main" id="{76FB9A99-77A1-E31B-48C8-505628D0555B}"/>
              </a:ext>
            </a:extLst>
          </p:cNvPr>
          <p:cNvSpPr/>
          <p:nvPr/>
        </p:nvSpPr>
        <p:spPr>
          <a:xfrm>
            <a:off x="3531150" y="4862962"/>
            <a:ext cx="2287800" cy="306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lang="nb-NO" sz="800" kern="0">
                <a:solidFill>
                  <a:srgbClr val="464646"/>
                </a:solidFill>
                <a:latin typeface="+mj-lt"/>
              </a:rPr>
              <a:t>Visualisering av prosesser ved hjelp av tjenestedesigner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33" name="Google Shape;2762;p11">
            <a:extLst>
              <a:ext uri="{FF2B5EF4-FFF2-40B4-BE49-F238E27FC236}">
                <a16:creationId xmlns:a16="http://schemas.microsoft.com/office/drawing/2014/main" id="{B5563979-11C0-20E0-6791-69DC74FFCC0A}"/>
              </a:ext>
            </a:extLst>
          </p:cNvPr>
          <p:cNvSpPr/>
          <p:nvPr/>
        </p:nvSpPr>
        <p:spPr>
          <a:xfrm>
            <a:off x="8737175" y="5213431"/>
            <a:ext cx="2287800" cy="3069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lang="nb-NO" sz="800" kern="0">
                <a:solidFill>
                  <a:srgbClr val="464646"/>
                </a:solidFill>
                <a:latin typeface="+mj-lt"/>
              </a:rPr>
              <a:t>Overgang til drift og vedlikehold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35" name="Google Shape;2765;p11">
            <a:extLst>
              <a:ext uri="{FF2B5EF4-FFF2-40B4-BE49-F238E27FC236}">
                <a16:creationId xmlns:a16="http://schemas.microsoft.com/office/drawing/2014/main" id="{33A7EF87-0810-21D8-7284-0BB998589CCC}"/>
              </a:ext>
            </a:extLst>
          </p:cNvPr>
          <p:cNvSpPr/>
          <p:nvPr/>
        </p:nvSpPr>
        <p:spPr>
          <a:xfrm>
            <a:off x="933325" y="5213437"/>
            <a:ext cx="2287800" cy="306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lang="nb-NO" sz="800" kern="0">
                <a:solidFill>
                  <a:srgbClr val="464646"/>
                </a:solidFill>
                <a:latin typeface="+mj-lt"/>
              </a:rPr>
              <a:t>Konseptutredning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  <p:pic>
        <p:nvPicPr>
          <p:cNvPr id="538" name="Grafikk 537" descr="Pil høyre kontur">
            <a:extLst>
              <a:ext uri="{FF2B5EF4-FFF2-40B4-BE49-F238E27FC236}">
                <a16:creationId xmlns:a16="http://schemas.microsoft.com/office/drawing/2014/main" id="{751E77F8-C6AD-ED3E-29F3-E432EBFF99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85900" y="3497724"/>
            <a:ext cx="389189" cy="389189"/>
          </a:xfrm>
          <a:prstGeom prst="rect">
            <a:avLst/>
          </a:prstGeom>
        </p:spPr>
      </p:pic>
      <p:sp>
        <p:nvSpPr>
          <p:cNvPr id="539" name="Google Shape;2260;p11">
            <a:extLst>
              <a:ext uri="{FF2B5EF4-FFF2-40B4-BE49-F238E27FC236}">
                <a16:creationId xmlns:a16="http://schemas.microsoft.com/office/drawing/2014/main" id="{C57D2543-9616-DF33-1E9E-5E3F2CC692AE}"/>
              </a:ext>
            </a:extLst>
          </p:cNvPr>
          <p:cNvSpPr/>
          <p:nvPr/>
        </p:nvSpPr>
        <p:spPr>
          <a:xfrm>
            <a:off x="6128969" y="5222989"/>
            <a:ext cx="2287800" cy="306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800"/>
              <a:buFontTx/>
              <a:buNone/>
              <a:tabLst/>
              <a:defRPr/>
            </a:pPr>
            <a:r>
              <a:rPr lang="nb-NO" sz="800" kern="0">
                <a:solidFill>
                  <a:srgbClr val="464646"/>
                </a:solidFill>
                <a:latin typeface="+mj-lt"/>
              </a:rPr>
              <a:t>Gjennomføre anskaffelse og velge leverandør(er)</a:t>
            </a: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31959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78F95-7D07-3932-712B-654357D4CC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A57EF9-5970-303B-232A-E479AD0CEC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20142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A57EF9-5970-303B-232A-E479AD0CEC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69C1C91E-FF35-57DC-0D12-02D1D0A4C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92460" y="6348715"/>
            <a:ext cx="391477" cy="153889"/>
          </a:xfrm>
        </p:spPr>
        <p:txBody>
          <a:bodyPr/>
          <a:lstStyle/>
          <a:p>
            <a:fld id="{BE2ACD00-28B2-4D17-A930-2C9F8441C7CA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2" name="Tittel 4">
            <a:extLst>
              <a:ext uri="{FF2B5EF4-FFF2-40B4-BE49-F238E27FC236}">
                <a16:creationId xmlns:a16="http://schemas.microsoft.com/office/drawing/2014/main" id="{B2B94021-9BCF-9DBA-B0E5-612035CAA5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270772"/>
            <a:ext cx="10154444" cy="769442"/>
          </a:xfrm>
        </p:spPr>
        <p:txBody>
          <a:bodyPr vert="horz"/>
          <a:lstStyle/>
          <a:p>
            <a:r>
              <a:rPr lang="nb-NO"/>
              <a:t>Statusoppdatering VIGO moderniseringen</a:t>
            </a:r>
          </a:p>
        </p:txBody>
      </p:sp>
      <p:sp>
        <p:nvSpPr>
          <p:cNvPr id="5" name="Rectangle 12">
            <a:extLst>
              <a:ext uri="{FF2B5EF4-FFF2-40B4-BE49-F238E27FC236}">
                <a16:creationId xmlns:a16="http://schemas.microsoft.com/office/drawing/2014/main" id="{0E730485-069B-7EF7-C733-1FEB6B54C7F9}"/>
              </a:ext>
            </a:extLst>
          </p:cNvPr>
          <p:cNvSpPr/>
          <p:nvPr/>
        </p:nvSpPr>
        <p:spPr bwMode="auto">
          <a:xfrm>
            <a:off x="661639" y="863768"/>
            <a:ext cx="10835036" cy="51874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7F4D43E-A1A2-4D9A-0907-93BB318C7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5451" y="863769"/>
            <a:ext cx="7181098" cy="485766"/>
          </a:xfrm>
        </p:spPr>
        <p:txBody>
          <a:bodyPr/>
          <a:lstStyle/>
          <a:p>
            <a:pPr marL="0" indent="0" algn="ctr">
              <a:buNone/>
            </a:pPr>
            <a:endParaRPr lang="nb-NO" sz="600">
              <a:solidFill>
                <a:schemeClr val="tx2"/>
              </a:solidFill>
            </a:endParaRPr>
          </a:p>
          <a:p>
            <a:pPr marL="0" indent="0" algn="ctr">
              <a:buNone/>
            </a:pPr>
            <a:r>
              <a:rPr lang="nb-NO" sz="2000">
                <a:solidFill>
                  <a:schemeClr val="accent1"/>
                </a:solidFill>
              </a:rPr>
              <a:t>Fase 1: Anskaffelsen- Funksjonelle behov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7D0EB2A6-0F76-1576-C7B0-95CFD21E2AE9}"/>
              </a:ext>
            </a:extLst>
          </p:cNvPr>
          <p:cNvSpPr/>
          <p:nvPr/>
        </p:nvSpPr>
        <p:spPr bwMode="auto">
          <a:xfrm>
            <a:off x="2199173" y="1764817"/>
            <a:ext cx="9099209" cy="161028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</a:pPr>
            <a:r>
              <a:rPr lang="nb-NO" sz="1600">
                <a:latin typeface="+mj-lt"/>
              </a:rPr>
              <a:t>Arbeidet med de funksjonelle behovene har som formål å skape et godt helhetlig bilde av behovene for alle tjenestene i VIGO systemet (Inntak, fagopplæring, OT) i tillegg til rapportering og integrasjoner. Dette skal benyttes i anskaffelsen for å velge rett leverandør og i selve utviklingen som et fundament for detaljeringen av alle behovene som VIGO systemet gir støtte for. Prosjektet skal knytte behovene opp mot lov og forskrift for å sikre at systemet etterlever de lovpålagte oppgavene</a:t>
            </a: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A736BEE8-49BD-6CBF-2BBB-9F97A2FE06AD}"/>
              </a:ext>
            </a:extLst>
          </p:cNvPr>
          <p:cNvSpPr/>
          <p:nvPr/>
        </p:nvSpPr>
        <p:spPr bwMode="auto">
          <a:xfrm>
            <a:off x="2194175" y="4093739"/>
            <a:ext cx="9140673" cy="161028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</a:pPr>
            <a:r>
              <a:rPr lang="nb-NO" sz="1600">
                <a:latin typeface="+mj-lt"/>
              </a:rPr>
              <a:t>Behovene slik de er i dag i eksisterende system er kartlagt med detaljerte beskrivelser av alle hovedprosesser. Faggruppene har startet arbeidet med å beskrive ønskede behov for moderniseringen av VIGO-systemet. Det pågår et arbeid for å koble opplæringsloven og opplæringsforskriften mot behovene som er kartlagt. Detaljeringen av manuelle prosesser gjenstår og arbeidet skal innen kort tid startes. </a:t>
            </a:r>
          </a:p>
        </p:txBody>
      </p:sp>
      <p:sp>
        <p:nvSpPr>
          <p:cNvPr id="12" name="Oval 80">
            <a:extLst>
              <a:ext uri="{FF2B5EF4-FFF2-40B4-BE49-F238E27FC236}">
                <a16:creationId xmlns:a16="http://schemas.microsoft.com/office/drawing/2014/main" id="{D573A346-2B11-5C03-4EF7-F2FFA580B449}"/>
              </a:ext>
            </a:extLst>
          </p:cNvPr>
          <p:cNvSpPr/>
          <p:nvPr/>
        </p:nvSpPr>
        <p:spPr bwMode="auto">
          <a:xfrm>
            <a:off x="893618" y="4390704"/>
            <a:ext cx="1052946" cy="1052946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3" name="Graphic 133" descr="Clock">
            <a:extLst>
              <a:ext uri="{FF2B5EF4-FFF2-40B4-BE49-F238E27FC236}">
                <a16:creationId xmlns:a16="http://schemas.microsoft.com/office/drawing/2014/main" id="{9A5F821B-C0F7-8394-95BE-1232BC8CA89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3304" y="4589540"/>
            <a:ext cx="673575" cy="673575"/>
          </a:xfrm>
          <a:prstGeom prst="rect">
            <a:avLst/>
          </a:prstGeom>
        </p:spPr>
      </p:pic>
      <p:sp>
        <p:nvSpPr>
          <p:cNvPr id="14" name="Oval 83">
            <a:extLst>
              <a:ext uri="{FF2B5EF4-FFF2-40B4-BE49-F238E27FC236}">
                <a16:creationId xmlns:a16="http://schemas.microsoft.com/office/drawing/2014/main" id="{AD449A0A-7951-85C8-30E9-E1DE2F9938C0}"/>
              </a:ext>
            </a:extLst>
          </p:cNvPr>
          <p:cNvSpPr/>
          <p:nvPr/>
        </p:nvSpPr>
        <p:spPr bwMode="auto">
          <a:xfrm>
            <a:off x="893618" y="2032465"/>
            <a:ext cx="1052946" cy="1052946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5" name="Graphic 134" descr="Compass">
            <a:extLst>
              <a:ext uri="{FF2B5EF4-FFF2-40B4-BE49-F238E27FC236}">
                <a16:creationId xmlns:a16="http://schemas.microsoft.com/office/drawing/2014/main" id="{A110EF28-5D13-E410-353B-2E2C5D0BA05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2450" y="2216341"/>
            <a:ext cx="695283" cy="695283"/>
          </a:xfrm>
          <a:prstGeom prst="rect">
            <a:avLst/>
          </a:prstGeom>
        </p:spPr>
      </p:pic>
      <p:sp>
        <p:nvSpPr>
          <p:cNvPr id="23" name="Rectangle 30">
            <a:extLst>
              <a:ext uri="{FF2B5EF4-FFF2-40B4-BE49-F238E27FC236}">
                <a16:creationId xmlns:a16="http://schemas.microsoft.com/office/drawing/2014/main" id="{A78749B5-390F-A95C-A655-0A4F6713D574}"/>
              </a:ext>
            </a:extLst>
          </p:cNvPr>
          <p:cNvSpPr/>
          <p:nvPr/>
        </p:nvSpPr>
        <p:spPr bwMode="auto">
          <a:xfrm>
            <a:off x="2194176" y="3738029"/>
            <a:ext cx="1354408" cy="31496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tatus</a:t>
            </a:r>
          </a:p>
        </p:txBody>
      </p:sp>
      <p:sp>
        <p:nvSpPr>
          <p:cNvPr id="24" name="Rectangle 30">
            <a:extLst>
              <a:ext uri="{FF2B5EF4-FFF2-40B4-BE49-F238E27FC236}">
                <a16:creationId xmlns:a16="http://schemas.microsoft.com/office/drawing/2014/main" id="{0EB12EF4-2708-4CEA-4EAD-E99136857A60}"/>
              </a:ext>
            </a:extLst>
          </p:cNvPr>
          <p:cNvSpPr/>
          <p:nvPr/>
        </p:nvSpPr>
        <p:spPr bwMode="auto">
          <a:xfrm>
            <a:off x="2194175" y="1420018"/>
            <a:ext cx="1354409" cy="31496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ål</a:t>
            </a:r>
          </a:p>
        </p:txBody>
      </p:sp>
    </p:spTree>
    <p:extLst>
      <p:ext uri="{BB962C8B-B14F-4D97-AF65-F5344CB8AC3E}">
        <p14:creationId xmlns:p14="http://schemas.microsoft.com/office/powerpoint/2010/main" val="3036882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07;g2e0683f995c_0_0">
            <a:extLst>
              <a:ext uri="{FF2B5EF4-FFF2-40B4-BE49-F238E27FC236}">
                <a16:creationId xmlns:a16="http://schemas.microsoft.com/office/drawing/2014/main" id="{3E00067F-63FF-BC07-A0C3-4A4FD83D7245}"/>
              </a:ext>
            </a:extLst>
          </p:cNvPr>
          <p:cNvSpPr txBox="1">
            <a:spLocks/>
          </p:cNvSpPr>
          <p:nvPr/>
        </p:nvSpPr>
        <p:spPr>
          <a:xfrm>
            <a:off x="382000" y="486981"/>
            <a:ext cx="11520900" cy="538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Calibri"/>
              <a:buNone/>
              <a:tabLst/>
              <a:defRPr/>
            </a:pPr>
            <a:r>
              <a:rPr kumimoji="0" lang="nb-NO" sz="2200" b="0" i="0" u="none" strike="noStrike" kern="0" cap="none" spc="0" normalizeH="0" baseline="0" noProof="0">
                <a:ln>
                  <a:noFill/>
                </a:ln>
                <a:solidFill>
                  <a:srgbClr val="6B133D"/>
                </a:solidFill>
                <a:effectLst/>
                <a:uLnTx/>
                <a:uFillTx/>
                <a:latin typeface="Brockmann"/>
                <a:ea typeface="Calibri"/>
                <a:cs typeface="Calibri"/>
                <a:sym typeface="Calibri"/>
              </a:rPr>
              <a:t>Prinsipper | Modernisering av VIGO-systemet </a:t>
            </a:r>
          </a:p>
        </p:txBody>
      </p:sp>
      <p:sp>
        <p:nvSpPr>
          <p:cNvPr id="3" name="Google Shape;5716;p552">
            <a:extLst>
              <a:ext uri="{FF2B5EF4-FFF2-40B4-BE49-F238E27FC236}">
                <a16:creationId xmlns:a16="http://schemas.microsoft.com/office/drawing/2014/main" id="{1A6136D9-F25B-9B50-6C29-396814DA6A59}"/>
              </a:ext>
            </a:extLst>
          </p:cNvPr>
          <p:cNvSpPr txBox="1"/>
          <p:nvPr/>
        </p:nvSpPr>
        <p:spPr>
          <a:xfrm>
            <a:off x="5409769" y="1532183"/>
            <a:ext cx="1382400" cy="15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Standardise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Datadeling</a:t>
            </a:r>
          </a:p>
        </p:txBody>
      </p:sp>
      <p:sp>
        <p:nvSpPr>
          <p:cNvPr id="4" name="Google Shape;5717;p552">
            <a:extLst>
              <a:ext uri="{FF2B5EF4-FFF2-40B4-BE49-F238E27FC236}">
                <a16:creationId xmlns:a16="http://schemas.microsoft.com/office/drawing/2014/main" id="{EFBCB724-766C-CFD0-9CED-CC3A15DAB567}"/>
              </a:ext>
            </a:extLst>
          </p:cNvPr>
          <p:cNvSpPr txBox="1"/>
          <p:nvPr/>
        </p:nvSpPr>
        <p:spPr>
          <a:xfrm>
            <a:off x="7595519" y="1572683"/>
            <a:ext cx="1370409" cy="14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Automatiser der det 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mulig og hensiktsmessig</a:t>
            </a:r>
          </a:p>
        </p:txBody>
      </p:sp>
      <p:sp>
        <p:nvSpPr>
          <p:cNvPr id="5" name="Google Shape;5718;p552">
            <a:extLst>
              <a:ext uri="{FF2B5EF4-FFF2-40B4-BE49-F238E27FC236}">
                <a16:creationId xmlns:a16="http://schemas.microsoft.com/office/drawing/2014/main" id="{B6B18892-C308-F301-3E94-0B574C1CA926}"/>
              </a:ext>
            </a:extLst>
          </p:cNvPr>
          <p:cNvSpPr txBox="1"/>
          <p:nvPr/>
        </p:nvSpPr>
        <p:spPr>
          <a:xfrm>
            <a:off x="3208719" y="1600583"/>
            <a:ext cx="1397700" cy="14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Datasentrer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Utvikling av VIGO</a:t>
            </a:r>
          </a:p>
        </p:txBody>
      </p:sp>
      <p:sp>
        <p:nvSpPr>
          <p:cNvPr id="6" name="Google Shape;5719;p552">
            <a:extLst>
              <a:ext uri="{FF2B5EF4-FFF2-40B4-BE49-F238E27FC236}">
                <a16:creationId xmlns:a16="http://schemas.microsoft.com/office/drawing/2014/main" id="{6D453F39-ED33-54CD-7B12-52724E8F90EA}"/>
              </a:ext>
            </a:extLst>
          </p:cNvPr>
          <p:cNvSpPr txBox="1"/>
          <p:nvPr/>
        </p:nvSpPr>
        <p:spPr>
          <a:xfrm>
            <a:off x="1010194" y="1577783"/>
            <a:ext cx="1402800" cy="1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Brukerinvolvering</a:t>
            </a:r>
          </a:p>
        </p:txBody>
      </p:sp>
      <p:grpSp>
        <p:nvGrpSpPr>
          <p:cNvPr id="7" name="Google Shape;5720;p552">
            <a:extLst>
              <a:ext uri="{FF2B5EF4-FFF2-40B4-BE49-F238E27FC236}">
                <a16:creationId xmlns:a16="http://schemas.microsoft.com/office/drawing/2014/main" id="{6F53F875-E09A-D83B-22B9-B5F698C20889}"/>
              </a:ext>
            </a:extLst>
          </p:cNvPr>
          <p:cNvGrpSpPr/>
          <p:nvPr/>
        </p:nvGrpSpPr>
        <p:grpSpPr>
          <a:xfrm>
            <a:off x="775176" y="1351730"/>
            <a:ext cx="1858812" cy="1920600"/>
            <a:chOff x="2544438" y="2597500"/>
            <a:chExt cx="1858812" cy="1920600"/>
          </a:xfrm>
          <a:solidFill>
            <a:srgbClr val="70AD47">
              <a:lumMod val="40000"/>
              <a:lumOff val="60000"/>
            </a:srgbClr>
          </a:solidFill>
        </p:grpSpPr>
        <p:sp>
          <p:nvSpPr>
            <p:cNvPr id="8" name="Google Shape;5721;p552">
              <a:extLst>
                <a:ext uri="{FF2B5EF4-FFF2-40B4-BE49-F238E27FC236}">
                  <a16:creationId xmlns:a16="http://schemas.microsoft.com/office/drawing/2014/main" id="{14867B6F-B72F-4395-F591-DB89C5C9D003}"/>
                </a:ext>
              </a:extLst>
            </p:cNvPr>
            <p:cNvSpPr/>
            <p:nvPr/>
          </p:nvSpPr>
          <p:spPr>
            <a:xfrm>
              <a:off x="2544438" y="4283775"/>
              <a:ext cx="1858800" cy="2343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9" name="Google Shape;5722;p552">
              <a:extLst>
                <a:ext uri="{FF2B5EF4-FFF2-40B4-BE49-F238E27FC236}">
                  <a16:creationId xmlns:a16="http://schemas.microsoft.com/office/drawing/2014/main" id="{F9FF7D19-DD6A-0EF8-7F13-916F827BD65D}"/>
                </a:ext>
              </a:extLst>
            </p:cNvPr>
            <p:cNvSpPr/>
            <p:nvPr/>
          </p:nvSpPr>
          <p:spPr>
            <a:xfrm rot="5400000">
              <a:off x="3762450" y="3877275"/>
              <a:ext cx="1047300" cy="2343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0" name="Google Shape;5723;p552">
              <a:extLst>
                <a:ext uri="{FF2B5EF4-FFF2-40B4-BE49-F238E27FC236}">
                  <a16:creationId xmlns:a16="http://schemas.microsoft.com/office/drawing/2014/main" id="{0B4BDF13-CE4A-5AAE-0B63-A6FC45812B11}"/>
                </a:ext>
              </a:extLst>
            </p:cNvPr>
            <p:cNvSpPr/>
            <p:nvPr/>
          </p:nvSpPr>
          <p:spPr>
            <a:xfrm rot="5400000">
              <a:off x="1701300" y="3440650"/>
              <a:ext cx="1920600" cy="2343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Google Shape;5724;p552">
              <a:extLst>
                <a:ext uri="{FF2B5EF4-FFF2-40B4-BE49-F238E27FC236}">
                  <a16:creationId xmlns:a16="http://schemas.microsoft.com/office/drawing/2014/main" id="{B363C378-4DC6-17F1-307E-71AD6FAEA67B}"/>
                </a:ext>
              </a:extLst>
            </p:cNvPr>
            <p:cNvSpPr/>
            <p:nvPr/>
          </p:nvSpPr>
          <p:spPr>
            <a:xfrm>
              <a:off x="2544450" y="2597500"/>
              <a:ext cx="581700" cy="2343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2" name="Google Shape;5725;p552">
            <a:extLst>
              <a:ext uri="{FF2B5EF4-FFF2-40B4-BE49-F238E27FC236}">
                <a16:creationId xmlns:a16="http://schemas.microsoft.com/office/drawing/2014/main" id="{57483ED7-F8A8-2BC8-290D-F0DCFF87A90E}"/>
              </a:ext>
            </a:extLst>
          </p:cNvPr>
          <p:cNvGrpSpPr/>
          <p:nvPr/>
        </p:nvGrpSpPr>
        <p:grpSpPr>
          <a:xfrm>
            <a:off x="2970880" y="1351730"/>
            <a:ext cx="1858812" cy="1920600"/>
            <a:chOff x="2544438" y="2597500"/>
            <a:chExt cx="1858812" cy="1920600"/>
          </a:xfrm>
          <a:solidFill>
            <a:srgbClr val="44546A">
              <a:lumMod val="60000"/>
              <a:lumOff val="40000"/>
            </a:srgbClr>
          </a:solidFill>
        </p:grpSpPr>
        <p:sp>
          <p:nvSpPr>
            <p:cNvPr id="13" name="Google Shape;5726;p552">
              <a:extLst>
                <a:ext uri="{FF2B5EF4-FFF2-40B4-BE49-F238E27FC236}">
                  <a16:creationId xmlns:a16="http://schemas.microsoft.com/office/drawing/2014/main" id="{B20C2376-8E27-0AF6-744A-7E3218290620}"/>
                </a:ext>
              </a:extLst>
            </p:cNvPr>
            <p:cNvSpPr/>
            <p:nvPr/>
          </p:nvSpPr>
          <p:spPr>
            <a:xfrm>
              <a:off x="2544438" y="4283775"/>
              <a:ext cx="1858800" cy="2343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4" name="Google Shape;5727;p552">
              <a:extLst>
                <a:ext uri="{FF2B5EF4-FFF2-40B4-BE49-F238E27FC236}">
                  <a16:creationId xmlns:a16="http://schemas.microsoft.com/office/drawing/2014/main" id="{D92FCE46-54A0-29DA-3EC3-98201E28C5C3}"/>
                </a:ext>
              </a:extLst>
            </p:cNvPr>
            <p:cNvSpPr/>
            <p:nvPr/>
          </p:nvSpPr>
          <p:spPr>
            <a:xfrm rot="5400000">
              <a:off x="3762450" y="3877275"/>
              <a:ext cx="1047300" cy="2343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5" name="Google Shape;5728;p552">
              <a:extLst>
                <a:ext uri="{FF2B5EF4-FFF2-40B4-BE49-F238E27FC236}">
                  <a16:creationId xmlns:a16="http://schemas.microsoft.com/office/drawing/2014/main" id="{53334C91-68C3-46DB-456E-DBEDEE9C4FC1}"/>
                </a:ext>
              </a:extLst>
            </p:cNvPr>
            <p:cNvSpPr/>
            <p:nvPr/>
          </p:nvSpPr>
          <p:spPr>
            <a:xfrm rot="5400000">
              <a:off x="1701300" y="3440650"/>
              <a:ext cx="1920600" cy="2343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" name="Google Shape;5729;p552">
              <a:extLst>
                <a:ext uri="{FF2B5EF4-FFF2-40B4-BE49-F238E27FC236}">
                  <a16:creationId xmlns:a16="http://schemas.microsoft.com/office/drawing/2014/main" id="{216121F2-5C71-3D12-1363-ABDA3311BE8D}"/>
                </a:ext>
              </a:extLst>
            </p:cNvPr>
            <p:cNvSpPr/>
            <p:nvPr/>
          </p:nvSpPr>
          <p:spPr>
            <a:xfrm>
              <a:off x="2544450" y="2597500"/>
              <a:ext cx="581700" cy="2343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7" name="Google Shape;5730;p552">
            <a:extLst>
              <a:ext uri="{FF2B5EF4-FFF2-40B4-BE49-F238E27FC236}">
                <a16:creationId xmlns:a16="http://schemas.microsoft.com/office/drawing/2014/main" id="{8AD32674-93C5-B63D-8020-901C7A782490}"/>
              </a:ext>
            </a:extLst>
          </p:cNvPr>
          <p:cNvGrpSpPr/>
          <p:nvPr/>
        </p:nvGrpSpPr>
        <p:grpSpPr>
          <a:xfrm>
            <a:off x="5164498" y="1351730"/>
            <a:ext cx="1858812" cy="1920600"/>
            <a:chOff x="2544438" y="2597500"/>
            <a:chExt cx="1858812" cy="1920600"/>
          </a:xfrm>
          <a:solidFill>
            <a:srgbClr val="FFC000">
              <a:lumMod val="60000"/>
              <a:lumOff val="40000"/>
            </a:srgbClr>
          </a:solidFill>
        </p:grpSpPr>
        <p:sp>
          <p:nvSpPr>
            <p:cNvPr id="18" name="Google Shape;5731;p552">
              <a:extLst>
                <a:ext uri="{FF2B5EF4-FFF2-40B4-BE49-F238E27FC236}">
                  <a16:creationId xmlns:a16="http://schemas.microsoft.com/office/drawing/2014/main" id="{0D8FC170-B2CD-988D-BAC1-DE28824EB259}"/>
                </a:ext>
              </a:extLst>
            </p:cNvPr>
            <p:cNvSpPr/>
            <p:nvPr/>
          </p:nvSpPr>
          <p:spPr>
            <a:xfrm>
              <a:off x="2544438" y="4283775"/>
              <a:ext cx="1858800" cy="2343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9" name="Google Shape;5732;p552">
              <a:extLst>
                <a:ext uri="{FF2B5EF4-FFF2-40B4-BE49-F238E27FC236}">
                  <a16:creationId xmlns:a16="http://schemas.microsoft.com/office/drawing/2014/main" id="{54C6BF16-A93B-AD7F-7734-5FC01BD0252D}"/>
                </a:ext>
              </a:extLst>
            </p:cNvPr>
            <p:cNvSpPr/>
            <p:nvPr/>
          </p:nvSpPr>
          <p:spPr>
            <a:xfrm rot="5400000">
              <a:off x="3762450" y="3877275"/>
              <a:ext cx="1047300" cy="2343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0" name="Google Shape;5733;p552">
              <a:extLst>
                <a:ext uri="{FF2B5EF4-FFF2-40B4-BE49-F238E27FC236}">
                  <a16:creationId xmlns:a16="http://schemas.microsoft.com/office/drawing/2014/main" id="{9F40657F-AD0C-10A5-A691-55A7AF376D9A}"/>
                </a:ext>
              </a:extLst>
            </p:cNvPr>
            <p:cNvSpPr/>
            <p:nvPr/>
          </p:nvSpPr>
          <p:spPr>
            <a:xfrm rot="5400000">
              <a:off x="1701300" y="3440650"/>
              <a:ext cx="1920600" cy="2343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1" name="Google Shape;5734;p552">
              <a:extLst>
                <a:ext uri="{FF2B5EF4-FFF2-40B4-BE49-F238E27FC236}">
                  <a16:creationId xmlns:a16="http://schemas.microsoft.com/office/drawing/2014/main" id="{DAD8FCE7-0C65-3810-676C-AD71A93E9F85}"/>
                </a:ext>
              </a:extLst>
            </p:cNvPr>
            <p:cNvSpPr/>
            <p:nvPr/>
          </p:nvSpPr>
          <p:spPr>
            <a:xfrm>
              <a:off x="2544450" y="2597500"/>
              <a:ext cx="581700" cy="2343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2" name="Google Shape;5735;p552">
            <a:extLst>
              <a:ext uri="{FF2B5EF4-FFF2-40B4-BE49-F238E27FC236}">
                <a16:creationId xmlns:a16="http://schemas.microsoft.com/office/drawing/2014/main" id="{9B8D98DC-E0AF-D78C-26F8-25A7ED92FCD1}"/>
              </a:ext>
            </a:extLst>
          </p:cNvPr>
          <p:cNvGrpSpPr/>
          <p:nvPr/>
        </p:nvGrpSpPr>
        <p:grpSpPr>
          <a:xfrm>
            <a:off x="7360211" y="1351730"/>
            <a:ext cx="1858812" cy="1920600"/>
            <a:chOff x="2544438" y="2597500"/>
            <a:chExt cx="1858812" cy="192060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3" name="Google Shape;5736;p552">
              <a:extLst>
                <a:ext uri="{FF2B5EF4-FFF2-40B4-BE49-F238E27FC236}">
                  <a16:creationId xmlns:a16="http://schemas.microsoft.com/office/drawing/2014/main" id="{4022AFAD-EB40-630F-7D37-C00AA79F1963}"/>
                </a:ext>
              </a:extLst>
            </p:cNvPr>
            <p:cNvSpPr/>
            <p:nvPr/>
          </p:nvSpPr>
          <p:spPr>
            <a:xfrm>
              <a:off x="2544438" y="4283775"/>
              <a:ext cx="1858800" cy="2343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4" name="Google Shape;5737;p552">
              <a:extLst>
                <a:ext uri="{FF2B5EF4-FFF2-40B4-BE49-F238E27FC236}">
                  <a16:creationId xmlns:a16="http://schemas.microsoft.com/office/drawing/2014/main" id="{F6C0894F-2166-6852-3527-6A9A56D1E200}"/>
                </a:ext>
              </a:extLst>
            </p:cNvPr>
            <p:cNvSpPr/>
            <p:nvPr/>
          </p:nvSpPr>
          <p:spPr>
            <a:xfrm rot="5400000">
              <a:off x="3762450" y="3877275"/>
              <a:ext cx="1047300" cy="2343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5" name="Google Shape;5738;p552">
              <a:extLst>
                <a:ext uri="{FF2B5EF4-FFF2-40B4-BE49-F238E27FC236}">
                  <a16:creationId xmlns:a16="http://schemas.microsoft.com/office/drawing/2014/main" id="{9C1DB797-F87C-9939-35CD-F04049508FA7}"/>
                </a:ext>
              </a:extLst>
            </p:cNvPr>
            <p:cNvSpPr/>
            <p:nvPr/>
          </p:nvSpPr>
          <p:spPr>
            <a:xfrm rot="5400000">
              <a:off x="1701300" y="3440650"/>
              <a:ext cx="1920600" cy="2343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6" name="Google Shape;5739;p552">
              <a:extLst>
                <a:ext uri="{FF2B5EF4-FFF2-40B4-BE49-F238E27FC236}">
                  <a16:creationId xmlns:a16="http://schemas.microsoft.com/office/drawing/2014/main" id="{E7BBBDA0-55A2-FDF7-EF59-29AD489C8270}"/>
                </a:ext>
              </a:extLst>
            </p:cNvPr>
            <p:cNvSpPr/>
            <p:nvPr/>
          </p:nvSpPr>
          <p:spPr>
            <a:xfrm>
              <a:off x="2544450" y="2597500"/>
              <a:ext cx="581700" cy="2343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7" name="Google Shape;5740;p552">
            <a:extLst>
              <a:ext uri="{FF2B5EF4-FFF2-40B4-BE49-F238E27FC236}">
                <a16:creationId xmlns:a16="http://schemas.microsoft.com/office/drawing/2014/main" id="{62B8D8E5-4497-B417-5DDD-272E9B35A09A}"/>
              </a:ext>
            </a:extLst>
          </p:cNvPr>
          <p:cNvSpPr txBox="1"/>
          <p:nvPr/>
        </p:nvSpPr>
        <p:spPr>
          <a:xfrm>
            <a:off x="9792868" y="1572683"/>
            <a:ext cx="1404255" cy="14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System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eierskap og leverandør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Inter" panose="02000503000000020004" pitchFamily="2" charset="0"/>
                <a:cs typeface="Arial"/>
                <a:sym typeface="Arial"/>
              </a:rPr>
              <a:t>fleksibilitet </a:t>
            </a:r>
          </a:p>
        </p:txBody>
      </p:sp>
      <p:grpSp>
        <p:nvGrpSpPr>
          <p:cNvPr id="28" name="Google Shape;5741;p552">
            <a:extLst>
              <a:ext uri="{FF2B5EF4-FFF2-40B4-BE49-F238E27FC236}">
                <a16:creationId xmlns:a16="http://schemas.microsoft.com/office/drawing/2014/main" id="{049BA8F3-112F-4ED0-911D-F8811B6DE6EF}"/>
              </a:ext>
            </a:extLst>
          </p:cNvPr>
          <p:cNvGrpSpPr/>
          <p:nvPr/>
        </p:nvGrpSpPr>
        <p:grpSpPr>
          <a:xfrm>
            <a:off x="9557131" y="1351730"/>
            <a:ext cx="1858812" cy="1920600"/>
            <a:chOff x="2544438" y="2597500"/>
            <a:chExt cx="1858812" cy="1920600"/>
          </a:xfrm>
          <a:solidFill>
            <a:srgbClr val="4472C4"/>
          </a:solidFill>
        </p:grpSpPr>
        <p:sp>
          <p:nvSpPr>
            <p:cNvPr id="29" name="Google Shape;5742;p552">
              <a:extLst>
                <a:ext uri="{FF2B5EF4-FFF2-40B4-BE49-F238E27FC236}">
                  <a16:creationId xmlns:a16="http://schemas.microsoft.com/office/drawing/2014/main" id="{D97848AB-E2BD-343B-FB0E-1BA5C726B645}"/>
                </a:ext>
              </a:extLst>
            </p:cNvPr>
            <p:cNvSpPr/>
            <p:nvPr/>
          </p:nvSpPr>
          <p:spPr>
            <a:xfrm>
              <a:off x="2544438" y="4283775"/>
              <a:ext cx="1858800" cy="2343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0" name="Google Shape;5743;p552">
              <a:extLst>
                <a:ext uri="{FF2B5EF4-FFF2-40B4-BE49-F238E27FC236}">
                  <a16:creationId xmlns:a16="http://schemas.microsoft.com/office/drawing/2014/main" id="{F7366FF9-445B-41CD-6693-888562818C33}"/>
                </a:ext>
              </a:extLst>
            </p:cNvPr>
            <p:cNvSpPr/>
            <p:nvPr/>
          </p:nvSpPr>
          <p:spPr>
            <a:xfrm rot="5400000">
              <a:off x="3762450" y="3877275"/>
              <a:ext cx="1047300" cy="2343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1" name="Google Shape;5744;p552">
              <a:extLst>
                <a:ext uri="{FF2B5EF4-FFF2-40B4-BE49-F238E27FC236}">
                  <a16:creationId xmlns:a16="http://schemas.microsoft.com/office/drawing/2014/main" id="{281EFC5E-40E7-4CF2-A3B0-DF5C3B6C1C24}"/>
                </a:ext>
              </a:extLst>
            </p:cNvPr>
            <p:cNvSpPr/>
            <p:nvPr/>
          </p:nvSpPr>
          <p:spPr>
            <a:xfrm rot="5400000">
              <a:off x="1701300" y="3440650"/>
              <a:ext cx="1920600" cy="2343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2" name="Google Shape;5745;p552">
              <a:extLst>
                <a:ext uri="{FF2B5EF4-FFF2-40B4-BE49-F238E27FC236}">
                  <a16:creationId xmlns:a16="http://schemas.microsoft.com/office/drawing/2014/main" id="{4703DB9A-A225-99D4-B77D-53FA461C9CDA}"/>
                </a:ext>
              </a:extLst>
            </p:cNvPr>
            <p:cNvSpPr/>
            <p:nvPr/>
          </p:nvSpPr>
          <p:spPr>
            <a:xfrm>
              <a:off x="2544450" y="2597500"/>
              <a:ext cx="581700" cy="2343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3" name="Google Shape;5746;p552">
            <a:extLst>
              <a:ext uri="{FF2B5EF4-FFF2-40B4-BE49-F238E27FC236}">
                <a16:creationId xmlns:a16="http://schemas.microsoft.com/office/drawing/2014/main" id="{A954ED69-3EEB-D61B-4C84-E2350A964463}"/>
              </a:ext>
            </a:extLst>
          </p:cNvPr>
          <p:cNvSpPr/>
          <p:nvPr/>
        </p:nvSpPr>
        <p:spPr>
          <a:xfrm>
            <a:off x="8749636" y="1351708"/>
            <a:ext cx="471488" cy="471488"/>
          </a:xfrm>
          <a:custGeom>
            <a:avLst/>
            <a:gdLst/>
            <a:ahLst/>
            <a:cxnLst/>
            <a:rect l="l" t="t" r="r" b="b"/>
            <a:pathLst>
              <a:path w="396" h="396" extrusionOk="0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nb-NO" sz="1350" b="0" i="0" u="none" strike="noStrike" kern="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Inter"/>
              <a:cs typeface="Arial"/>
              <a:sym typeface="Arial"/>
            </a:endParaRPr>
          </a:p>
        </p:txBody>
      </p:sp>
      <p:sp>
        <p:nvSpPr>
          <p:cNvPr id="34" name="Google Shape;5747;p552">
            <a:extLst>
              <a:ext uri="{FF2B5EF4-FFF2-40B4-BE49-F238E27FC236}">
                <a16:creationId xmlns:a16="http://schemas.microsoft.com/office/drawing/2014/main" id="{19478EB2-0901-4F99-8695-E7CE13F6D157}"/>
              </a:ext>
            </a:extLst>
          </p:cNvPr>
          <p:cNvSpPr/>
          <p:nvPr/>
        </p:nvSpPr>
        <p:spPr>
          <a:xfrm>
            <a:off x="2161608" y="1351702"/>
            <a:ext cx="471488" cy="471488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209" y="249"/>
                </a:moveTo>
                <a:cubicBezTo>
                  <a:pt x="207" y="242"/>
                  <a:pt x="204" y="236"/>
                  <a:pt x="199" y="231"/>
                </a:cubicBezTo>
                <a:cubicBezTo>
                  <a:pt x="199" y="231"/>
                  <a:pt x="199" y="231"/>
                  <a:pt x="199" y="231"/>
                </a:cubicBezTo>
                <a:cubicBezTo>
                  <a:pt x="186" y="218"/>
                  <a:pt x="164" y="218"/>
                  <a:pt x="151" y="231"/>
                </a:cubicBezTo>
                <a:cubicBezTo>
                  <a:pt x="146" y="236"/>
                  <a:pt x="143" y="242"/>
                  <a:pt x="141" y="249"/>
                </a:cubicBezTo>
                <a:cubicBezTo>
                  <a:pt x="15" y="249"/>
                  <a:pt x="15" y="249"/>
                  <a:pt x="15" y="249"/>
                </a:cubicBezTo>
                <a:cubicBezTo>
                  <a:pt x="15" y="181"/>
                  <a:pt x="15" y="181"/>
                  <a:pt x="15" y="181"/>
                </a:cubicBezTo>
                <a:cubicBezTo>
                  <a:pt x="218" y="181"/>
                  <a:pt x="218" y="181"/>
                  <a:pt x="218" y="181"/>
                </a:cubicBezTo>
                <a:cubicBezTo>
                  <a:pt x="219" y="187"/>
                  <a:pt x="222" y="193"/>
                  <a:pt x="227" y="198"/>
                </a:cubicBezTo>
                <a:cubicBezTo>
                  <a:pt x="233" y="204"/>
                  <a:pt x="242" y="208"/>
                  <a:pt x="251" y="208"/>
                </a:cubicBezTo>
                <a:cubicBezTo>
                  <a:pt x="258" y="208"/>
                  <a:pt x="264" y="206"/>
                  <a:pt x="270" y="202"/>
                </a:cubicBezTo>
                <a:cubicBezTo>
                  <a:pt x="289" y="221"/>
                  <a:pt x="289" y="221"/>
                  <a:pt x="289" y="221"/>
                </a:cubicBezTo>
                <a:cubicBezTo>
                  <a:pt x="299" y="211"/>
                  <a:pt x="299" y="211"/>
                  <a:pt x="299" y="211"/>
                </a:cubicBezTo>
                <a:cubicBezTo>
                  <a:pt x="280" y="192"/>
                  <a:pt x="280" y="192"/>
                  <a:pt x="280" y="192"/>
                </a:cubicBezTo>
                <a:cubicBezTo>
                  <a:pt x="282" y="188"/>
                  <a:pt x="284" y="184"/>
                  <a:pt x="285" y="181"/>
                </a:cubicBezTo>
                <a:cubicBezTo>
                  <a:pt x="332" y="181"/>
                  <a:pt x="332" y="181"/>
                  <a:pt x="332" y="181"/>
                </a:cubicBezTo>
                <a:cubicBezTo>
                  <a:pt x="332" y="249"/>
                  <a:pt x="332" y="249"/>
                  <a:pt x="332" y="249"/>
                </a:cubicBezTo>
                <a:lnTo>
                  <a:pt x="209" y="249"/>
                </a:lnTo>
                <a:close/>
                <a:moveTo>
                  <a:pt x="175" y="275"/>
                </a:moveTo>
                <a:cubicBezTo>
                  <a:pt x="170" y="275"/>
                  <a:pt x="165" y="273"/>
                  <a:pt x="161" y="269"/>
                </a:cubicBezTo>
                <a:cubicBezTo>
                  <a:pt x="158" y="266"/>
                  <a:pt x="156" y="261"/>
                  <a:pt x="156" y="256"/>
                </a:cubicBezTo>
                <a:cubicBezTo>
                  <a:pt x="156" y="250"/>
                  <a:pt x="158" y="246"/>
                  <a:pt x="161" y="242"/>
                </a:cubicBezTo>
                <a:cubicBezTo>
                  <a:pt x="165" y="238"/>
                  <a:pt x="170" y="236"/>
                  <a:pt x="175" y="236"/>
                </a:cubicBezTo>
                <a:cubicBezTo>
                  <a:pt x="180" y="236"/>
                  <a:pt x="185" y="238"/>
                  <a:pt x="189" y="242"/>
                </a:cubicBezTo>
                <a:cubicBezTo>
                  <a:pt x="193" y="246"/>
                  <a:pt x="195" y="250"/>
                  <a:pt x="195" y="256"/>
                </a:cubicBezTo>
                <a:cubicBezTo>
                  <a:pt x="195" y="261"/>
                  <a:pt x="193" y="266"/>
                  <a:pt x="189" y="269"/>
                </a:cubicBezTo>
                <a:cubicBezTo>
                  <a:pt x="185" y="273"/>
                  <a:pt x="180" y="275"/>
                  <a:pt x="175" y="275"/>
                </a:cubicBezTo>
                <a:close/>
                <a:moveTo>
                  <a:pt x="265" y="187"/>
                </a:moveTo>
                <a:cubicBezTo>
                  <a:pt x="261" y="191"/>
                  <a:pt x="256" y="193"/>
                  <a:pt x="251" y="193"/>
                </a:cubicBezTo>
                <a:cubicBezTo>
                  <a:pt x="246" y="193"/>
                  <a:pt x="241" y="191"/>
                  <a:pt x="237" y="187"/>
                </a:cubicBezTo>
                <a:cubicBezTo>
                  <a:pt x="234" y="183"/>
                  <a:pt x="232" y="179"/>
                  <a:pt x="232" y="173"/>
                </a:cubicBezTo>
                <a:cubicBezTo>
                  <a:pt x="232" y="168"/>
                  <a:pt x="234" y="163"/>
                  <a:pt x="237" y="160"/>
                </a:cubicBezTo>
                <a:cubicBezTo>
                  <a:pt x="241" y="156"/>
                  <a:pt x="246" y="154"/>
                  <a:pt x="251" y="154"/>
                </a:cubicBezTo>
                <a:cubicBezTo>
                  <a:pt x="256" y="154"/>
                  <a:pt x="261" y="156"/>
                  <a:pt x="265" y="160"/>
                </a:cubicBezTo>
                <a:cubicBezTo>
                  <a:pt x="273" y="167"/>
                  <a:pt x="273" y="180"/>
                  <a:pt x="265" y="187"/>
                </a:cubicBezTo>
                <a:close/>
                <a:moveTo>
                  <a:pt x="285" y="166"/>
                </a:moveTo>
                <a:cubicBezTo>
                  <a:pt x="283" y="160"/>
                  <a:pt x="280" y="154"/>
                  <a:pt x="275" y="149"/>
                </a:cubicBezTo>
                <a:cubicBezTo>
                  <a:pt x="275" y="149"/>
                  <a:pt x="275" y="149"/>
                  <a:pt x="275" y="149"/>
                </a:cubicBezTo>
                <a:cubicBezTo>
                  <a:pt x="262" y="136"/>
                  <a:pt x="240" y="136"/>
                  <a:pt x="227" y="149"/>
                </a:cubicBezTo>
                <a:cubicBezTo>
                  <a:pt x="222" y="154"/>
                  <a:pt x="219" y="160"/>
                  <a:pt x="218" y="166"/>
                </a:cubicBezTo>
                <a:cubicBezTo>
                  <a:pt x="15" y="166"/>
                  <a:pt x="15" y="166"/>
                  <a:pt x="15" y="166"/>
                </a:cubicBezTo>
                <a:cubicBezTo>
                  <a:pt x="15" y="98"/>
                  <a:pt x="15" y="98"/>
                  <a:pt x="15" y="98"/>
                </a:cubicBezTo>
                <a:cubicBezTo>
                  <a:pt x="53" y="98"/>
                  <a:pt x="53" y="98"/>
                  <a:pt x="53" y="98"/>
                </a:cubicBezTo>
                <a:cubicBezTo>
                  <a:pt x="54" y="104"/>
                  <a:pt x="57" y="110"/>
                  <a:pt x="62" y="115"/>
                </a:cubicBezTo>
                <a:cubicBezTo>
                  <a:pt x="69" y="121"/>
                  <a:pt x="77" y="125"/>
                  <a:pt x="86" y="125"/>
                </a:cubicBezTo>
                <a:cubicBezTo>
                  <a:pt x="93" y="125"/>
                  <a:pt x="99" y="123"/>
                  <a:pt x="105" y="119"/>
                </a:cubicBezTo>
                <a:cubicBezTo>
                  <a:pt x="124" y="138"/>
                  <a:pt x="124" y="138"/>
                  <a:pt x="124" y="138"/>
                </a:cubicBezTo>
                <a:cubicBezTo>
                  <a:pt x="134" y="128"/>
                  <a:pt x="134" y="128"/>
                  <a:pt x="134" y="128"/>
                </a:cubicBezTo>
                <a:cubicBezTo>
                  <a:pt x="115" y="109"/>
                  <a:pt x="115" y="109"/>
                  <a:pt x="115" y="109"/>
                </a:cubicBezTo>
                <a:cubicBezTo>
                  <a:pt x="117" y="105"/>
                  <a:pt x="119" y="102"/>
                  <a:pt x="120" y="98"/>
                </a:cubicBezTo>
                <a:cubicBezTo>
                  <a:pt x="332" y="98"/>
                  <a:pt x="332" y="98"/>
                  <a:pt x="332" y="98"/>
                </a:cubicBezTo>
                <a:cubicBezTo>
                  <a:pt x="332" y="166"/>
                  <a:pt x="332" y="166"/>
                  <a:pt x="332" y="166"/>
                </a:cubicBezTo>
                <a:lnTo>
                  <a:pt x="285" y="166"/>
                </a:lnTo>
                <a:close/>
                <a:moveTo>
                  <a:pt x="100" y="104"/>
                </a:moveTo>
                <a:cubicBezTo>
                  <a:pt x="92" y="112"/>
                  <a:pt x="80" y="112"/>
                  <a:pt x="72" y="104"/>
                </a:cubicBezTo>
                <a:cubicBezTo>
                  <a:pt x="69" y="101"/>
                  <a:pt x="67" y="96"/>
                  <a:pt x="67" y="90"/>
                </a:cubicBezTo>
                <a:cubicBezTo>
                  <a:pt x="67" y="85"/>
                  <a:pt x="69" y="80"/>
                  <a:pt x="72" y="77"/>
                </a:cubicBezTo>
                <a:cubicBezTo>
                  <a:pt x="76" y="73"/>
                  <a:pt x="81" y="71"/>
                  <a:pt x="86" y="71"/>
                </a:cubicBezTo>
                <a:cubicBezTo>
                  <a:pt x="91" y="71"/>
                  <a:pt x="96" y="73"/>
                  <a:pt x="100" y="77"/>
                </a:cubicBezTo>
                <a:cubicBezTo>
                  <a:pt x="104" y="80"/>
                  <a:pt x="106" y="85"/>
                  <a:pt x="106" y="90"/>
                </a:cubicBezTo>
                <a:cubicBezTo>
                  <a:pt x="106" y="96"/>
                  <a:pt x="104" y="101"/>
                  <a:pt x="100" y="104"/>
                </a:cubicBezTo>
                <a:close/>
                <a:moveTo>
                  <a:pt x="332" y="15"/>
                </a:moveTo>
                <a:cubicBezTo>
                  <a:pt x="332" y="83"/>
                  <a:pt x="332" y="83"/>
                  <a:pt x="332" y="83"/>
                </a:cubicBezTo>
                <a:cubicBezTo>
                  <a:pt x="120" y="83"/>
                  <a:pt x="120" y="83"/>
                  <a:pt x="120" y="83"/>
                </a:cubicBezTo>
                <a:cubicBezTo>
                  <a:pt x="118" y="77"/>
                  <a:pt x="115" y="71"/>
                  <a:pt x="110" y="66"/>
                </a:cubicBezTo>
                <a:cubicBezTo>
                  <a:pt x="97" y="53"/>
                  <a:pt x="75" y="53"/>
                  <a:pt x="62" y="66"/>
                </a:cubicBezTo>
                <a:cubicBezTo>
                  <a:pt x="57" y="71"/>
                  <a:pt x="54" y="77"/>
                  <a:pt x="53" y="83"/>
                </a:cubicBezTo>
                <a:cubicBezTo>
                  <a:pt x="15" y="83"/>
                  <a:pt x="15" y="83"/>
                  <a:pt x="15" y="83"/>
                </a:cubicBezTo>
                <a:cubicBezTo>
                  <a:pt x="15" y="15"/>
                  <a:pt x="15" y="15"/>
                  <a:pt x="15" y="15"/>
                </a:cubicBezTo>
                <a:lnTo>
                  <a:pt x="332" y="15"/>
                </a:lnTo>
                <a:close/>
                <a:moveTo>
                  <a:pt x="15" y="332"/>
                </a:moveTo>
                <a:cubicBezTo>
                  <a:pt x="15" y="263"/>
                  <a:pt x="15" y="263"/>
                  <a:pt x="15" y="263"/>
                </a:cubicBezTo>
                <a:cubicBezTo>
                  <a:pt x="142" y="263"/>
                  <a:pt x="142" y="263"/>
                  <a:pt x="142" y="263"/>
                </a:cubicBezTo>
                <a:cubicBezTo>
                  <a:pt x="143" y="270"/>
                  <a:pt x="146" y="275"/>
                  <a:pt x="151" y="280"/>
                </a:cubicBezTo>
                <a:cubicBezTo>
                  <a:pt x="157" y="286"/>
                  <a:pt x="166" y="290"/>
                  <a:pt x="175" y="290"/>
                </a:cubicBezTo>
                <a:cubicBezTo>
                  <a:pt x="182" y="290"/>
                  <a:pt x="188" y="288"/>
                  <a:pt x="193" y="285"/>
                </a:cubicBezTo>
                <a:cubicBezTo>
                  <a:pt x="213" y="304"/>
                  <a:pt x="213" y="304"/>
                  <a:pt x="213" y="304"/>
                </a:cubicBezTo>
                <a:cubicBezTo>
                  <a:pt x="223" y="293"/>
                  <a:pt x="223" y="293"/>
                  <a:pt x="223" y="293"/>
                </a:cubicBezTo>
                <a:cubicBezTo>
                  <a:pt x="204" y="274"/>
                  <a:pt x="204" y="274"/>
                  <a:pt x="204" y="274"/>
                </a:cubicBezTo>
                <a:cubicBezTo>
                  <a:pt x="206" y="271"/>
                  <a:pt x="208" y="267"/>
                  <a:pt x="208" y="263"/>
                </a:cubicBezTo>
                <a:cubicBezTo>
                  <a:pt x="332" y="263"/>
                  <a:pt x="332" y="263"/>
                  <a:pt x="332" y="263"/>
                </a:cubicBezTo>
                <a:cubicBezTo>
                  <a:pt x="332" y="332"/>
                  <a:pt x="332" y="332"/>
                  <a:pt x="332" y="332"/>
                </a:cubicBezTo>
                <a:lnTo>
                  <a:pt x="15" y="3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nb-NO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cs typeface="Arial"/>
              <a:sym typeface="Arial"/>
            </a:endParaRPr>
          </a:p>
        </p:txBody>
      </p:sp>
      <p:sp>
        <p:nvSpPr>
          <p:cNvPr id="35" name="Google Shape;5748;p552">
            <a:extLst>
              <a:ext uri="{FF2B5EF4-FFF2-40B4-BE49-F238E27FC236}">
                <a16:creationId xmlns:a16="http://schemas.microsoft.com/office/drawing/2014/main" id="{99DB8251-01F9-CA19-BB22-F390BA071513}"/>
              </a:ext>
            </a:extLst>
          </p:cNvPr>
          <p:cNvSpPr/>
          <p:nvPr/>
        </p:nvSpPr>
        <p:spPr>
          <a:xfrm>
            <a:off x="4375555" y="1358852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527" y="320"/>
                </a:moveTo>
                <a:lnTo>
                  <a:pt x="588" y="259"/>
                </a:lnTo>
                <a:lnTo>
                  <a:pt x="631" y="214"/>
                </a:lnTo>
                <a:lnTo>
                  <a:pt x="506" y="88"/>
                </a:lnTo>
                <a:lnTo>
                  <a:pt x="462" y="131"/>
                </a:lnTo>
                <a:lnTo>
                  <a:pt x="400" y="194"/>
                </a:lnTo>
                <a:lnTo>
                  <a:pt x="87" y="507"/>
                </a:lnTo>
                <a:lnTo>
                  <a:pt x="31" y="691"/>
                </a:lnTo>
                <a:lnTo>
                  <a:pt x="213" y="635"/>
                </a:lnTo>
                <a:lnTo>
                  <a:pt x="527" y="320"/>
                </a:lnTo>
                <a:lnTo>
                  <a:pt x="527" y="320"/>
                </a:lnTo>
                <a:close/>
                <a:moveTo>
                  <a:pt x="483" y="153"/>
                </a:moveTo>
                <a:lnTo>
                  <a:pt x="506" y="130"/>
                </a:lnTo>
                <a:lnTo>
                  <a:pt x="589" y="214"/>
                </a:lnTo>
                <a:lnTo>
                  <a:pt x="567" y="237"/>
                </a:lnTo>
                <a:lnTo>
                  <a:pt x="540" y="264"/>
                </a:lnTo>
                <a:lnTo>
                  <a:pt x="456" y="179"/>
                </a:lnTo>
                <a:lnTo>
                  <a:pt x="483" y="153"/>
                </a:lnTo>
                <a:close/>
                <a:moveTo>
                  <a:pt x="400" y="235"/>
                </a:moveTo>
                <a:lnTo>
                  <a:pt x="431" y="267"/>
                </a:lnTo>
                <a:lnTo>
                  <a:pt x="175" y="525"/>
                </a:lnTo>
                <a:lnTo>
                  <a:pt x="130" y="525"/>
                </a:lnTo>
                <a:lnTo>
                  <a:pt x="121" y="516"/>
                </a:lnTo>
                <a:lnTo>
                  <a:pt x="400" y="235"/>
                </a:lnTo>
                <a:close/>
                <a:moveTo>
                  <a:pt x="76" y="646"/>
                </a:moveTo>
                <a:lnTo>
                  <a:pt x="82" y="625"/>
                </a:lnTo>
                <a:lnTo>
                  <a:pt x="97" y="639"/>
                </a:lnTo>
                <a:lnTo>
                  <a:pt x="76" y="646"/>
                </a:lnTo>
                <a:close/>
                <a:moveTo>
                  <a:pt x="128" y="629"/>
                </a:moveTo>
                <a:lnTo>
                  <a:pt x="92" y="592"/>
                </a:lnTo>
                <a:lnTo>
                  <a:pt x="106" y="544"/>
                </a:lnTo>
                <a:lnTo>
                  <a:pt x="117" y="554"/>
                </a:lnTo>
                <a:lnTo>
                  <a:pt x="166" y="554"/>
                </a:lnTo>
                <a:lnTo>
                  <a:pt x="166" y="604"/>
                </a:lnTo>
                <a:lnTo>
                  <a:pt x="177" y="614"/>
                </a:lnTo>
                <a:lnTo>
                  <a:pt x="128" y="629"/>
                </a:lnTo>
                <a:close/>
                <a:moveTo>
                  <a:pt x="205" y="601"/>
                </a:moveTo>
                <a:lnTo>
                  <a:pt x="197" y="592"/>
                </a:lnTo>
                <a:lnTo>
                  <a:pt x="197" y="545"/>
                </a:lnTo>
                <a:lnTo>
                  <a:pt x="452" y="288"/>
                </a:lnTo>
                <a:lnTo>
                  <a:pt x="484" y="320"/>
                </a:lnTo>
                <a:lnTo>
                  <a:pt x="205" y="601"/>
                </a:lnTo>
                <a:close/>
                <a:moveTo>
                  <a:pt x="505" y="299"/>
                </a:moveTo>
                <a:lnTo>
                  <a:pt x="422" y="214"/>
                </a:lnTo>
                <a:lnTo>
                  <a:pt x="435" y="201"/>
                </a:lnTo>
                <a:lnTo>
                  <a:pt x="519" y="284"/>
                </a:lnTo>
                <a:lnTo>
                  <a:pt x="505" y="299"/>
                </a:lnTo>
                <a:close/>
                <a:moveTo>
                  <a:pt x="704" y="706"/>
                </a:moveTo>
                <a:lnTo>
                  <a:pt x="243" y="706"/>
                </a:lnTo>
                <a:lnTo>
                  <a:pt x="243" y="675"/>
                </a:lnTo>
                <a:lnTo>
                  <a:pt x="673" y="675"/>
                </a:lnTo>
                <a:lnTo>
                  <a:pt x="673" y="31"/>
                </a:lnTo>
                <a:lnTo>
                  <a:pt x="31" y="31"/>
                </a:lnTo>
                <a:lnTo>
                  <a:pt x="31" y="691"/>
                </a:lnTo>
                <a:lnTo>
                  <a:pt x="0" y="691"/>
                </a:lnTo>
                <a:lnTo>
                  <a:pt x="0" y="0"/>
                </a:lnTo>
                <a:lnTo>
                  <a:pt x="704" y="0"/>
                </a:lnTo>
                <a:lnTo>
                  <a:pt x="704" y="70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Inter"/>
              <a:cs typeface="Arial"/>
              <a:sym typeface="Arial"/>
            </a:endParaRPr>
          </a:p>
        </p:txBody>
      </p:sp>
      <p:grpSp>
        <p:nvGrpSpPr>
          <p:cNvPr id="36" name="Google Shape;5749;p552">
            <a:extLst>
              <a:ext uri="{FF2B5EF4-FFF2-40B4-BE49-F238E27FC236}">
                <a16:creationId xmlns:a16="http://schemas.microsoft.com/office/drawing/2014/main" id="{BC0FEE12-8E1D-EE96-C940-A202BCF2427E}"/>
              </a:ext>
            </a:extLst>
          </p:cNvPr>
          <p:cNvGrpSpPr/>
          <p:nvPr/>
        </p:nvGrpSpPr>
        <p:grpSpPr>
          <a:xfrm>
            <a:off x="6561953" y="1358864"/>
            <a:ext cx="457200" cy="457200"/>
            <a:chOff x="10412004" y="3159871"/>
            <a:chExt cx="457200" cy="457200"/>
          </a:xfrm>
        </p:grpSpPr>
        <p:sp>
          <p:nvSpPr>
            <p:cNvPr id="37" name="Google Shape;5750;p552">
              <a:extLst>
                <a:ext uri="{FF2B5EF4-FFF2-40B4-BE49-F238E27FC236}">
                  <a16:creationId xmlns:a16="http://schemas.microsoft.com/office/drawing/2014/main" id="{8944144B-8B5B-2BF8-5FDD-93311186E67A}"/>
                </a:ext>
              </a:extLst>
            </p:cNvPr>
            <p:cNvSpPr/>
            <p:nvPr/>
          </p:nvSpPr>
          <p:spPr>
            <a:xfrm>
              <a:off x="10826595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38" name="Google Shape;5751;p552">
              <a:extLst>
                <a:ext uri="{FF2B5EF4-FFF2-40B4-BE49-F238E27FC236}">
                  <a16:creationId xmlns:a16="http://schemas.microsoft.com/office/drawing/2014/main" id="{86B6602D-43E7-DF6F-F023-8B852FC9EDCB}"/>
                </a:ext>
              </a:extLst>
            </p:cNvPr>
            <p:cNvSpPr/>
            <p:nvPr/>
          </p:nvSpPr>
          <p:spPr>
            <a:xfrm>
              <a:off x="10787543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39" name="Google Shape;5752;p552">
              <a:extLst>
                <a:ext uri="{FF2B5EF4-FFF2-40B4-BE49-F238E27FC236}">
                  <a16:creationId xmlns:a16="http://schemas.microsoft.com/office/drawing/2014/main" id="{E81F5B8B-06C7-983E-0551-F1B60D51BBC3}"/>
                </a:ext>
              </a:extLst>
            </p:cNvPr>
            <p:cNvSpPr/>
            <p:nvPr/>
          </p:nvSpPr>
          <p:spPr>
            <a:xfrm>
              <a:off x="10436070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0" name="Google Shape;5753;p552">
              <a:extLst>
                <a:ext uri="{FF2B5EF4-FFF2-40B4-BE49-F238E27FC236}">
                  <a16:creationId xmlns:a16="http://schemas.microsoft.com/office/drawing/2014/main" id="{FBFD0C40-92BD-CDF2-0DDE-3BD49A19F557}"/>
                </a:ext>
              </a:extLst>
            </p:cNvPr>
            <p:cNvSpPr/>
            <p:nvPr/>
          </p:nvSpPr>
          <p:spPr>
            <a:xfrm>
              <a:off x="10826595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1" name="Google Shape;5754;p552">
              <a:extLst>
                <a:ext uri="{FF2B5EF4-FFF2-40B4-BE49-F238E27FC236}">
                  <a16:creationId xmlns:a16="http://schemas.microsoft.com/office/drawing/2014/main" id="{25A2720D-6CE3-C554-3C95-7B3356CC6004}"/>
                </a:ext>
              </a:extLst>
            </p:cNvPr>
            <p:cNvSpPr/>
            <p:nvPr/>
          </p:nvSpPr>
          <p:spPr>
            <a:xfrm>
              <a:off x="10787543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2" name="Google Shape;5755;p552">
              <a:extLst>
                <a:ext uri="{FF2B5EF4-FFF2-40B4-BE49-F238E27FC236}">
                  <a16:creationId xmlns:a16="http://schemas.microsoft.com/office/drawing/2014/main" id="{C66392A7-1354-F145-7838-1D0378D5AD28}"/>
                </a:ext>
              </a:extLst>
            </p:cNvPr>
            <p:cNvSpPr/>
            <p:nvPr/>
          </p:nvSpPr>
          <p:spPr>
            <a:xfrm>
              <a:off x="10436070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3" name="Google Shape;5756;p552">
              <a:extLst>
                <a:ext uri="{FF2B5EF4-FFF2-40B4-BE49-F238E27FC236}">
                  <a16:creationId xmlns:a16="http://schemas.microsoft.com/office/drawing/2014/main" id="{F678DED8-6925-9D3D-71BB-F1CC5D27FDCA}"/>
                </a:ext>
              </a:extLst>
            </p:cNvPr>
            <p:cNvSpPr/>
            <p:nvPr/>
          </p:nvSpPr>
          <p:spPr>
            <a:xfrm>
              <a:off x="10412004" y="3159871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674" y="437674"/>
                  </a:moveTo>
                  <a:lnTo>
                    <a:pt x="357156" y="437674"/>
                  </a:lnTo>
                  <a:lnTo>
                    <a:pt x="357156" y="398812"/>
                  </a:lnTo>
                  <a:lnTo>
                    <a:pt x="375476" y="417132"/>
                  </a:lnTo>
                  <a:lnTo>
                    <a:pt x="389287" y="403320"/>
                  </a:lnTo>
                  <a:lnTo>
                    <a:pt x="348012" y="362045"/>
                  </a:lnTo>
                  <a:lnTo>
                    <a:pt x="305499" y="404336"/>
                  </a:lnTo>
                  <a:lnTo>
                    <a:pt x="319310" y="418148"/>
                  </a:lnTo>
                  <a:lnTo>
                    <a:pt x="337630" y="399828"/>
                  </a:lnTo>
                  <a:lnTo>
                    <a:pt x="337630" y="437674"/>
                  </a:lnTo>
                  <a:lnTo>
                    <a:pt x="240221" y="437674"/>
                  </a:lnTo>
                  <a:lnTo>
                    <a:pt x="240221" y="173419"/>
                  </a:lnTo>
                  <a:lnTo>
                    <a:pt x="257175" y="190500"/>
                  </a:lnTo>
                  <a:lnTo>
                    <a:pt x="270986" y="176689"/>
                  </a:lnTo>
                  <a:lnTo>
                    <a:pt x="229711" y="135414"/>
                  </a:lnTo>
                  <a:lnTo>
                    <a:pt x="187325" y="177800"/>
                  </a:lnTo>
                  <a:lnTo>
                    <a:pt x="201136" y="191611"/>
                  </a:lnTo>
                  <a:lnTo>
                    <a:pt x="220758" y="171990"/>
                  </a:lnTo>
                  <a:lnTo>
                    <a:pt x="220758" y="437832"/>
                  </a:lnTo>
                  <a:lnTo>
                    <a:pt x="120650" y="437832"/>
                  </a:lnTo>
                  <a:lnTo>
                    <a:pt x="120650" y="293878"/>
                  </a:lnTo>
                  <a:lnTo>
                    <a:pt x="139002" y="312198"/>
                  </a:lnTo>
                  <a:lnTo>
                    <a:pt x="152813" y="298450"/>
                  </a:lnTo>
                  <a:lnTo>
                    <a:pt x="111538" y="257175"/>
                  </a:lnTo>
                  <a:lnTo>
                    <a:pt x="69025" y="299434"/>
                  </a:lnTo>
                  <a:lnTo>
                    <a:pt x="82836" y="313246"/>
                  </a:lnTo>
                  <a:lnTo>
                    <a:pt x="101156" y="294894"/>
                  </a:lnTo>
                  <a:lnTo>
                    <a:pt x="101156" y="437769"/>
                  </a:lnTo>
                  <a:lnTo>
                    <a:pt x="19526" y="437769"/>
                  </a:lnTo>
                  <a:lnTo>
                    <a:pt x="19526" y="128556"/>
                  </a:lnTo>
                  <a:lnTo>
                    <a:pt x="437674" y="128556"/>
                  </a:lnTo>
                  <a:close/>
                  <a:moveTo>
                    <a:pt x="437674" y="109030"/>
                  </a:moveTo>
                  <a:lnTo>
                    <a:pt x="19526" y="109030"/>
                  </a:lnTo>
                  <a:lnTo>
                    <a:pt x="19526" y="19526"/>
                  </a:lnTo>
                  <a:lnTo>
                    <a:pt x="437674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4" name="Google Shape;5757;p552">
              <a:extLst>
                <a:ext uri="{FF2B5EF4-FFF2-40B4-BE49-F238E27FC236}">
                  <a16:creationId xmlns:a16="http://schemas.microsoft.com/office/drawing/2014/main" id="{57087C26-449F-470E-C38E-96DDC8913DDD}"/>
                </a:ext>
              </a:extLst>
            </p:cNvPr>
            <p:cNvSpPr/>
            <p:nvPr/>
          </p:nvSpPr>
          <p:spPr>
            <a:xfrm>
              <a:off x="10748490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5" name="Google Shape;5758;p552">
              <a:extLst>
                <a:ext uri="{FF2B5EF4-FFF2-40B4-BE49-F238E27FC236}">
                  <a16:creationId xmlns:a16="http://schemas.microsoft.com/office/drawing/2014/main" id="{707E3210-9B28-5C8C-10D5-6BBCBA068D60}"/>
                </a:ext>
              </a:extLst>
            </p:cNvPr>
            <p:cNvSpPr/>
            <p:nvPr/>
          </p:nvSpPr>
          <p:spPr>
            <a:xfrm>
              <a:off x="10709438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6" name="Google Shape;5759;p552">
              <a:extLst>
                <a:ext uri="{FF2B5EF4-FFF2-40B4-BE49-F238E27FC236}">
                  <a16:creationId xmlns:a16="http://schemas.microsoft.com/office/drawing/2014/main" id="{8FD6E78E-847D-6654-F53E-5740CB386CBC}"/>
                </a:ext>
              </a:extLst>
            </p:cNvPr>
            <p:cNvSpPr/>
            <p:nvPr/>
          </p:nvSpPr>
          <p:spPr>
            <a:xfrm>
              <a:off x="10670385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7" name="Google Shape;5760;p552">
              <a:extLst>
                <a:ext uri="{FF2B5EF4-FFF2-40B4-BE49-F238E27FC236}">
                  <a16:creationId xmlns:a16="http://schemas.microsoft.com/office/drawing/2014/main" id="{FA8DFC08-5F95-69D4-DD60-7019BF134937}"/>
                </a:ext>
              </a:extLst>
            </p:cNvPr>
            <p:cNvSpPr/>
            <p:nvPr/>
          </p:nvSpPr>
          <p:spPr>
            <a:xfrm>
              <a:off x="10592280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8" name="Google Shape;5761;p552">
              <a:extLst>
                <a:ext uri="{FF2B5EF4-FFF2-40B4-BE49-F238E27FC236}">
                  <a16:creationId xmlns:a16="http://schemas.microsoft.com/office/drawing/2014/main" id="{2C3AE999-86D3-A9AA-6CE8-AD0AD8DA77C4}"/>
                </a:ext>
              </a:extLst>
            </p:cNvPr>
            <p:cNvSpPr/>
            <p:nvPr/>
          </p:nvSpPr>
          <p:spPr>
            <a:xfrm>
              <a:off x="10553228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49" name="Google Shape;5762;p552">
              <a:extLst>
                <a:ext uri="{FF2B5EF4-FFF2-40B4-BE49-F238E27FC236}">
                  <a16:creationId xmlns:a16="http://schemas.microsoft.com/office/drawing/2014/main" id="{4BC45947-AAE7-1F68-7273-B45FC82AF045}"/>
                </a:ext>
              </a:extLst>
            </p:cNvPr>
            <p:cNvSpPr/>
            <p:nvPr/>
          </p:nvSpPr>
          <p:spPr>
            <a:xfrm>
              <a:off x="10514175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50" name="Google Shape;5763;p552">
              <a:extLst>
                <a:ext uri="{FF2B5EF4-FFF2-40B4-BE49-F238E27FC236}">
                  <a16:creationId xmlns:a16="http://schemas.microsoft.com/office/drawing/2014/main" id="{A177B7D7-C6D4-C795-33B0-4440688F3DF8}"/>
                </a:ext>
              </a:extLst>
            </p:cNvPr>
            <p:cNvSpPr/>
            <p:nvPr/>
          </p:nvSpPr>
          <p:spPr>
            <a:xfrm>
              <a:off x="10475123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51" name="Google Shape;5764;p552">
              <a:extLst>
                <a:ext uri="{FF2B5EF4-FFF2-40B4-BE49-F238E27FC236}">
                  <a16:creationId xmlns:a16="http://schemas.microsoft.com/office/drawing/2014/main" id="{E0A41E8B-9805-3BDE-F130-326B8A9C37A7}"/>
                </a:ext>
              </a:extLst>
            </p:cNvPr>
            <p:cNvSpPr/>
            <p:nvPr/>
          </p:nvSpPr>
          <p:spPr>
            <a:xfrm>
              <a:off x="10748490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52" name="Google Shape;5765;p552">
              <a:extLst>
                <a:ext uri="{FF2B5EF4-FFF2-40B4-BE49-F238E27FC236}">
                  <a16:creationId xmlns:a16="http://schemas.microsoft.com/office/drawing/2014/main" id="{B94DA3AD-B29F-95A7-35D9-873400A20EEB}"/>
                </a:ext>
              </a:extLst>
            </p:cNvPr>
            <p:cNvSpPr/>
            <p:nvPr/>
          </p:nvSpPr>
          <p:spPr>
            <a:xfrm>
              <a:off x="10709438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53" name="Google Shape;5766;p552">
              <a:extLst>
                <a:ext uri="{FF2B5EF4-FFF2-40B4-BE49-F238E27FC236}">
                  <a16:creationId xmlns:a16="http://schemas.microsoft.com/office/drawing/2014/main" id="{041499E3-C899-DB91-38A3-03EC1D37D264}"/>
                </a:ext>
              </a:extLst>
            </p:cNvPr>
            <p:cNvSpPr/>
            <p:nvPr/>
          </p:nvSpPr>
          <p:spPr>
            <a:xfrm>
              <a:off x="10670385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54" name="Google Shape;5767;p552">
              <a:extLst>
                <a:ext uri="{FF2B5EF4-FFF2-40B4-BE49-F238E27FC236}">
                  <a16:creationId xmlns:a16="http://schemas.microsoft.com/office/drawing/2014/main" id="{AB18BA6A-B66E-0403-4F2F-4F3D136E1582}"/>
                </a:ext>
              </a:extLst>
            </p:cNvPr>
            <p:cNvSpPr/>
            <p:nvPr/>
          </p:nvSpPr>
          <p:spPr>
            <a:xfrm>
              <a:off x="10592280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55" name="Google Shape;5768;p552">
              <a:extLst>
                <a:ext uri="{FF2B5EF4-FFF2-40B4-BE49-F238E27FC236}">
                  <a16:creationId xmlns:a16="http://schemas.microsoft.com/office/drawing/2014/main" id="{E4C6A24B-0D6A-9B91-E85D-E141040EC251}"/>
                </a:ext>
              </a:extLst>
            </p:cNvPr>
            <p:cNvSpPr/>
            <p:nvPr/>
          </p:nvSpPr>
          <p:spPr>
            <a:xfrm>
              <a:off x="10553228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56" name="Google Shape;5769;p552">
              <a:extLst>
                <a:ext uri="{FF2B5EF4-FFF2-40B4-BE49-F238E27FC236}">
                  <a16:creationId xmlns:a16="http://schemas.microsoft.com/office/drawing/2014/main" id="{367143E7-3C6B-5A9F-1C8A-D43EDF6B7DAE}"/>
                </a:ext>
              </a:extLst>
            </p:cNvPr>
            <p:cNvSpPr/>
            <p:nvPr/>
          </p:nvSpPr>
          <p:spPr>
            <a:xfrm>
              <a:off x="10475123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</p:grpSp>
      <p:grpSp>
        <p:nvGrpSpPr>
          <p:cNvPr id="57" name="Google Shape;5770;p552">
            <a:extLst>
              <a:ext uri="{FF2B5EF4-FFF2-40B4-BE49-F238E27FC236}">
                <a16:creationId xmlns:a16="http://schemas.microsoft.com/office/drawing/2014/main" id="{3131CD37-E0AA-3D78-74EB-29DA65CB47A5}"/>
              </a:ext>
            </a:extLst>
          </p:cNvPr>
          <p:cNvGrpSpPr/>
          <p:nvPr/>
        </p:nvGrpSpPr>
        <p:grpSpPr>
          <a:xfrm>
            <a:off x="10946215" y="1358852"/>
            <a:ext cx="457200" cy="457200"/>
            <a:chOff x="10412004" y="3159871"/>
            <a:chExt cx="457200" cy="457200"/>
          </a:xfrm>
        </p:grpSpPr>
        <p:sp>
          <p:nvSpPr>
            <p:cNvPr id="58" name="Google Shape;5771;p552">
              <a:extLst>
                <a:ext uri="{FF2B5EF4-FFF2-40B4-BE49-F238E27FC236}">
                  <a16:creationId xmlns:a16="http://schemas.microsoft.com/office/drawing/2014/main" id="{34215FB6-B9D8-E871-B980-3CB34D95E202}"/>
                </a:ext>
              </a:extLst>
            </p:cNvPr>
            <p:cNvSpPr/>
            <p:nvPr/>
          </p:nvSpPr>
          <p:spPr>
            <a:xfrm>
              <a:off x="10826595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59" name="Google Shape;5772;p552">
              <a:extLst>
                <a:ext uri="{FF2B5EF4-FFF2-40B4-BE49-F238E27FC236}">
                  <a16:creationId xmlns:a16="http://schemas.microsoft.com/office/drawing/2014/main" id="{798250FF-E07A-2401-3AC8-2B93E0D9F34C}"/>
                </a:ext>
              </a:extLst>
            </p:cNvPr>
            <p:cNvSpPr/>
            <p:nvPr/>
          </p:nvSpPr>
          <p:spPr>
            <a:xfrm>
              <a:off x="10787543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0" name="Google Shape;5773;p552">
              <a:extLst>
                <a:ext uri="{FF2B5EF4-FFF2-40B4-BE49-F238E27FC236}">
                  <a16:creationId xmlns:a16="http://schemas.microsoft.com/office/drawing/2014/main" id="{239A3011-D805-FCD0-8D36-A42DC0D9C404}"/>
                </a:ext>
              </a:extLst>
            </p:cNvPr>
            <p:cNvSpPr/>
            <p:nvPr/>
          </p:nvSpPr>
          <p:spPr>
            <a:xfrm>
              <a:off x="10436070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1" name="Google Shape;5774;p552">
              <a:extLst>
                <a:ext uri="{FF2B5EF4-FFF2-40B4-BE49-F238E27FC236}">
                  <a16:creationId xmlns:a16="http://schemas.microsoft.com/office/drawing/2014/main" id="{88B24133-2A6D-18B1-306D-67F13BDE1843}"/>
                </a:ext>
              </a:extLst>
            </p:cNvPr>
            <p:cNvSpPr/>
            <p:nvPr/>
          </p:nvSpPr>
          <p:spPr>
            <a:xfrm>
              <a:off x="10826595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2" name="Google Shape;5775;p552">
              <a:extLst>
                <a:ext uri="{FF2B5EF4-FFF2-40B4-BE49-F238E27FC236}">
                  <a16:creationId xmlns:a16="http://schemas.microsoft.com/office/drawing/2014/main" id="{DA6E16DC-20FB-5F94-C18C-A88C59374DB7}"/>
                </a:ext>
              </a:extLst>
            </p:cNvPr>
            <p:cNvSpPr/>
            <p:nvPr/>
          </p:nvSpPr>
          <p:spPr>
            <a:xfrm>
              <a:off x="10787543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3" name="Google Shape;5776;p552">
              <a:extLst>
                <a:ext uri="{FF2B5EF4-FFF2-40B4-BE49-F238E27FC236}">
                  <a16:creationId xmlns:a16="http://schemas.microsoft.com/office/drawing/2014/main" id="{5BAABA7F-F501-6D10-E34D-08E44D1BDFEB}"/>
                </a:ext>
              </a:extLst>
            </p:cNvPr>
            <p:cNvSpPr/>
            <p:nvPr/>
          </p:nvSpPr>
          <p:spPr>
            <a:xfrm>
              <a:off x="10436070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4" name="Google Shape;5777;p552">
              <a:extLst>
                <a:ext uri="{FF2B5EF4-FFF2-40B4-BE49-F238E27FC236}">
                  <a16:creationId xmlns:a16="http://schemas.microsoft.com/office/drawing/2014/main" id="{7A395FF4-0E7D-F193-B2C0-61C9586740F6}"/>
                </a:ext>
              </a:extLst>
            </p:cNvPr>
            <p:cNvSpPr/>
            <p:nvPr/>
          </p:nvSpPr>
          <p:spPr>
            <a:xfrm>
              <a:off x="10412004" y="3159871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674" y="437674"/>
                  </a:moveTo>
                  <a:lnTo>
                    <a:pt x="357156" y="437674"/>
                  </a:lnTo>
                  <a:lnTo>
                    <a:pt x="357156" y="398812"/>
                  </a:lnTo>
                  <a:lnTo>
                    <a:pt x="375476" y="417132"/>
                  </a:lnTo>
                  <a:lnTo>
                    <a:pt x="389287" y="403320"/>
                  </a:lnTo>
                  <a:lnTo>
                    <a:pt x="348012" y="362045"/>
                  </a:lnTo>
                  <a:lnTo>
                    <a:pt x="305499" y="404336"/>
                  </a:lnTo>
                  <a:lnTo>
                    <a:pt x="319310" y="418148"/>
                  </a:lnTo>
                  <a:lnTo>
                    <a:pt x="337630" y="399828"/>
                  </a:lnTo>
                  <a:lnTo>
                    <a:pt x="337630" y="437674"/>
                  </a:lnTo>
                  <a:lnTo>
                    <a:pt x="240221" y="437674"/>
                  </a:lnTo>
                  <a:lnTo>
                    <a:pt x="240221" y="173419"/>
                  </a:lnTo>
                  <a:lnTo>
                    <a:pt x="257175" y="190500"/>
                  </a:lnTo>
                  <a:lnTo>
                    <a:pt x="270986" y="176689"/>
                  </a:lnTo>
                  <a:lnTo>
                    <a:pt x="229711" y="135414"/>
                  </a:lnTo>
                  <a:lnTo>
                    <a:pt x="187325" y="177800"/>
                  </a:lnTo>
                  <a:lnTo>
                    <a:pt x="201136" y="191611"/>
                  </a:lnTo>
                  <a:lnTo>
                    <a:pt x="220758" y="171990"/>
                  </a:lnTo>
                  <a:lnTo>
                    <a:pt x="220758" y="437832"/>
                  </a:lnTo>
                  <a:lnTo>
                    <a:pt x="120650" y="437832"/>
                  </a:lnTo>
                  <a:lnTo>
                    <a:pt x="120650" y="293878"/>
                  </a:lnTo>
                  <a:lnTo>
                    <a:pt x="139002" y="312198"/>
                  </a:lnTo>
                  <a:lnTo>
                    <a:pt x="152813" y="298450"/>
                  </a:lnTo>
                  <a:lnTo>
                    <a:pt x="111538" y="257175"/>
                  </a:lnTo>
                  <a:lnTo>
                    <a:pt x="69025" y="299434"/>
                  </a:lnTo>
                  <a:lnTo>
                    <a:pt x="82836" y="313246"/>
                  </a:lnTo>
                  <a:lnTo>
                    <a:pt x="101156" y="294894"/>
                  </a:lnTo>
                  <a:lnTo>
                    <a:pt x="101156" y="437769"/>
                  </a:lnTo>
                  <a:lnTo>
                    <a:pt x="19526" y="437769"/>
                  </a:lnTo>
                  <a:lnTo>
                    <a:pt x="19526" y="128556"/>
                  </a:lnTo>
                  <a:lnTo>
                    <a:pt x="437674" y="128556"/>
                  </a:lnTo>
                  <a:close/>
                  <a:moveTo>
                    <a:pt x="437674" y="109030"/>
                  </a:moveTo>
                  <a:lnTo>
                    <a:pt x="19526" y="109030"/>
                  </a:lnTo>
                  <a:lnTo>
                    <a:pt x="19526" y="19526"/>
                  </a:lnTo>
                  <a:lnTo>
                    <a:pt x="437674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5" name="Google Shape;5778;p552">
              <a:extLst>
                <a:ext uri="{FF2B5EF4-FFF2-40B4-BE49-F238E27FC236}">
                  <a16:creationId xmlns:a16="http://schemas.microsoft.com/office/drawing/2014/main" id="{939691A0-7521-F178-1F28-A127936A6022}"/>
                </a:ext>
              </a:extLst>
            </p:cNvPr>
            <p:cNvSpPr/>
            <p:nvPr/>
          </p:nvSpPr>
          <p:spPr>
            <a:xfrm>
              <a:off x="10748490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6" name="Google Shape;5779;p552">
              <a:extLst>
                <a:ext uri="{FF2B5EF4-FFF2-40B4-BE49-F238E27FC236}">
                  <a16:creationId xmlns:a16="http://schemas.microsoft.com/office/drawing/2014/main" id="{56656A00-F76A-CFAB-CBF3-643F8ADD90E6}"/>
                </a:ext>
              </a:extLst>
            </p:cNvPr>
            <p:cNvSpPr/>
            <p:nvPr/>
          </p:nvSpPr>
          <p:spPr>
            <a:xfrm>
              <a:off x="10709438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7" name="Google Shape;5780;p552">
              <a:extLst>
                <a:ext uri="{FF2B5EF4-FFF2-40B4-BE49-F238E27FC236}">
                  <a16:creationId xmlns:a16="http://schemas.microsoft.com/office/drawing/2014/main" id="{C0CA4F0F-029F-C714-E64A-059CA41D4C3F}"/>
                </a:ext>
              </a:extLst>
            </p:cNvPr>
            <p:cNvSpPr/>
            <p:nvPr/>
          </p:nvSpPr>
          <p:spPr>
            <a:xfrm>
              <a:off x="10670385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8" name="Google Shape;5781;p552">
              <a:extLst>
                <a:ext uri="{FF2B5EF4-FFF2-40B4-BE49-F238E27FC236}">
                  <a16:creationId xmlns:a16="http://schemas.microsoft.com/office/drawing/2014/main" id="{46E650B5-04CC-9361-C9D8-3F1BEE1CA7CF}"/>
                </a:ext>
              </a:extLst>
            </p:cNvPr>
            <p:cNvSpPr/>
            <p:nvPr/>
          </p:nvSpPr>
          <p:spPr>
            <a:xfrm>
              <a:off x="10592280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69" name="Google Shape;5782;p552">
              <a:extLst>
                <a:ext uri="{FF2B5EF4-FFF2-40B4-BE49-F238E27FC236}">
                  <a16:creationId xmlns:a16="http://schemas.microsoft.com/office/drawing/2014/main" id="{FE7E3FEC-EBE9-CD6A-2DB6-F8A4F02D97ED}"/>
                </a:ext>
              </a:extLst>
            </p:cNvPr>
            <p:cNvSpPr/>
            <p:nvPr/>
          </p:nvSpPr>
          <p:spPr>
            <a:xfrm>
              <a:off x="10553228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70" name="Google Shape;5783;p552">
              <a:extLst>
                <a:ext uri="{FF2B5EF4-FFF2-40B4-BE49-F238E27FC236}">
                  <a16:creationId xmlns:a16="http://schemas.microsoft.com/office/drawing/2014/main" id="{D7E0E714-2048-2859-3E54-130FEA386F3F}"/>
                </a:ext>
              </a:extLst>
            </p:cNvPr>
            <p:cNvSpPr/>
            <p:nvPr/>
          </p:nvSpPr>
          <p:spPr>
            <a:xfrm>
              <a:off x="10514175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71" name="Google Shape;5784;p552">
              <a:extLst>
                <a:ext uri="{FF2B5EF4-FFF2-40B4-BE49-F238E27FC236}">
                  <a16:creationId xmlns:a16="http://schemas.microsoft.com/office/drawing/2014/main" id="{6D51EA26-6905-9B5F-03B1-6C34BA789D8F}"/>
                </a:ext>
              </a:extLst>
            </p:cNvPr>
            <p:cNvSpPr/>
            <p:nvPr/>
          </p:nvSpPr>
          <p:spPr>
            <a:xfrm>
              <a:off x="10475123" y="3377866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72" name="Google Shape;5785;p552">
              <a:extLst>
                <a:ext uri="{FF2B5EF4-FFF2-40B4-BE49-F238E27FC236}">
                  <a16:creationId xmlns:a16="http://schemas.microsoft.com/office/drawing/2014/main" id="{E474F75B-1A84-FC16-2ADC-4D789FAA57CA}"/>
                </a:ext>
              </a:extLst>
            </p:cNvPr>
            <p:cNvSpPr/>
            <p:nvPr/>
          </p:nvSpPr>
          <p:spPr>
            <a:xfrm>
              <a:off x="10748490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73" name="Google Shape;5786;p552">
              <a:extLst>
                <a:ext uri="{FF2B5EF4-FFF2-40B4-BE49-F238E27FC236}">
                  <a16:creationId xmlns:a16="http://schemas.microsoft.com/office/drawing/2014/main" id="{C094F71D-F88D-1098-2F33-E4B296A87509}"/>
                </a:ext>
              </a:extLst>
            </p:cNvPr>
            <p:cNvSpPr/>
            <p:nvPr/>
          </p:nvSpPr>
          <p:spPr>
            <a:xfrm>
              <a:off x="10709438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74" name="Google Shape;5787;p552">
              <a:extLst>
                <a:ext uri="{FF2B5EF4-FFF2-40B4-BE49-F238E27FC236}">
                  <a16:creationId xmlns:a16="http://schemas.microsoft.com/office/drawing/2014/main" id="{547AEE69-A842-120D-EC0E-06693A9B8FC4}"/>
                </a:ext>
              </a:extLst>
            </p:cNvPr>
            <p:cNvSpPr/>
            <p:nvPr/>
          </p:nvSpPr>
          <p:spPr>
            <a:xfrm>
              <a:off x="10670385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75" name="Google Shape;5788;p552">
              <a:extLst>
                <a:ext uri="{FF2B5EF4-FFF2-40B4-BE49-F238E27FC236}">
                  <a16:creationId xmlns:a16="http://schemas.microsoft.com/office/drawing/2014/main" id="{BE3D0EA7-9AAA-83F5-481F-59BA1D852B0A}"/>
                </a:ext>
              </a:extLst>
            </p:cNvPr>
            <p:cNvSpPr/>
            <p:nvPr/>
          </p:nvSpPr>
          <p:spPr>
            <a:xfrm>
              <a:off x="10592280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76" name="Google Shape;5789;p552">
              <a:extLst>
                <a:ext uri="{FF2B5EF4-FFF2-40B4-BE49-F238E27FC236}">
                  <a16:creationId xmlns:a16="http://schemas.microsoft.com/office/drawing/2014/main" id="{DF3D91AE-3EF9-30D0-56B5-239F0C0AE962}"/>
                </a:ext>
              </a:extLst>
            </p:cNvPr>
            <p:cNvSpPr/>
            <p:nvPr/>
          </p:nvSpPr>
          <p:spPr>
            <a:xfrm>
              <a:off x="10553228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  <p:sp>
          <p:nvSpPr>
            <p:cNvPr id="77" name="Google Shape;5790;p552">
              <a:extLst>
                <a:ext uri="{FF2B5EF4-FFF2-40B4-BE49-F238E27FC236}">
                  <a16:creationId xmlns:a16="http://schemas.microsoft.com/office/drawing/2014/main" id="{23580D70-C013-C418-2804-B8E544C70694}"/>
                </a:ext>
              </a:extLst>
            </p:cNvPr>
            <p:cNvSpPr/>
            <p:nvPr/>
          </p:nvSpPr>
          <p:spPr>
            <a:xfrm>
              <a:off x="10475123" y="3486832"/>
              <a:ext cx="19526" cy="19526"/>
            </a:xfrm>
            <a:custGeom>
              <a:avLst/>
              <a:gdLst/>
              <a:ahLst/>
              <a:cxnLst/>
              <a:rect l="l" t="t" r="r" b="b"/>
              <a:pathLst>
                <a:path w="19526" h="19526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19526"/>
                  </a:lnTo>
                  <a:lnTo>
                    <a:pt x="0" y="1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Inter"/>
                <a:cs typeface="Arial"/>
                <a:sym typeface="Arial"/>
              </a:endParaRPr>
            </a:p>
          </p:txBody>
        </p:sp>
      </p:grpSp>
      <p:sp>
        <p:nvSpPr>
          <p:cNvPr id="78" name="Google Shape;3620;p90">
            <a:extLst>
              <a:ext uri="{FF2B5EF4-FFF2-40B4-BE49-F238E27FC236}">
                <a16:creationId xmlns:a16="http://schemas.microsoft.com/office/drawing/2014/main" id="{64BB6F8F-6357-5EB7-5A35-486F27CF4BFB}"/>
              </a:ext>
            </a:extLst>
          </p:cNvPr>
          <p:cNvSpPr/>
          <p:nvPr/>
        </p:nvSpPr>
        <p:spPr>
          <a:xfrm>
            <a:off x="2978169" y="3495611"/>
            <a:ext cx="1858800" cy="2056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Datasentrert utvikling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Verdien på dataene i VIGO vil alltid bestå, men applikasjonene blir utdaterte.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Inter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Tjenestene i VIGO skal utvikles og moderniseres rundt dataene i systemet. 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Inter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Skape tjenester som er løst sammenkoblet og har et veldefinert ansvar. 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 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8B3B0BCE-7E16-D7A9-C803-6FF3488C62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4059" y="1261210"/>
            <a:ext cx="646103" cy="646103"/>
          </a:xfrm>
          <a:prstGeom prst="rect">
            <a:avLst/>
          </a:prstGeom>
        </p:spPr>
      </p:pic>
      <p:sp>
        <p:nvSpPr>
          <p:cNvPr id="80" name="Google Shape;3620;p90">
            <a:extLst>
              <a:ext uri="{FF2B5EF4-FFF2-40B4-BE49-F238E27FC236}">
                <a16:creationId xmlns:a16="http://schemas.microsoft.com/office/drawing/2014/main" id="{AF3D53B3-F39B-70C1-1E9E-32F0ED57DC77}"/>
              </a:ext>
            </a:extLst>
          </p:cNvPr>
          <p:cNvSpPr/>
          <p:nvPr/>
        </p:nvSpPr>
        <p:spPr>
          <a:xfrm>
            <a:off x="782194" y="3495612"/>
            <a:ext cx="1864766" cy="2056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Brukerinvolvering 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Brukerbehovene skal alltid stå i sentrum av utviklingen. Fokus på riktig bruk av smidig metodikk er ønskelig for å hente ut alle gevinstene fra metodikken.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Inter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Arbeidsprosessene skal standardiseres og systemet tilrettelegges for felles oppgaveløsning. Skreddersøm for enkeltgrupper skal unngås så langt det lar seg gjøre. </a:t>
            </a:r>
          </a:p>
        </p:txBody>
      </p:sp>
      <p:sp>
        <p:nvSpPr>
          <p:cNvPr id="81" name="Google Shape;3620;p90">
            <a:extLst>
              <a:ext uri="{FF2B5EF4-FFF2-40B4-BE49-F238E27FC236}">
                <a16:creationId xmlns:a16="http://schemas.microsoft.com/office/drawing/2014/main" id="{9AFC4DF3-00C5-0287-AD0C-40CF5915F7D4}"/>
              </a:ext>
            </a:extLst>
          </p:cNvPr>
          <p:cNvSpPr/>
          <p:nvPr/>
        </p:nvSpPr>
        <p:spPr>
          <a:xfrm>
            <a:off x="5165314" y="3495610"/>
            <a:ext cx="1858800" cy="2056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Standardisert Datadeling 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Datadelingen med eksterne aktører skal standardiseres og forenkles for å sikre enklere deling av data for aktører som ønsker tilgang. </a:t>
            </a:r>
          </a:p>
        </p:txBody>
      </p:sp>
      <p:sp>
        <p:nvSpPr>
          <p:cNvPr id="82" name="Google Shape;3620;p90">
            <a:extLst>
              <a:ext uri="{FF2B5EF4-FFF2-40B4-BE49-F238E27FC236}">
                <a16:creationId xmlns:a16="http://schemas.microsoft.com/office/drawing/2014/main" id="{C6CC13E1-59AB-9971-B42C-BDEDA34FA4FE}"/>
              </a:ext>
            </a:extLst>
          </p:cNvPr>
          <p:cNvSpPr/>
          <p:nvPr/>
        </p:nvSpPr>
        <p:spPr>
          <a:xfrm>
            <a:off x="9589621" y="3495612"/>
            <a:ext cx="1864766" cy="2056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Systemeierskap og leverandør- fleksibilitet </a:t>
            </a: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Inter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Novari IKS skal til enhver tid ha kontrollen over arkitekturen, koden og brukerbehovene i systemet. 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Inter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Dette for å redusere  avhengigheten til enkeltleverandører. Systemet skal utvikles i tett samarbeid med leverandøren hvor Novari IKS styrer utviklingen. </a:t>
            </a:r>
          </a:p>
        </p:txBody>
      </p:sp>
      <p:sp>
        <p:nvSpPr>
          <p:cNvPr id="83" name="Google Shape;3620;p90">
            <a:extLst>
              <a:ext uri="{FF2B5EF4-FFF2-40B4-BE49-F238E27FC236}">
                <a16:creationId xmlns:a16="http://schemas.microsoft.com/office/drawing/2014/main" id="{BCF84D49-A4CC-613E-A3AC-1F604B96C508}"/>
              </a:ext>
            </a:extLst>
          </p:cNvPr>
          <p:cNvSpPr/>
          <p:nvPr/>
        </p:nvSpPr>
        <p:spPr>
          <a:xfrm>
            <a:off x="7362324" y="3495610"/>
            <a:ext cx="1954296" cy="2056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Automatisering</a:t>
            </a: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Inter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Manuelle prosesser og arbeidsoppgaver skal om mulig automatiseres. 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Inter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171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Inter"/>
                <a:ea typeface="+mn-ea"/>
                <a:cs typeface="Arial"/>
                <a:sym typeface="Arial"/>
              </a:rPr>
              <a:t>For å frigjøre verdifull tid for ansatte i fylkeskommunene til å benytte mer tid på det viktige samfunnsoppdraget de utfører ved hjelp av VIGO systemet.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41023DE8-E9A9-6743-448D-BC2404BED9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0132" y="1325219"/>
            <a:ext cx="542307" cy="542307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BA75435C-E3C7-27AA-B6E3-90CCFE4B95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80026" y="1281911"/>
            <a:ext cx="536594" cy="536594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6E6678D2-5F3C-0876-2EE3-419DB4DB13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1261" y="1335174"/>
            <a:ext cx="457200" cy="457200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3B0A6C82-7923-B6C8-3647-D340670DA3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45170" y="1268154"/>
            <a:ext cx="509217" cy="50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248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med avrundede hjørner på samme side 6">
            <a:extLst>
              <a:ext uri="{FF2B5EF4-FFF2-40B4-BE49-F238E27FC236}">
                <a16:creationId xmlns:a16="http://schemas.microsoft.com/office/drawing/2014/main" id="{B0B26EFF-5680-C01C-A06D-2772A3708BC6}"/>
              </a:ext>
            </a:extLst>
          </p:cNvPr>
          <p:cNvSpPr/>
          <p:nvPr/>
        </p:nvSpPr>
        <p:spPr>
          <a:xfrm>
            <a:off x="349321" y="312999"/>
            <a:ext cx="11568701" cy="960290"/>
          </a:xfrm>
          <a:prstGeom prst="round2SameRect">
            <a:avLst>
              <a:gd name="adj1" fmla="val 26296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/>
          <a:lstStyle/>
          <a:p>
            <a:pPr algn="ctr"/>
            <a:r>
              <a:rPr lang="nb-NO" sz="1200">
                <a:solidFill>
                  <a:schemeClr val="bg1"/>
                </a:solidFill>
                <a:latin typeface="Inter ExtraLight" panose="02000503000000020004" pitchFamily="2" charset="0"/>
                <a:ea typeface="Inter ExtraLight" panose="02000503000000020004" pitchFamily="2" charset="0"/>
                <a:cs typeface="Helvetica Neue" panose="02000503000000020004" pitchFamily="2" charset="0"/>
              </a:rPr>
              <a:t>MÅL FOR MODERNISERING AV VIGO-SYSTEMET</a:t>
            </a:r>
          </a:p>
          <a:p>
            <a:pPr algn="ctr"/>
            <a:r>
              <a:rPr lang="nb-NO" sz="1600">
                <a:latin typeface="Inter Italic" panose="02000503000000020004" pitchFamily="2" charset="0"/>
                <a:ea typeface="Inter Italic" panose="02000503000000020004" pitchFamily="2" charset="0"/>
                <a:cs typeface="Helvetica Neue Medium" panose="02000503000000020004" pitchFamily="2" charset="0"/>
              </a:rPr>
              <a:t>Systemstøtten er så god at tjenestene kan hjelpe flere unge å fullføre </a:t>
            </a:r>
            <a:br>
              <a:rPr lang="nb-NO" sz="1600">
                <a:latin typeface="Inter Italic" panose="02000503000000020004" pitchFamily="2" charset="0"/>
                <a:ea typeface="Inter Italic" panose="02000503000000020004" pitchFamily="2" charset="0"/>
                <a:cs typeface="Helvetica Neue Medium" panose="02000503000000020004" pitchFamily="2" charset="0"/>
              </a:rPr>
            </a:br>
            <a:r>
              <a:rPr lang="nb-NO" sz="1600">
                <a:latin typeface="Inter Italic" panose="02000503000000020004" pitchFamily="2" charset="0"/>
                <a:ea typeface="Inter Italic" panose="02000503000000020004" pitchFamily="2" charset="0"/>
                <a:cs typeface="Helvetica Neue Medium" panose="02000503000000020004" pitchFamily="2" charset="0"/>
              </a:rPr>
              <a:t>videregående opplæring og levere et likeverdig tjenestetilbud nasjonalt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16B2CE6-363F-6966-5F85-90C0D9C4EDA5}"/>
              </a:ext>
            </a:extLst>
          </p:cNvPr>
          <p:cNvSpPr/>
          <p:nvPr/>
        </p:nvSpPr>
        <p:spPr>
          <a:xfrm>
            <a:off x="349321" y="1321047"/>
            <a:ext cx="11568701" cy="19259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algn="ctr"/>
            <a:r>
              <a:rPr lang="nb-NO" sz="1200">
                <a:solidFill>
                  <a:schemeClr val="accent4"/>
                </a:solidFill>
                <a:latin typeface="Inter ExtraLight" panose="02000503000000020004" pitchFamily="2" charset="0"/>
                <a:ea typeface="Inter ExtraLight" panose="02000503000000020004" pitchFamily="2" charset="0"/>
                <a:cs typeface="Helvetica Neue" panose="02000503000000020004" pitchFamily="2" charset="0"/>
              </a:rPr>
              <a:t>FOR Å LYKKES MED DETTE MÅ TJENESTENE HA </a:t>
            </a:r>
          </a:p>
          <a:p>
            <a:pPr algn="ctr"/>
            <a:r>
              <a:rPr lang="nb-NO" sz="1600" b="1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EN SAMMENHENGENDE DIGITAL LØSNING </a:t>
            </a:r>
          </a:p>
          <a:p>
            <a:pPr algn="ctr"/>
            <a:r>
              <a:rPr lang="nb-NO" sz="1200">
                <a:solidFill>
                  <a:schemeClr val="accent4"/>
                </a:solidFill>
                <a:latin typeface="Inter ExtraLight" panose="02000503000000020004" pitchFamily="2" charset="0"/>
                <a:ea typeface="Inter ExtraLight" panose="02000503000000020004" pitchFamily="2" charset="0"/>
                <a:cs typeface="Helvetica Neue" panose="02000503000000020004" pitchFamily="2" charset="0"/>
              </a:rPr>
              <a:t>SOM BIDRAR 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2DAA3BC4-15FD-2759-2FD6-05B4241D9F35}"/>
              </a:ext>
            </a:extLst>
          </p:cNvPr>
          <p:cNvSpPr txBox="1"/>
          <p:nvPr/>
        </p:nvSpPr>
        <p:spPr>
          <a:xfrm>
            <a:off x="349321" y="2317808"/>
            <a:ext cx="2630185" cy="73866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>
              <a:tabLst>
                <a:tab pos="2527300" algn="l"/>
              </a:tabLst>
            </a:pPr>
            <a:r>
              <a:rPr lang="nb-NO" sz="160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+mn-lt"/>
              </a:rPr>
              <a:t>Systemstøtte til et helhetlig og fleksibelt tjenestetilbud</a:t>
            </a:r>
            <a:endParaRPr lang="en-US">
              <a:solidFill>
                <a:schemeClr val="accent4"/>
              </a:solidFill>
              <a:latin typeface="Inter Light" panose="02000503000000020004" pitchFamily="2" charset="0"/>
              <a:ea typeface="Inter Light" panose="02000503000000020004" pitchFamily="2" charset="0"/>
              <a:cs typeface="+mn-lt"/>
            </a:endParaRPr>
          </a:p>
          <a:p>
            <a:pPr algn="ctr">
              <a:tabLst>
                <a:tab pos="2527300" algn="l"/>
              </a:tabLst>
            </a:pPr>
            <a:endParaRPr lang="nb-NO" sz="1600">
              <a:solidFill>
                <a:schemeClr val="accent4"/>
              </a:solidFill>
              <a:latin typeface="Inter Light" panose="02000503000000020004" pitchFamily="2" charset="0"/>
              <a:ea typeface="Inter Light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1726282E-9DFC-3DAF-C78A-4D9B533D15DF}"/>
              </a:ext>
            </a:extLst>
          </p:cNvPr>
          <p:cNvSpPr txBox="1"/>
          <p:nvPr/>
        </p:nvSpPr>
        <p:spPr>
          <a:xfrm>
            <a:off x="3332204" y="2297073"/>
            <a:ext cx="2635369" cy="73866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nb-NO" sz="160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+mn-lt"/>
              </a:rPr>
              <a:t>Støtte til en lokal organisering med nasjonale føringer</a:t>
            </a:r>
            <a:endParaRPr lang="en-US">
              <a:latin typeface="Inter Light" panose="02000503000000020004" pitchFamily="2" charset="0"/>
              <a:ea typeface="Inter Light" panose="02000503000000020004" pitchFamily="2" charset="0"/>
            </a:endParaRPr>
          </a:p>
          <a:p>
            <a:pPr algn="ctr"/>
            <a:endParaRPr lang="nb-NO" sz="1600">
              <a:solidFill>
                <a:schemeClr val="accent4"/>
              </a:solidFill>
              <a:latin typeface="Inter Light" panose="02000503000000020004" pitchFamily="2" charset="0"/>
              <a:ea typeface="Inter Light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48256F71-F815-AD6B-E527-85045C3D5EC9}"/>
              </a:ext>
            </a:extLst>
          </p:cNvPr>
          <p:cNvSpPr txBox="1"/>
          <p:nvPr/>
        </p:nvSpPr>
        <p:spPr>
          <a:xfrm>
            <a:off x="6745332" y="2281522"/>
            <a:ext cx="1863003" cy="49244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160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Helvetica Neue" panose="02000503000000020004" pitchFamily="2" charset="0"/>
              </a:rPr>
              <a:t>Færre avhengigheter til manuelle oppgaver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0868C9CE-70F9-7832-B702-A8FA29C4809B}"/>
              </a:ext>
            </a:extLst>
          </p:cNvPr>
          <p:cNvSpPr txBox="1"/>
          <p:nvPr/>
        </p:nvSpPr>
        <p:spPr>
          <a:xfrm>
            <a:off x="9886278" y="2387245"/>
            <a:ext cx="1577163" cy="49244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160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Helvetica Neue" panose="02000503000000020004" pitchFamily="2" charset="0"/>
              </a:rPr>
              <a:t>Mindre veksling </a:t>
            </a:r>
            <a:br>
              <a:rPr lang="nb-NO" sz="160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Helvetica Neue" panose="02000503000000020004" pitchFamily="2" charset="0"/>
              </a:rPr>
            </a:br>
            <a:r>
              <a:rPr lang="nb-NO" sz="160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Helvetica Neue" panose="02000503000000020004" pitchFamily="2" charset="0"/>
              </a:rPr>
              <a:t>mellom moduler</a:t>
            </a:r>
          </a:p>
        </p:txBody>
      </p:sp>
      <p:sp>
        <p:nvSpPr>
          <p:cNvPr id="19" name="Ramme 18">
            <a:extLst>
              <a:ext uri="{FF2B5EF4-FFF2-40B4-BE49-F238E27FC236}">
                <a16:creationId xmlns:a16="http://schemas.microsoft.com/office/drawing/2014/main" id="{665A60EC-0198-C37E-01B2-482EAAFE8DA7}"/>
              </a:ext>
            </a:extLst>
          </p:cNvPr>
          <p:cNvSpPr/>
          <p:nvPr/>
        </p:nvSpPr>
        <p:spPr>
          <a:xfrm>
            <a:off x="349321" y="3300317"/>
            <a:ext cx="11568701" cy="3363530"/>
          </a:xfrm>
          <a:prstGeom prst="frame">
            <a:avLst>
              <a:gd name="adj1" fmla="val 2138"/>
            </a:avLst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algn="ctr"/>
            <a:endParaRPr lang="nb-NO" sz="1200">
              <a:latin typeface="Helvetica Neue UltraLight" panose="02000206000000020004" pitchFamily="2" charset="0"/>
              <a:ea typeface="Helvetica Neue UltraLight" panose="02000206000000020004" pitchFamily="2" charset="0"/>
              <a:cs typeface="Helvetica Neue" panose="02000503000000020004" pitchFamily="2" charset="0"/>
            </a:endParaRPr>
          </a:p>
        </p:txBody>
      </p:sp>
      <p:cxnSp>
        <p:nvCxnSpPr>
          <p:cNvPr id="40" name="Rett linje 39">
            <a:extLst>
              <a:ext uri="{FF2B5EF4-FFF2-40B4-BE49-F238E27FC236}">
                <a16:creationId xmlns:a16="http://schemas.microsoft.com/office/drawing/2014/main" id="{E8578ECB-A3D9-505B-06CE-2718DC578656}"/>
              </a:ext>
            </a:extLst>
          </p:cNvPr>
          <p:cNvCxnSpPr>
            <a:cxnSpLocks/>
          </p:cNvCxnSpPr>
          <p:nvPr/>
        </p:nvCxnSpPr>
        <p:spPr>
          <a:xfrm>
            <a:off x="3158447" y="2271710"/>
            <a:ext cx="0" cy="65427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Rett linje 40">
            <a:extLst>
              <a:ext uri="{FF2B5EF4-FFF2-40B4-BE49-F238E27FC236}">
                <a16:creationId xmlns:a16="http://schemas.microsoft.com/office/drawing/2014/main" id="{C0F307B7-DDE2-724E-4730-D43A3FB4435E}"/>
              </a:ext>
            </a:extLst>
          </p:cNvPr>
          <p:cNvCxnSpPr>
            <a:cxnSpLocks/>
          </p:cNvCxnSpPr>
          <p:nvPr/>
        </p:nvCxnSpPr>
        <p:spPr>
          <a:xfrm>
            <a:off x="6146514" y="2271710"/>
            <a:ext cx="0" cy="65427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Rett linje 41">
            <a:extLst>
              <a:ext uri="{FF2B5EF4-FFF2-40B4-BE49-F238E27FC236}">
                <a16:creationId xmlns:a16="http://schemas.microsoft.com/office/drawing/2014/main" id="{875DEA33-6D87-71DB-E321-FE4F4297BFE5}"/>
              </a:ext>
            </a:extLst>
          </p:cNvPr>
          <p:cNvCxnSpPr>
            <a:cxnSpLocks/>
          </p:cNvCxnSpPr>
          <p:nvPr/>
        </p:nvCxnSpPr>
        <p:spPr>
          <a:xfrm>
            <a:off x="9134581" y="2271710"/>
            <a:ext cx="0" cy="65427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kstSylinder 43">
            <a:extLst>
              <a:ext uri="{FF2B5EF4-FFF2-40B4-BE49-F238E27FC236}">
                <a16:creationId xmlns:a16="http://schemas.microsoft.com/office/drawing/2014/main" id="{D5BCCC27-155A-3D97-00F0-182C2966C39B}"/>
              </a:ext>
            </a:extLst>
          </p:cNvPr>
          <p:cNvSpPr txBox="1"/>
          <p:nvPr/>
        </p:nvSpPr>
        <p:spPr>
          <a:xfrm>
            <a:off x="4074301" y="3537592"/>
            <a:ext cx="4183414" cy="430887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>
              <a:tabLst>
                <a:tab pos="2527300" algn="l"/>
              </a:tabLst>
            </a:pPr>
            <a:r>
              <a:rPr lang="nb-NO" sz="1200">
                <a:solidFill>
                  <a:schemeClr val="accent4"/>
                </a:solidFill>
                <a:latin typeface="Inter ExtraLight"/>
                <a:ea typeface="Inter ExtraLight" panose="02000503000000020004" pitchFamily="2" charset="0"/>
                <a:cs typeface="Helvetica Neue" panose="02000503000000020004" pitchFamily="2" charset="0"/>
              </a:rPr>
              <a:t>DETTE KREVER </a:t>
            </a:r>
            <a:br>
              <a:rPr lang="nb-NO" sz="1200">
                <a:latin typeface="Helvetica Neue UltraLight" panose="02000206000000020004" pitchFamily="2" charset="0"/>
                <a:ea typeface="Helvetica Neue UltraLight" panose="02000206000000020004" pitchFamily="2" charset="0"/>
                <a:cs typeface="Helvetica Neue" panose="02000503000000020004" pitchFamily="2" charset="0"/>
              </a:rPr>
            </a:br>
            <a:r>
              <a:rPr lang="nb-NO" sz="1600" b="1">
                <a:solidFill>
                  <a:schemeClr val="accent4"/>
                </a:solidFill>
                <a:latin typeface="Inter"/>
                <a:ea typeface="Helvetica Neue UltraLight" panose="02000206000000020004" pitchFamily="2" charset="0"/>
                <a:cs typeface="Helvetica Neue" panose="02000503000000020004" pitchFamily="2" charset="0"/>
              </a:rPr>
              <a:t>INNOVASJON, FORENKLING</a:t>
            </a:r>
            <a:r>
              <a:rPr lang="nb-NO" sz="1600" b="1">
                <a:solidFill>
                  <a:schemeClr val="accent4"/>
                </a:solidFill>
                <a:latin typeface="Inter"/>
                <a:ea typeface="Inter" panose="02000503000000020004" pitchFamily="2" charset="0"/>
                <a:cs typeface="Helvetica Neue" panose="02000503000000020004" pitchFamily="2" charset="0"/>
              </a:rPr>
              <a:t> OG MODERNISERING</a:t>
            </a:r>
          </a:p>
        </p:txBody>
      </p:sp>
      <p:sp>
        <p:nvSpPr>
          <p:cNvPr id="53" name="TekstSylinder 52">
            <a:extLst>
              <a:ext uri="{FF2B5EF4-FFF2-40B4-BE49-F238E27FC236}">
                <a16:creationId xmlns:a16="http://schemas.microsoft.com/office/drawing/2014/main" id="{8A2A986D-089E-10E9-851A-19B475FC285A}"/>
              </a:ext>
            </a:extLst>
          </p:cNvPr>
          <p:cNvSpPr txBox="1"/>
          <p:nvPr/>
        </p:nvSpPr>
        <p:spPr>
          <a:xfrm>
            <a:off x="5041667" y="5373967"/>
            <a:ext cx="2184007" cy="553998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>
              <a:tabLst>
                <a:tab pos="2527300" algn="l"/>
              </a:tabLst>
            </a:pP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Prosess- og brukerorientert</a:t>
            </a:r>
          </a:p>
          <a:p>
            <a:pPr algn="ctr">
              <a:tabLst>
                <a:tab pos="2527300" algn="l"/>
              </a:tabLst>
            </a:pPr>
            <a:r>
              <a:rPr lang="nb-NO" sz="1200" b="1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grensesnitt</a:t>
            </a: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 for enkel samhandling</a:t>
            </a:r>
          </a:p>
        </p:txBody>
      </p:sp>
      <p:sp>
        <p:nvSpPr>
          <p:cNvPr id="48" name="TekstSylinder 47">
            <a:extLst>
              <a:ext uri="{FF2B5EF4-FFF2-40B4-BE49-F238E27FC236}">
                <a16:creationId xmlns:a16="http://schemas.microsoft.com/office/drawing/2014/main" id="{3F979C57-5962-1843-D84C-B4AD41CE251D}"/>
              </a:ext>
            </a:extLst>
          </p:cNvPr>
          <p:cNvSpPr txBox="1"/>
          <p:nvPr/>
        </p:nvSpPr>
        <p:spPr>
          <a:xfrm>
            <a:off x="9623528" y="5373967"/>
            <a:ext cx="1755696" cy="36933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>
              <a:tabLst>
                <a:tab pos="2527300" algn="l"/>
              </a:tabLst>
            </a:pPr>
            <a:r>
              <a:rPr lang="nb-NO" sz="1200" b="1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Kostnadseffektiv</a:t>
            </a: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 løsning og vedlikehold</a:t>
            </a:r>
          </a:p>
        </p:txBody>
      </p:sp>
      <p:sp>
        <p:nvSpPr>
          <p:cNvPr id="55" name="TekstSylinder 54">
            <a:extLst>
              <a:ext uri="{FF2B5EF4-FFF2-40B4-BE49-F238E27FC236}">
                <a16:creationId xmlns:a16="http://schemas.microsoft.com/office/drawing/2014/main" id="{1204E7BD-51E8-78D3-B35C-76615D380031}"/>
              </a:ext>
            </a:extLst>
          </p:cNvPr>
          <p:cNvSpPr txBox="1"/>
          <p:nvPr/>
        </p:nvSpPr>
        <p:spPr>
          <a:xfrm>
            <a:off x="7535759" y="5373967"/>
            <a:ext cx="1633137" cy="36933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>
              <a:tabLst>
                <a:tab pos="2527300" algn="l"/>
              </a:tabLst>
            </a:pP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Fokus på </a:t>
            </a:r>
            <a:r>
              <a:rPr lang="nb-NO" sz="1200" b="1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sikkerhet</a:t>
            </a: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 og personvern</a:t>
            </a:r>
          </a:p>
        </p:txBody>
      </p:sp>
      <p:sp>
        <p:nvSpPr>
          <p:cNvPr id="47" name="TekstSylinder 46">
            <a:extLst>
              <a:ext uri="{FF2B5EF4-FFF2-40B4-BE49-F238E27FC236}">
                <a16:creationId xmlns:a16="http://schemas.microsoft.com/office/drawing/2014/main" id="{5EA82397-2155-90A8-EC25-497548E92AF9}"/>
              </a:ext>
            </a:extLst>
          </p:cNvPr>
          <p:cNvSpPr txBox="1"/>
          <p:nvPr/>
        </p:nvSpPr>
        <p:spPr>
          <a:xfrm>
            <a:off x="2844178" y="5373967"/>
            <a:ext cx="2160178" cy="92333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>
              <a:tabLst>
                <a:tab pos="2527300" algn="l"/>
              </a:tabLst>
            </a:pP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Sømløs </a:t>
            </a:r>
            <a:r>
              <a:rPr lang="nb-NO" sz="1200" b="1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prosess-</a:t>
            </a: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 og </a:t>
            </a:r>
            <a:r>
              <a:rPr lang="nb-NO" sz="1200" b="1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informasjonsflyt fra søking til arkivering, og datastyring</a:t>
            </a: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 for integritet og kvalitet</a:t>
            </a:r>
          </a:p>
        </p:txBody>
      </p:sp>
      <p:sp>
        <p:nvSpPr>
          <p:cNvPr id="56" name="TekstSylinder 55">
            <a:extLst>
              <a:ext uri="{FF2B5EF4-FFF2-40B4-BE49-F238E27FC236}">
                <a16:creationId xmlns:a16="http://schemas.microsoft.com/office/drawing/2014/main" id="{9FE0B1E6-430F-2FD3-58F7-45439DAC16D0}"/>
              </a:ext>
            </a:extLst>
          </p:cNvPr>
          <p:cNvSpPr txBox="1"/>
          <p:nvPr/>
        </p:nvSpPr>
        <p:spPr>
          <a:xfrm>
            <a:off x="525315" y="5373967"/>
            <a:ext cx="2281552" cy="553998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>
              <a:tabLst>
                <a:tab pos="2527300" algn="l"/>
              </a:tabLst>
            </a:pPr>
            <a:r>
              <a:rPr lang="nb-NO" sz="1200" b="1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Standardisering</a:t>
            </a: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 for </a:t>
            </a:r>
            <a:r>
              <a:rPr lang="nb-NO" sz="1200" b="1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automatisering</a:t>
            </a: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 av manuelle rutiner og </a:t>
            </a:r>
            <a:r>
              <a:rPr lang="nb-NO" sz="1200" b="1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integrasjoner</a:t>
            </a:r>
            <a:r>
              <a:rPr lang="nb-NO" sz="120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  <a:cs typeface="Helvetica Neue" panose="02000503000000020004" pitchFamily="2" charset="0"/>
              </a:rPr>
              <a:t> mot eksterne aktører </a:t>
            </a:r>
          </a:p>
        </p:txBody>
      </p:sp>
      <p:pic>
        <p:nvPicPr>
          <p:cNvPr id="63" name="Bilde 62">
            <a:extLst>
              <a:ext uri="{FF2B5EF4-FFF2-40B4-BE49-F238E27FC236}">
                <a16:creationId xmlns:a16="http://schemas.microsoft.com/office/drawing/2014/main" id="{A5DFC88D-7FA7-B3C0-7553-8D4D6A4BE9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2492" y="4559445"/>
            <a:ext cx="1203549" cy="728662"/>
          </a:xfrm>
          <a:prstGeom prst="rect">
            <a:avLst/>
          </a:prstGeom>
        </p:spPr>
      </p:pic>
      <p:pic>
        <p:nvPicPr>
          <p:cNvPr id="64" name="Bilde 63">
            <a:extLst>
              <a:ext uri="{FF2B5EF4-FFF2-40B4-BE49-F238E27FC236}">
                <a16:creationId xmlns:a16="http://schemas.microsoft.com/office/drawing/2014/main" id="{04AFD494-6EF5-AF8B-1826-6B471AF144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0790" y="4659986"/>
            <a:ext cx="1147051" cy="577788"/>
          </a:xfrm>
          <a:prstGeom prst="rect">
            <a:avLst/>
          </a:prstGeom>
        </p:spPr>
      </p:pic>
      <p:pic>
        <p:nvPicPr>
          <p:cNvPr id="65" name="Bilde 64">
            <a:extLst>
              <a:ext uri="{FF2B5EF4-FFF2-40B4-BE49-F238E27FC236}">
                <a16:creationId xmlns:a16="http://schemas.microsoft.com/office/drawing/2014/main" id="{5F820735-CFE1-0A93-D5A2-16B6F2F9A4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78750" y="4442262"/>
            <a:ext cx="1034500" cy="841947"/>
          </a:xfrm>
          <a:prstGeom prst="rect">
            <a:avLst/>
          </a:prstGeom>
        </p:spPr>
      </p:pic>
      <p:pic>
        <p:nvPicPr>
          <p:cNvPr id="66" name="Bilde 65">
            <a:extLst>
              <a:ext uri="{FF2B5EF4-FFF2-40B4-BE49-F238E27FC236}">
                <a16:creationId xmlns:a16="http://schemas.microsoft.com/office/drawing/2014/main" id="{20BDEB41-0A69-7D39-2AF8-C534188011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40547" y="4657741"/>
            <a:ext cx="989975" cy="650771"/>
          </a:xfrm>
          <a:prstGeom prst="rect">
            <a:avLst/>
          </a:prstGeom>
        </p:spPr>
      </p:pic>
      <p:pic>
        <p:nvPicPr>
          <p:cNvPr id="67" name="Bilde 66">
            <a:extLst>
              <a:ext uri="{FF2B5EF4-FFF2-40B4-BE49-F238E27FC236}">
                <a16:creationId xmlns:a16="http://schemas.microsoft.com/office/drawing/2014/main" id="{AF0FCFE3-905B-58F4-5357-A6DEF645BC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32311" y="4615347"/>
            <a:ext cx="538129" cy="66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7518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9243736-EB94-78CA-6116-857A5817E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92460" y="6348715"/>
            <a:ext cx="391477" cy="153889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spcAft>
                <a:spcPts val="600"/>
              </a:spcAft>
            </a:pPr>
            <a:fld id="{BE2ACD00-28B2-4D17-A930-2C9F8441C7CA}" type="slidenum">
              <a:rPr lang="nb-NO" smtClean="0"/>
              <a:pPr>
                <a:spcAft>
                  <a:spcPts val="600"/>
                </a:spcAft>
              </a:pPr>
              <a:t>7</a:t>
            </a:fld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FF55B20F-7685-A1AA-516C-DBC609C63827}"/>
              </a:ext>
            </a:extLst>
          </p:cNvPr>
          <p:cNvSpPr txBox="1"/>
          <p:nvPr/>
        </p:nvSpPr>
        <p:spPr>
          <a:xfrm>
            <a:off x="1029494" y="553505"/>
            <a:ext cx="10154444" cy="769442"/>
          </a:xfrm>
          <a:prstGeom prst="rect">
            <a:avLst/>
          </a:prstGeom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rtlCol="0" anchor="t" anchorCtr="0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  <a:buSzPct val="120000"/>
            </a:pPr>
            <a:r>
              <a:rPr lang="nb-NO" sz="3600" u="none" kern="1200">
                <a:solidFill>
                  <a:schemeClr val="accent1"/>
                </a:solidFill>
                <a:latin typeface="Brockmann" pitchFamily="50" charset="0"/>
                <a:ea typeface="+mj-ea"/>
                <a:cs typeface="+mj-cs"/>
              </a:rPr>
              <a:t>Metodisk tilnærming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5C5C6019-ACD1-8B85-13DF-D47AEF27619D}"/>
              </a:ext>
            </a:extLst>
          </p:cNvPr>
          <p:cNvGrpSpPr/>
          <p:nvPr/>
        </p:nvGrpSpPr>
        <p:grpSpPr>
          <a:xfrm>
            <a:off x="1034228" y="2360274"/>
            <a:ext cx="10149709" cy="3294856"/>
            <a:chOff x="1031861" y="2744788"/>
            <a:chExt cx="10149709" cy="3294856"/>
          </a:xfrm>
        </p:grpSpPr>
        <p:sp>
          <p:nvSpPr>
            <p:cNvPr id="5" name="Friform 4">
              <a:extLst>
                <a:ext uri="{FF2B5EF4-FFF2-40B4-BE49-F238E27FC236}">
                  <a16:creationId xmlns:a16="http://schemas.microsoft.com/office/drawing/2014/main" id="{223C66FB-39B5-9D8C-919B-7770A290A442}"/>
                </a:ext>
              </a:extLst>
            </p:cNvPr>
            <p:cNvSpPr/>
            <p:nvPr/>
          </p:nvSpPr>
          <p:spPr>
            <a:xfrm>
              <a:off x="1031861" y="2744788"/>
              <a:ext cx="2481591" cy="3294856"/>
            </a:xfrm>
            <a:custGeom>
              <a:avLst/>
              <a:gdLst>
                <a:gd name="connsiteX0" fmla="*/ 0 w 2481591"/>
                <a:gd name="connsiteY0" fmla="*/ 248159 h 3294856"/>
                <a:gd name="connsiteX1" fmla="*/ 248159 w 2481591"/>
                <a:gd name="connsiteY1" fmla="*/ 0 h 3294856"/>
                <a:gd name="connsiteX2" fmla="*/ 2233432 w 2481591"/>
                <a:gd name="connsiteY2" fmla="*/ 0 h 3294856"/>
                <a:gd name="connsiteX3" fmla="*/ 2481591 w 2481591"/>
                <a:gd name="connsiteY3" fmla="*/ 248159 h 3294856"/>
                <a:gd name="connsiteX4" fmla="*/ 2481591 w 2481591"/>
                <a:gd name="connsiteY4" fmla="*/ 3046697 h 3294856"/>
                <a:gd name="connsiteX5" fmla="*/ 2233432 w 2481591"/>
                <a:gd name="connsiteY5" fmla="*/ 3294856 h 3294856"/>
                <a:gd name="connsiteX6" fmla="*/ 248159 w 2481591"/>
                <a:gd name="connsiteY6" fmla="*/ 3294856 h 3294856"/>
                <a:gd name="connsiteX7" fmla="*/ 0 w 2481591"/>
                <a:gd name="connsiteY7" fmla="*/ 3046697 h 3294856"/>
                <a:gd name="connsiteX8" fmla="*/ 0 w 2481591"/>
                <a:gd name="connsiteY8" fmla="*/ 248159 h 329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1591" h="3294856">
                  <a:moveTo>
                    <a:pt x="0" y="248159"/>
                  </a:moveTo>
                  <a:cubicBezTo>
                    <a:pt x="0" y="111105"/>
                    <a:pt x="111105" y="0"/>
                    <a:pt x="248159" y="0"/>
                  </a:cubicBezTo>
                  <a:lnTo>
                    <a:pt x="2233432" y="0"/>
                  </a:lnTo>
                  <a:cubicBezTo>
                    <a:pt x="2370486" y="0"/>
                    <a:pt x="2481591" y="111105"/>
                    <a:pt x="2481591" y="248159"/>
                  </a:cubicBezTo>
                  <a:lnTo>
                    <a:pt x="2481591" y="3046697"/>
                  </a:lnTo>
                  <a:cubicBezTo>
                    <a:pt x="2481591" y="3183751"/>
                    <a:pt x="2370486" y="3294856"/>
                    <a:pt x="2233432" y="3294856"/>
                  </a:cubicBezTo>
                  <a:lnTo>
                    <a:pt x="248159" y="3294856"/>
                  </a:lnTo>
                  <a:cubicBezTo>
                    <a:pt x="111105" y="3294856"/>
                    <a:pt x="0" y="3183751"/>
                    <a:pt x="0" y="3046697"/>
                  </a:cubicBezTo>
                  <a:lnTo>
                    <a:pt x="0" y="248159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352" tIns="1467294" rIns="149352" bIns="808324" numCol="1" spcCol="1270" anchor="ctr" anchorCtr="0">
              <a:noAutofit/>
            </a:bodyPr>
            <a:lstStyle/>
            <a:p>
              <a:pPr marL="0" lvl="0" indent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sz="2100" kern="1200"/>
                <a:t>Trekker tjenestene ut av systemet</a:t>
              </a:r>
              <a:endParaRPr lang="en-US" sz="2100" kern="1200"/>
            </a:p>
          </p:txBody>
        </p:sp>
        <p:sp>
          <p:nvSpPr>
            <p:cNvPr id="8" name="Friform 7">
              <a:extLst>
                <a:ext uri="{FF2B5EF4-FFF2-40B4-BE49-F238E27FC236}">
                  <a16:creationId xmlns:a16="http://schemas.microsoft.com/office/drawing/2014/main" id="{588B9D59-F180-DFF8-C25E-F2FA6D7D0C70}"/>
                </a:ext>
              </a:extLst>
            </p:cNvPr>
            <p:cNvSpPr/>
            <p:nvPr/>
          </p:nvSpPr>
          <p:spPr>
            <a:xfrm>
              <a:off x="3587900" y="2744788"/>
              <a:ext cx="2481591" cy="3294856"/>
            </a:xfrm>
            <a:custGeom>
              <a:avLst/>
              <a:gdLst>
                <a:gd name="connsiteX0" fmla="*/ 0 w 2481591"/>
                <a:gd name="connsiteY0" fmla="*/ 248159 h 3294856"/>
                <a:gd name="connsiteX1" fmla="*/ 248159 w 2481591"/>
                <a:gd name="connsiteY1" fmla="*/ 0 h 3294856"/>
                <a:gd name="connsiteX2" fmla="*/ 2233432 w 2481591"/>
                <a:gd name="connsiteY2" fmla="*/ 0 h 3294856"/>
                <a:gd name="connsiteX3" fmla="*/ 2481591 w 2481591"/>
                <a:gd name="connsiteY3" fmla="*/ 248159 h 3294856"/>
                <a:gd name="connsiteX4" fmla="*/ 2481591 w 2481591"/>
                <a:gd name="connsiteY4" fmla="*/ 3046697 h 3294856"/>
                <a:gd name="connsiteX5" fmla="*/ 2233432 w 2481591"/>
                <a:gd name="connsiteY5" fmla="*/ 3294856 h 3294856"/>
                <a:gd name="connsiteX6" fmla="*/ 248159 w 2481591"/>
                <a:gd name="connsiteY6" fmla="*/ 3294856 h 3294856"/>
                <a:gd name="connsiteX7" fmla="*/ 0 w 2481591"/>
                <a:gd name="connsiteY7" fmla="*/ 3046697 h 3294856"/>
                <a:gd name="connsiteX8" fmla="*/ 0 w 2481591"/>
                <a:gd name="connsiteY8" fmla="*/ 248159 h 329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1591" h="3294856">
                  <a:moveTo>
                    <a:pt x="0" y="248159"/>
                  </a:moveTo>
                  <a:cubicBezTo>
                    <a:pt x="0" y="111105"/>
                    <a:pt x="111105" y="0"/>
                    <a:pt x="248159" y="0"/>
                  </a:cubicBezTo>
                  <a:lnTo>
                    <a:pt x="2233432" y="0"/>
                  </a:lnTo>
                  <a:cubicBezTo>
                    <a:pt x="2370486" y="0"/>
                    <a:pt x="2481591" y="111105"/>
                    <a:pt x="2481591" y="248159"/>
                  </a:cubicBezTo>
                  <a:lnTo>
                    <a:pt x="2481591" y="3046697"/>
                  </a:lnTo>
                  <a:cubicBezTo>
                    <a:pt x="2481591" y="3183751"/>
                    <a:pt x="2370486" y="3294856"/>
                    <a:pt x="2233432" y="3294856"/>
                  </a:cubicBezTo>
                  <a:lnTo>
                    <a:pt x="248159" y="3294856"/>
                  </a:lnTo>
                  <a:cubicBezTo>
                    <a:pt x="111105" y="3294856"/>
                    <a:pt x="0" y="3183751"/>
                    <a:pt x="0" y="3046697"/>
                  </a:cubicBezTo>
                  <a:lnTo>
                    <a:pt x="0" y="248159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352" tIns="1467294" rIns="149352" bIns="808324" numCol="1" spcCol="1270" anchor="ctr" anchorCtr="0">
              <a:noAutofit/>
            </a:bodyPr>
            <a:lstStyle/>
            <a:p>
              <a:pPr marL="0" lvl="0" indent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sz="2100" kern="1200"/>
                <a:t>Ser avhengigheter mellom tjenestene</a:t>
              </a:r>
              <a:endParaRPr lang="en-US" sz="2100" kern="1200"/>
            </a:p>
          </p:txBody>
        </p:sp>
        <p:sp>
          <p:nvSpPr>
            <p:cNvPr id="10" name="Friform 9">
              <a:extLst>
                <a:ext uri="{FF2B5EF4-FFF2-40B4-BE49-F238E27FC236}">
                  <a16:creationId xmlns:a16="http://schemas.microsoft.com/office/drawing/2014/main" id="{D260D5BD-B908-1179-E97D-96A84A10C145}"/>
                </a:ext>
              </a:extLst>
            </p:cNvPr>
            <p:cNvSpPr/>
            <p:nvPr/>
          </p:nvSpPr>
          <p:spPr>
            <a:xfrm>
              <a:off x="6143939" y="2744788"/>
              <a:ext cx="2481591" cy="3294856"/>
            </a:xfrm>
            <a:custGeom>
              <a:avLst/>
              <a:gdLst>
                <a:gd name="connsiteX0" fmla="*/ 0 w 2481591"/>
                <a:gd name="connsiteY0" fmla="*/ 248159 h 3294856"/>
                <a:gd name="connsiteX1" fmla="*/ 248159 w 2481591"/>
                <a:gd name="connsiteY1" fmla="*/ 0 h 3294856"/>
                <a:gd name="connsiteX2" fmla="*/ 2233432 w 2481591"/>
                <a:gd name="connsiteY2" fmla="*/ 0 h 3294856"/>
                <a:gd name="connsiteX3" fmla="*/ 2481591 w 2481591"/>
                <a:gd name="connsiteY3" fmla="*/ 248159 h 3294856"/>
                <a:gd name="connsiteX4" fmla="*/ 2481591 w 2481591"/>
                <a:gd name="connsiteY4" fmla="*/ 3046697 h 3294856"/>
                <a:gd name="connsiteX5" fmla="*/ 2233432 w 2481591"/>
                <a:gd name="connsiteY5" fmla="*/ 3294856 h 3294856"/>
                <a:gd name="connsiteX6" fmla="*/ 248159 w 2481591"/>
                <a:gd name="connsiteY6" fmla="*/ 3294856 h 3294856"/>
                <a:gd name="connsiteX7" fmla="*/ 0 w 2481591"/>
                <a:gd name="connsiteY7" fmla="*/ 3046697 h 3294856"/>
                <a:gd name="connsiteX8" fmla="*/ 0 w 2481591"/>
                <a:gd name="connsiteY8" fmla="*/ 248159 h 329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1591" h="3294856">
                  <a:moveTo>
                    <a:pt x="0" y="248159"/>
                  </a:moveTo>
                  <a:cubicBezTo>
                    <a:pt x="0" y="111105"/>
                    <a:pt x="111105" y="0"/>
                    <a:pt x="248159" y="0"/>
                  </a:cubicBezTo>
                  <a:lnTo>
                    <a:pt x="2233432" y="0"/>
                  </a:lnTo>
                  <a:cubicBezTo>
                    <a:pt x="2370486" y="0"/>
                    <a:pt x="2481591" y="111105"/>
                    <a:pt x="2481591" y="248159"/>
                  </a:cubicBezTo>
                  <a:lnTo>
                    <a:pt x="2481591" y="3046697"/>
                  </a:lnTo>
                  <a:cubicBezTo>
                    <a:pt x="2481591" y="3183751"/>
                    <a:pt x="2370486" y="3294856"/>
                    <a:pt x="2233432" y="3294856"/>
                  </a:cubicBezTo>
                  <a:lnTo>
                    <a:pt x="248159" y="3294856"/>
                  </a:lnTo>
                  <a:cubicBezTo>
                    <a:pt x="111105" y="3294856"/>
                    <a:pt x="0" y="3183751"/>
                    <a:pt x="0" y="3046697"/>
                  </a:cubicBezTo>
                  <a:lnTo>
                    <a:pt x="0" y="248159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352" tIns="1467294" rIns="149352" bIns="808324" numCol="1" spcCol="1270" anchor="ctr" anchorCtr="0">
              <a:noAutofit/>
            </a:bodyPr>
            <a:lstStyle/>
            <a:p>
              <a:pPr marL="0" lvl="0" indent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sz="2100" kern="1200"/>
                <a:t>Forklarer behovene gjennom brukerreiser</a:t>
              </a:r>
              <a:endParaRPr lang="en-US" sz="2100" kern="1200"/>
            </a:p>
          </p:txBody>
        </p:sp>
        <p:sp>
          <p:nvSpPr>
            <p:cNvPr id="14" name="Friform 13">
              <a:extLst>
                <a:ext uri="{FF2B5EF4-FFF2-40B4-BE49-F238E27FC236}">
                  <a16:creationId xmlns:a16="http://schemas.microsoft.com/office/drawing/2014/main" id="{86625C35-03C3-B7B7-24A3-2B034FC3BA14}"/>
                </a:ext>
              </a:extLst>
            </p:cNvPr>
            <p:cNvSpPr/>
            <p:nvPr/>
          </p:nvSpPr>
          <p:spPr>
            <a:xfrm>
              <a:off x="8699979" y="2744788"/>
              <a:ext cx="2481591" cy="3294856"/>
            </a:xfrm>
            <a:custGeom>
              <a:avLst/>
              <a:gdLst>
                <a:gd name="connsiteX0" fmla="*/ 0 w 2481591"/>
                <a:gd name="connsiteY0" fmla="*/ 248159 h 3294856"/>
                <a:gd name="connsiteX1" fmla="*/ 248159 w 2481591"/>
                <a:gd name="connsiteY1" fmla="*/ 0 h 3294856"/>
                <a:gd name="connsiteX2" fmla="*/ 2233432 w 2481591"/>
                <a:gd name="connsiteY2" fmla="*/ 0 h 3294856"/>
                <a:gd name="connsiteX3" fmla="*/ 2481591 w 2481591"/>
                <a:gd name="connsiteY3" fmla="*/ 248159 h 3294856"/>
                <a:gd name="connsiteX4" fmla="*/ 2481591 w 2481591"/>
                <a:gd name="connsiteY4" fmla="*/ 3046697 h 3294856"/>
                <a:gd name="connsiteX5" fmla="*/ 2233432 w 2481591"/>
                <a:gd name="connsiteY5" fmla="*/ 3294856 h 3294856"/>
                <a:gd name="connsiteX6" fmla="*/ 248159 w 2481591"/>
                <a:gd name="connsiteY6" fmla="*/ 3294856 h 3294856"/>
                <a:gd name="connsiteX7" fmla="*/ 0 w 2481591"/>
                <a:gd name="connsiteY7" fmla="*/ 3046697 h 3294856"/>
                <a:gd name="connsiteX8" fmla="*/ 0 w 2481591"/>
                <a:gd name="connsiteY8" fmla="*/ 248159 h 329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1591" h="3294856">
                  <a:moveTo>
                    <a:pt x="0" y="248159"/>
                  </a:moveTo>
                  <a:cubicBezTo>
                    <a:pt x="0" y="111105"/>
                    <a:pt x="111105" y="0"/>
                    <a:pt x="248159" y="0"/>
                  </a:cubicBezTo>
                  <a:lnTo>
                    <a:pt x="2233432" y="0"/>
                  </a:lnTo>
                  <a:cubicBezTo>
                    <a:pt x="2370486" y="0"/>
                    <a:pt x="2481591" y="111105"/>
                    <a:pt x="2481591" y="248159"/>
                  </a:cubicBezTo>
                  <a:lnTo>
                    <a:pt x="2481591" y="3046697"/>
                  </a:lnTo>
                  <a:cubicBezTo>
                    <a:pt x="2481591" y="3183751"/>
                    <a:pt x="2370486" y="3294856"/>
                    <a:pt x="2233432" y="3294856"/>
                  </a:cubicBezTo>
                  <a:lnTo>
                    <a:pt x="248159" y="3294856"/>
                  </a:lnTo>
                  <a:cubicBezTo>
                    <a:pt x="111105" y="3294856"/>
                    <a:pt x="0" y="3183751"/>
                    <a:pt x="0" y="3046697"/>
                  </a:cubicBezTo>
                  <a:lnTo>
                    <a:pt x="0" y="248159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352" tIns="1467294" rIns="149352" bIns="808324" numCol="1" spcCol="1270" anchor="ctr" anchorCtr="0">
              <a:noAutofit/>
            </a:bodyPr>
            <a:lstStyle/>
            <a:p>
              <a:pPr marL="0" lvl="0" indent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sz="2100" kern="1200"/>
                <a:t>Kartlegger systemet gjennom viktige prosesser</a:t>
              </a:r>
              <a:endParaRPr lang="en-US" sz="2100" kern="1200"/>
            </a:p>
          </p:txBody>
        </p:sp>
      </p:grpSp>
      <p:sp>
        <p:nvSpPr>
          <p:cNvPr id="7" name="TekstSylinder 6">
            <a:extLst>
              <a:ext uri="{FF2B5EF4-FFF2-40B4-BE49-F238E27FC236}">
                <a16:creationId xmlns:a16="http://schemas.microsoft.com/office/drawing/2014/main" id="{C2976AAC-94D0-3586-DCB5-49AF8309E203}"/>
              </a:ext>
            </a:extLst>
          </p:cNvPr>
          <p:cNvSpPr txBox="1"/>
          <p:nvPr/>
        </p:nvSpPr>
        <p:spPr>
          <a:xfrm>
            <a:off x="1008062" y="1202870"/>
            <a:ext cx="10062709" cy="830997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nb-NO" sz="2400"/>
              <a:t>For å skape en helhetlig forståelse av behovene VIGO-systemet dekker gjennom tjenester, har vi valgt en metodisk tilnærming som:</a:t>
            </a:r>
          </a:p>
        </p:txBody>
      </p:sp>
      <p:pic>
        <p:nvPicPr>
          <p:cNvPr id="12" name="Grafikk 11" descr="Rakett kontur">
            <a:extLst>
              <a:ext uri="{FF2B5EF4-FFF2-40B4-BE49-F238E27FC236}">
                <a16:creationId xmlns:a16="http://schemas.microsoft.com/office/drawing/2014/main" id="{DF6D0735-9961-3CFC-AEA0-B12C4EE3B6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929901" y="2587286"/>
            <a:ext cx="914400" cy="914400"/>
          </a:xfrm>
          <a:prstGeom prst="rect">
            <a:avLst/>
          </a:prstGeom>
        </p:spPr>
      </p:pic>
      <p:pic>
        <p:nvPicPr>
          <p:cNvPr id="17" name="Grafikk 16" descr="Bygger murvegg kontur">
            <a:extLst>
              <a:ext uri="{FF2B5EF4-FFF2-40B4-BE49-F238E27FC236}">
                <a16:creationId xmlns:a16="http://schemas.microsoft.com/office/drawing/2014/main" id="{3647D9E6-70E0-69B0-5D43-8EF4201FB3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26870" y="2587286"/>
            <a:ext cx="914400" cy="914400"/>
          </a:xfrm>
          <a:prstGeom prst="rect">
            <a:avLst/>
          </a:prstGeom>
        </p:spPr>
      </p:pic>
      <p:pic>
        <p:nvPicPr>
          <p:cNvPr id="6" name="Grafikk 5" descr="Arbeidsflyt kontur">
            <a:extLst>
              <a:ext uri="{FF2B5EF4-FFF2-40B4-BE49-F238E27FC236}">
                <a16:creationId xmlns:a16="http://schemas.microsoft.com/office/drawing/2014/main" id="{6F278D0D-16EC-0321-113E-7CA89E0AFD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85941" y="2587286"/>
            <a:ext cx="914400" cy="914400"/>
          </a:xfrm>
          <a:prstGeom prst="rect">
            <a:avLst/>
          </a:prstGeom>
        </p:spPr>
      </p:pic>
      <p:pic>
        <p:nvPicPr>
          <p:cNvPr id="13" name="Grafikk 12" descr="Puslespillbiter kontur">
            <a:extLst>
              <a:ext uri="{FF2B5EF4-FFF2-40B4-BE49-F238E27FC236}">
                <a16:creationId xmlns:a16="http://schemas.microsoft.com/office/drawing/2014/main" id="{3C23EBB4-F3F5-2137-B070-4AC800FE3F6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48310" y="258728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8199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98DB07-5A0C-AAC4-6CFD-65FFD209EB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4A05BE1-6EA2-4245-8B85-21A1EFD37E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35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A05BE1-6EA2-4245-8B85-21A1EFD3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07974E-3A95-D902-C48E-B15D096FA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098" y="352343"/>
            <a:ext cx="10154444" cy="769442"/>
          </a:xfrm>
        </p:spPr>
        <p:txBody>
          <a:bodyPr vert="horz"/>
          <a:lstStyle/>
          <a:p>
            <a:r>
              <a:rPr lang="nb-NO"/>
              <a:t>Agil VS Fossefallsmetodikk i utvikling av IT systemer</a:t>
            </a:r>
          </a:p>
        </p:txBody>
      </p:sp>
      <p:grpSp>
        <p:nvGrpSpPr>
          <p:cNvPr id="3" name="Google Shape;1690;p79">
            <a:extLst>
              <a:ext uri="{FF2B5EF4-FFF2-40B4-BE49-F238E27FC236}">
                <a16:creationId xmlns:a16="http://schemas.microsoft.com/office/drawing/2014/main" id="{D0082449-1524-ABD0-E560-AA54F4D7BCCA}"/>
              </a:ext>
            </a:extLst>
          </p:cNvPr>
          <p:cNvGrpSpPr/>
          <p:nvPr/>
        </p:nvGrpSpPr>
        <p:grpSpPr>
          <a:xfrm>
            <a:off x="1785634" y="3817336"/>
            <a:ext cx="2100508" cy="2101465"/>
            <a:chOff x="6103063" y="2268463"/>
            <a:chExt cx="4143052" cy="4144936"/>
          </a:xfrm>
        </p:grpSpPr>
        <p:sp>
          <p:nvSpPr>
            <p:cNvPr id="6" name="Google Shape;1691;p79">
              <a:extLst>
                <a:ext uri="{FF2B5EF4-FFF2-40B4-BE49-F238E27FC236}">
                  <a16:creationId xmlns:a16="http://schemas.microsoft.com/office/drawing/2014/main" id="{1147FCD6-1D12-0B20-91AE-CE8C91F195A5}"/>
                </a:ext>
              </a:extLst>
            </p:cNvPr>
            <p:cNvSpPr/>
            <p:nvPr/>
          </p:nvSpPr>
          <p:spPr>
            <a:xfrm>
              <a:off x="6103063" y="2273229"/>
              <a:ext cx="2168679" cy="648000"/>
            </a:xfrm>
            <a:prstGeom prst="homePlate">
              <a:avLst>
                <a:gd name="adj" fmla="val 43042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9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Google Shape;1692;p79">
              <a:extLst>
                <a:ext uri="{FF2B5EF4-FFF2-40B4-BE49-F238E27FC236}">
                  <a16:creationId xmlns:a16="http://schemas.microsoft.com/office/drawing/2014/main" id="{88C4F72B-7018-CD8D-F42B-25B2A17E78B6}"/>
                </a:ext>
              </a:extLst>
            </p:cNvPr>
            <p:cNvSpPr/>
            <p:nvPr/>
          </p:nvSpPr>
          <p:spPr>
            <a:xfrm>
              <a:off x="6103064" y="3694170"/>
              <a:ext cx="1287517" cy="2349112"/>
            </a:xfrm>
            <a:custGeom>
              <a:avLst/>
              <a:gdLst/>
              <a:ahLst/>
              <a:cxnLst/>
              <a:rect l="l" t="t" r="r" b="b"/>
              <a:pathLst>
                <a:path w="233" h="425" extrusionOk="0">
                  <a:moveTo>
                    <a:pt x="233" y="328"/>
                  </a:moveTo>
                  <a:cubicBezTo>
                    <a:pt x="147" y="270"/>
                    <a:pt x="107" y="168"/>
                    <a:pt x="125" y="71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4" y="59"/>
                    <a:pt x="0" y="88"/>
                    <a:pt x="0" y="117"/>
                  </a:cubicBezTo>
                  <a:cubicBezTo>
                    <a:pt x="0" y="245"/>
                    <a:pt x="64" y="358"/>
                    <a:pt x="162" y="425"/>
                  </a:cubicBezTo>
                  <a:cubicBezTo>
                    <a:pt x="154" y="346"/>
                    <a:pt x="154" y="346"/>
                    <a:pt x="154" y="346"/>
                  </a:cubicBezTo>
                  <a:lnTo>
                    <a:pt x="233" y="32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9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1693;p79">
              <a:extLst>
                <a:ext uri="{FF2B5EF4-FFF2-40B4-BE49-F238E27FC236}">
                  <a16:creationId xmlns:a16="http://schemas.microsoft.com/office/drawing/2014/main" id="{EEA0A296-9E71-7FEB-AF18-4B51E379E7CC}"/>
                </a:ext>
              </a:extLst>
            </p:cNvPr>
            <p:cNvSpPr/>
            <p:nvPr/>
          </p:nvSpPr>
          <p:spPr>
            <a:xfrm>
              <a:off x="8122322" y="2268463"/>
              <a:ext cx="1963507" cy="1650421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3955"/>
                  </a:moveTo>
                  <a:cubicBezTo>
                    <a:pt x="1308" y="4026"/>
                    <a:pt x="2648" y="4362"/>
                    <a:pt x="3859" y="5201"/>
                  </a:cubicBezTo>
                  <a:cubicBezTo>
                    <a:pt x="5155" y="6074"/>
                    <a:pt x="6113" y="7383"/>
                    <a:pt x="6732" y="8893"/>
                  </a:cubicBezTo>
                  <a:lnTo>
                    <a:pt x="8873" y="10000"/>
                  </a:lnTo>
                  <a:lnTo>
                    <a:pt x="10000" y="7718"/>
                  </a:lnTo>
                  <a:cubicBezTo>
                    <a:pt x="8423" y="3188"/>
                    <a:pt x="4648" y="0"/>
                    <a:pt x="282" y="0"/>
                  </a:cubicBezTo>
                  <a:lnTo>
                    <a:pt x="0" y="0"/>
                  </a:lnTo>
                  <a:lnTo>
                    <a:pt x="1493" y="2013"/>
                  </a:lnTo>
                  <a:lnTo>
                    <a:pt x="0" y="3955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9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1694;p79">
              <a:extLst>
                <a:ext uri="{FF2B5EF4-FFF2-40B4-BE49-F238E27FC236}">
                  <a16:creationId xmlns:a16="http://schemas.microsoft.com/office/drawing/2014/main" id="{C3F98BA1-60DB-56A1-2C7A-92C4A5A7ECA7}"/>
                </a:ext>
              </a:extLst>
            </p:cNvPr>
            <p:cNvSpPr/>
            <p:nvPr/>
          </p:nvSpPr>
          <p:spPr>
            <a:xfrm>
              <a:off x="9099720" y="3652626"/>
              <a:ext cx="1146395" cy="2258471"/>
            </a:xfrm>
            <a:custGeom>
              <a:avLst/>
              <a:gdLst/>
              <a:ahLst/>
              <a:cxnLst/>
              <a:rect l="l" t="t" r="r" b="b"/>
              <a:pathLst>
                <a:path w="207" h="408" extrusionOk="0">
                  <a:moveTo>
                    <a:pt x="207" y="124"/>
                  </a:moveTo>
                  <a:cubicBezTo>
                    <a:pt x="207" y="81"/>
                    <a:pt x="200" y="39"/>
                    <a:pt x="186" y="0"/>
                  </a:cubicBezTo>
                  <a:cubicBezTo>
                    <a:pt x="145" y="69"/>
                    <a:pt x="145" y="69"/>
                    <a:pt x="145" y="6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96" y="105"/>
                    <a:pt x="92" y="183"/>
                    <a:pt x="52" y="251"/>
                  </a:cubicBezTo>
                  <a:cubicBezTo>
                    <a:pt x="40" y="273"/>
                    <a:pt x="25" y="292"/>
                    <a:pt x="8" y="308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77" y="408"/>
                    <a:pt x="77" y="408"/>
                    <a:pt x="77" y="408"/>
                  </a:cubicBezTo>
                  <a:cubicBezTo>
                    <a:pt x="157" y="340"/>
                    <a:pt x="207" y="238"/>
                    <a:pt x="207" y="12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9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1695;p79">
              <a:extLst>
                <a:ext uri="{FF2B5EF4-FFF2-40B4-BE49-F238E27FC236}">
                  <a16:creationId xmlns:a16="http://schemas.microsoft.com/office/drawing/2014/main" id="{1549ABC8-2B13-87A5-359C-2271CDD77C3D}"/>
                </a:ext>
              </a:extLst>
            </p:cNvPr>
            <p:cNvSpPr/>
            <p:nvPr/>
          </p:nvSpPr>
          <p:spPr>
            <a:xfrm>
              <a:off x="7057813" y="5444674"/>
              <a:ext cx="2374676" cy="968725"/>
            </a:xfrm>
            <a:custGeom>
              <a:avLst/>
              <a:gdLst/>
              <a:ahLst/>
              <a:cxnLst/>
              <a:rect l="l" t="t" r="r" b="b"/>
              <a:pathLst>
                <a:path w="430" h="175" extrusionOk="0">
                  <a:moveTo>
                    <a:pt x="360" y="0"/>
                  </a:moveTo>
                  <a:cubicBezTo>
                    <a:pt x="282" y="61"/>
                    <a:pt x="173" y="73"/>
                    <a:pt x="82" y="2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64" y="155"/>
                    <a:pt x="131" y="175"/>
                    <a:pt x="203" y="175"/>
                  </a:cubicBezTo>
                  <a:cubicBezTo>
                    <a:pt x="288" y="175"/>
                    <a:pt x="367" y="146"/>
                    <a:pt x="430" y="98"/>
                  </a:cubicBezTo>
                  <a:cubicBezTo>
                    <a:pt x="352" y="80"/>
                    <a:pt x="352" y="80"/>
                    <a:pt x="352" y="80"/>
                  </a:cubicBezTo>
                  <a:lnTo>
                    <a:pt x="36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9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696;p79">
              <a:extLst>
                <a:ext uri="{FF2B5EF4-FFF2-40B4-BE49-F238E27FC236}">
                  <a16:creationId xmlns:a16="http://schemas.microsoft.com/office/drawing/2014/main" id="{607169CB-33C7-095A-D1F6-72A8B70D006E}"/>
                </a:ext>
              </a:extLst>
            </p:cNvPr>
            <p:cNvSpPr/>
            <p:nvPr/>
          </p:nvSpPr>
          <p:spPr>
            <a:xfrm>
              <a:off x="6400557" y="2474766"/>
              <a:ext cx="1314515" cy="2731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nb-NO" sz="900">
                  <a:solidFill>
                    <a:srgbClr val="FFFFFF"/>
                  </a:solidFill>
                  <a:latin typeface="Arial"/>
                  <a:cs typeface="Arial"/>
                  <a:sym typeface="Arial"/>
                </a:rPr>
                <a:t>Planlegge</a:t>
              </a:r>
              <a:endParaRPr lang="nb-NO"/>
            </a:p>
          </p:txBody>
        </p:sp>
        <p:sp>
          <p:nvSpPr>
            <p:cNvPr id="12" name="Google Shape;1697;p79">
              <a:extLst>
                <a:ext uri="{FF2B5EF4-FFF2-40B4-BE49-F238E27FC236}">
                  <a16:creationId xmlns:a16="http://schemas.microsoft.com/office/drawing/2014/main" id="{104D6119-45C1-89F4-B5F3-51FA745505F8}"/>
                </a:ext>
              </a:extLst>
            </p:cNvPr>
            <p:cNvSpPr txBox="1"/>
            <p:nvPr/>
          </p:nvSpPr>
          <p:spPr>
            <a:xfrm rot="2362776">
              <a:off x="8461834" y="2823779"/>
              <a:ext cx="1497355" cy="2820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>
                <a:spcBef>
                  <a:spcPts val="0"/>
                </a:spcBef>
                <a:spcAft>
                  <a:spcPts val="770"/>
                </a:spcAft>
                <a:buNone/>
              </a:pPr>
              <a:r>
                <a:rPr lang="nb-NO" sz="900">
                  <a:solidFill>
                    <a:schemeClr val="lt1"/>
                  </a:solidFill>
                  <a:latin typeface="Arial"/>
                  <a:cs typeface="Arial"/>
                  <a:sym typeface="Arial"/>
                </a:rPr>
                <a:t>Designe</a:t>
              </a:r>
              <a:endParaRPr lang="nb-NO"/>
            </a:p>
          </p:txBody>
        </p:sp>
        <p:sp>
          <p:nvSpPr>
            <p:cNvPr id="13" name="Google Shape;1698;p79">
              <a:extLst>
                <a:ext uri="{FF2B5EF4-FFF2-40B4-BE49-F238E27FC236}">
                  <a16:creationId xmlns:a16="http://schemas.microsoft.com/office/drawing/2014/main" id="{76AE8936-A108-DDF2-927A-30D7F8483579}"/>
                </a:ext>
              </a:extLst>
            </p:cNvPr>
            <p:cNvSpPr/>
            <p:nvPr/>
          </p:nvSpPr>
          <p:spPr>
            <a:xfrm>
              <a:off x="6935843" y="3126240"/>
              <a:ext cx="2448001" cy="2448000"/>
            </a:xfrm>
            <a:prstGeom prst="ellipse">
              <a:avLst/>
            </a:prstGeom>
            <a:noFill/>
            <a:ln w="12700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1699;p79">
              <a:extLst>
                <a:ext uri="{FF2B5EF4-FFF2-40B4-BE49-F238E27FC236}">
                  <a16:creationId xmlns:a16="http://schemas.microsoft.com/office/drawing/2014/main" id="{F4EF3150-E68F-FF58-1E3F-607353EA1DB2}"/>
                </a:ext>
              </a:extLst>
            </p:cNvPr>
            <p:cNvSpPr/>
            <p:nvPr/>
          </p:nvSpPr>
          <p:spPr>
            <a:xfrm>
              <a:off x="7287155" y="3843101"/>
              <a:ext cx="1812565" cy="10431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nb-NO" sz="1400" b="1">
                  <a:solidFill>
                    <a:schemeClr val="dk1"/>
                  </a:solidFill>
                  <a:latin typeface="+mj-lt"/>
                  <a:cs typeface="Arial"/>
                  <a:sym typeface="Arial"/>
                </a:rPr>
                <a:t>Agil Metodikk</a:t>
              </a:r>
              <a:endParaRPr lang="nb-NO" sz="1400" b="1">
                <a:latin typeface="+mj-lt"/>
              </a:endParaRPr>
            </a:p>
          </p:txBody>
        </p:sp>
        <p:sp>
          <p:nvSpPr>
            <p:cNvPr id="15" name="Google Shape;1700;p79">
              <a:extLst>
                <a:ext uri="{FF2B5EF4-FFF2-40B4-BE49-F238E27FC236}">
                  <a16:creationId xmlns:a16="http://schemas.microsoft.com/office/drawing/2014/main" id="{49693D5B-DF78-C453-6E29-FB78A74B9BA3}"/>
                </a:ext>
              </a:extLst>
            </p:cNvPr>
            <p:cNvSpPr txBox="1"/>
            <p:nvPr/>
          </p:nvSpPr>
          <p:spPr>
            <a:xfrm>
              <a:off x="7151092" y="5746076"/>
              <a:ext cx="2019597" cy="2905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>
                <a:lnSpc>
                  <a:spcPct val="152000"/>
                </a:lnSpc>
                <a:spcBef>
                  <a:spcPts val="0"/>
                </a:spcBef>
                <a:spcAft>
                  <a:spcPts val="770"/>
                </a:spcAft>
                <a:buNone/>
              </a:pPr>
              <a:r>
                <a:rPr lang="nb-NO" sz="900">
                  <a:solidFill>
                    <a:schemeClr val="bg1"/>
                  </a:solidFill>
                  <a:latin typeface="Arial"/>
                  <a:cs typeface="Arial"/>
                  <a:sym typeface="Arial"/>
                </a:rPr>
                <a:t>Lansere</a:t>
              </a:r>
              <a:endParaRPr lang="nb-NO">
                <a:solidFill>
                  <a:schemeClr val="bg1"/>
                </a:solidFill>
              </a:endParaRPr>
            </a:p>
          </p:txBody>
        </p:sp>
        <p:sp>
          <p:nvSpPr>
            <p:cNvPr id="16" name="Google Shape;1701;p79">
              <a:extLst>
                <a:ext uri="{FF2B5EF4-FFF2-40B4-BE49-F238E27FC236}">
                  <a16:creationId xmlns:a16="http://schemas.microsoft.com/office/drawing/2014/main" id="{86245F7E-A56C-2401-CE25-AD64D51E93C3}"/>
                </a:ext>
              </a:extLst>
            </p:cNvPr>
            <p:cNvSpPr txBox="1"/>
            <p:nvPr/>
          </p:nvSpPr>
          <p:spPr>
            <a:xfrm rot="17442704">
              <a:off x="8507179" y="4736146"/>
              <a:ext cx="2325347" cy="34987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>
                <a:lnSpc>
                  <a:spcPct val="171000"/>
                </a:lnSpc>
                <a:spcBef>
                  <a:spcPts val="0"/>
                </a:spcBef>
                <a:spcAft>
                  <a:spcPts val="770"/>
                </a:spcAft>
                <a:buNone/>
              </a:pPr>
              <a:r>
                <a:rPr lang="nb-NO" sz="900">
                  <a:solidFill>
                    <a:schemeClr val="lt1"/>
                  </a:solidFill>
                  <a:latin typeface="Arial"/>
                  <a:cs typeface="Arial"/>
                  <a:sym typeface="Arial"/>
                </a:rPr>
                <a:t>Utvikle</a:t>
              </a:r>
              <a:endParaRPr lang="nb-NO"/>
            </a:p>
          </p:txBody>
        </p:sp>
        <p:sp>
          <p:nvSpPr>
            <p:cNvPr id="17" name="Google Shape;1702;p79">
              <a:extLst>
                <a:ext uri="{FF2B5EF4-FFF2-40B4-BE49-F238E27FC236}">
                  <a16:creationId xmlns:a16="http://schemas.microsoft.com/office/drawing/2014/main" id="{639BC76D-4C77-1AEA-5CD2-012990618B52}"/>
                </a:ext>
              </a:extLst>
            </p:cNvPr>
            <p:cNvSpPr txBox="1"/>
            <p:nvPr/>
          </p:nvSpPr>
          <p:spPr>
            <a:xfrm rot="4362611">
              <a:off x="5635346" y="4736608"/>
              <a:ext cx="2217669" cy="2786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>
                <a:lnSpc>
                  <a:spcPct val="171000"/>
                </a:lnSpc>
                <a:spcBef>
                  <a:spcPts val="0"/>
                </a:spcBef>
                <a:spcAft>
                  <a:spcPts val="770"/>
                </a:spcAft>
                <a:buNone/>
              </a:pPr>
              <a:r>
                <a:rPr lang="nb-NO" sz="900">
                  <a:solidFill>
                    <a:schemeClr val="lt1"/>
                  </a:solidFill>
                  <a:latin typeface="Arial"/>
                  <a:cs typeface="Arial"/>
                  <a:sym typeface="Arial"/>
                </a:rPr>
                <a:t>Evaluere</a:t>
              </a:r>
              <a:endParaRPr lang="nb-NO"/>
            </a:p>
          </p:txBody>
        </p:sp>
      </p:grpSp>
      <p:grpSp>
        <p:nvGrpSpPr>
          <p:cNvPr id="19" name="Google Shape;6709;p149">
            <a:extLst>
              <a:ext uri="{FF2B5EF4-FFF2-40B4-BE49-F238E27FC236}">
                <a16:creationId xmlns:a16="http://schemas.microsoft.com/office/drawing/2014/main" id="{4850F762-E293-F3EA-D3D2-14986CF11D3B}"/>
              </a:ext>
            </a:extLst>
          </p:cNvPr>
          <p:cNvGrpSpPr/>
          <p:nvPr/>
        </p:nvGrpSpPr>
        <p:grpSpPr>
          <a:xfrm>
            <a:off x="6698618" y="4370070"/>
            <a:ext cx="4624657" cy="1204057"/>
            <a:chOff x="609611" y="3007802"/>
            <a:chExt cx="8078352" cy="2210091"/>
          </a:xfrm>
        </p:grpSpPr>
        <p:grpSp>
          <p:nvGrpSpPr>
            <p:cNvPr id="35" name="Google Shape;6710;p149">
              <a:extLst>
                <a:ext uri="{FF2B5EF4-FFF2-40B4-BE49-F238E27FC236}">
                  <a16:creationId xmlns:a16="http://schemas.microsoft.com/office/drawing/2014/main" id="{AB78F1C4-0FF8-0A6C-583B-5AD08DF520BA}"/>
                </a:ext>
              </a:extLst>
            </p:cNvPr>
            <p:cNvGrpSpPr/>
            <p:nvPr/>
          </p:nvGrpSpPr>
          <p:grpSpPr>
            <a:xfrm>
              <a:off x="772481" y="3417892"/>
              <a:ext cx="7915482" cy="1800001"/>
              <a:chOff x="772481" y="3417892"/>
              <a:chExt cx="7915482" cy="1800001"/>
            </a:xfrm>
          </p:grpSpPr>
          <p:sp>
            <p:nvSpPr>
              <p:cNvPr id="48" name="Google Shape;6711;p149">
                <a:extLst>
                  <a:ext uri="{FF2B5EF4-FFF2-40B4-BE49-F238E27FC236}">
                    <a16:creationId xmlns:a16="http://schemas.microsoft.com/office/drawing/2014/main" id="{DC627A99-FDC4-FA53-486E-F22F19FE9B6C}"/>
                  </a:ext>
                </a:extLst>
              </p:cNvPr>
              <p:cNvSpPr/>
              <p:nvPr/>
            </p:nvSpPr>
            <p:spPr>
              <a:xfrm rot="5400000">
                <a:off x="1136570" y="4130492"/>
                <a:ext cx="1800000" cy="374801"/>
              </a:xfrm>
              <a:prstGeom prst="parallelogram">
                <a:avLst>
                  <a:gd name="adj" fmla="val 112950"/>
                </a:avLst>
              </a:prstGeom>
              <a:solidFill>
                <a:srgbClr val="909090">
                  <a:alpha val="69803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6712;p149">
                <a:extLst>
                  <a:ext uri="{FF2B5EF4-FFF2-40B4-BE49-F238E27FC236}">
                    <a16:creationId xmlns:a16="http://schemas.microsoft.com/office/drawing/2014/main" id="{8BD5AE0C-DC00-FA85-2BB6-CCF7D370325A}"/>
                  </a:ext>
                </a:extLst>
              </p:cNvPr>
              <p:cNvSpPr/>
              <p:nvPr/>
            </p:nvSpPr>
            <p:spPr>
              <a:xfrm rot="5400000">
                <a:off x="2584748" y="4130492"/>
                <a:ext cx="1800000" cy="374801"/>
              </a:xfrm>
              <a:prstGeom prst="parallelogram">
                <a:avLst>
                  <a:gd name="adj" fmla="val 112950"/>
                </a:avLst>
              </a:prstGeom>
              <a:solidFill>
                <a:srgbClr val="B1B1B1">
                  <a:alpha val="69803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6713;p149">
                <a:extLst>
                  <a:ext uri="{FF2B5EF4-FFF2-40B4-BE49-F238E27FC236}">
                    <a16:creationId xmlns:a16="http://schemas.microsoft.com/office/drawing/2014/main" id="{92BBB5D2-F097-056D-F4D5-A9A01F6BFE0F}"/>
                  </a:ext>
                </a:extLst>
              </p:cNvPr>
              <p:cNvSpPr/>
              <p:nvPr/>
            </p:nvSpPr>
            <p:spPr>
              <a:xfrm rot="5400000">
                <a:off x="4032925" y="4130492"/>
                <a:ext cx="1800000" cy="374801"/>
              </a:xfrm>
              <a:prstGeom prst="parallelogram">
                <a:avLst>
                  <a:gd name="adj" fmla="val 112950"/>
                </a:avLst>
              </a:prstGeom>
              <a:solidFill>
                <a:srgbClr val="ED8075">
                  <a:alpha val="69803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6714;p149">
                <a:extLst>
                  <a:ext uri="{FF2B5EF4-FFF2-40B4-BE49-F238E27FC236}">
                    <a16:creationId xmlns:a16="http://schemas.microsoft.com/office/drawing/2014/main" id="{97071203-05FD-8131-7038-9ECD2B8F9ECC}"/>
                  </a:ext>
                </a:extLst>
              </p:cNvPr>
              <p:cNvSpPr/>
              <p:nvPr/>
            </p:nvSpPr>
            <p:spPr>
              <a:xfrm rot="5400000">
                <a:off x="5481103" y="4130492"/>
                <a:ext cx="1800000" cy="374801"/>
              </a:xfrm>
              <a:prstGeom prst="parallelogram">
                <a:avLst>
                  <a:gd name="adj" fmla="val 112950"/>
                </a:avLst>
              </a:prstGeom>
              <a:solidFill>
                <a:srgbClr val="E996A4">
                  <a:alpha val="69803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6716;p149">
                <a:extLst>
                  <a:ext uri="{FF2B5EF4-FFF2-40B4-BE49-F238E27FC236}">
                    <a16:creationId xmlns:a16="http://schemas.microsoft.com/office/drawing/2014/main" id="{7457F48F-EBAE-5AC0-FAD2-24CECAB21782}"/>
                  </a:ext>
                </a:extLst>
              </p:cNvPr>
              <p:cNvSpPr/>
              <p:nvPr/>
            </p:nvSpPr>
            <p:spPr>
              <a:xfrm rot="5400000">
                <a:off x="6955881" y="4130492"/>
                <a:ext cx="1799999" cy="374800"/>
              </a:xfrm>
              <a:prstGeom prst="parallelogram">
                <a:avLst>
                  <a:gd name="adj" fmla="val 112950"/>
                </a:avLst>
              </a:prstGeom>
              <a:solidFill>
                <a:srgbClr val="FFBC5A">
                  <a:alpha val="69803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6717;p149">
                <a:extLst>
                  <a:ext uri="{FF2B5EF4-FFF2-40B4-BE49-F238E27FC236}">
                    <a16:creationId xmlns:a16="http://schemas.microsoft.com/office/drawing/2014/main" id="{25316485-19CC-B4F9-BDB9-3F498E26D792}"/>
                  </a:ext>
                </a:extLst>
              </p:cNvPr>
              <p:cNvSpPr/>
              <p:nvPr/>
            </p:nvSpPr>
            <p:spPr>
              <a:xfrm>
                <a:off x="2220658" y="3417892"/>
                <a:ext cx="1080000" cy="180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6718;p149">
                <a:extLst>
                  <a:ext uri="{FF2B5EF4-FFF2-40B4-BE49-F238E27FC236}">
                    <a16:creationId xmlns:a16="http://schemas.microsoft.com/office/drawing/2014/main" id="{CAB8B343-73A9-83EB-06B9-156A4CB9DF6B}"/>
                  </a:ext>
                </a:extLst>
              </p:cNvPr>
              <p:cNvSpPr/>
              <p:nvPr/>
            </p:nvSpPr>
            <p:spPr>
              <a:xfrm>
                <a:off x="3668836" y="3417892"/>
                <a:ext cx="1080000" cy="180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6719;p149">
                <a:extLst>
                  <a:ext uri="{FF2B5EF4-FFF2-40B4-BE49-F238E27FC236}">
                    <a16:creationId xmlns:a16="http://schemas.microsoft.com/office/drawing/2014/main" id="{98644E4F-2679-D991-45D5-9E3649E96126}"/>
                  </a:ext>
                </a:extLst>
              </p:cNvPr>
              <p:cNvSpPr/>
              <p:nvPr/>
            </p:nvSpPr>
            <p:spPr>
              <a:xfrm>
                <a:off x="5117013" y="3417892"/>
                <a:ext cx="1080000" cy="180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6720;p149">
                <a:extLst>
                  <a:ext uri="{FF2B5EF4-FFF2-40B4-BE49-F238E27FC236}">
                    <a16:creationId xmlns:a16="http://schemas.microsoft.com/office/drawing/2014/main" id="{165800A6-0DD2-1430-DBC0-A4AFE3B35614}"/>
                  </a:ext>
                </a:extLst>
              </p:cNvPr>
              <p:cNvSpPr/>
              <p:nvPr/>
            </p:nvSpPr>
            <p:spPr>
              <a:xfrm>
                <a:off x="6565191" y="3417892"/>
                <a:ext cx="1080000" cy="1800000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6722;p149">
                <a:extLst>
                  <a:ext uri="{FF2B5EF4-FFF2-40B4-BE49-F238E27FC236}">
                    <a16:creationId xmlns:a16="http://schemas.microsoft.com/office/drawing/2014/main" id="{9486140F-4AC0-F4BA-8654-49B8A0C85811}"/>
                  </a:ext>
                </a:extLst>
              </p:cNvPr>
              <p:cNvSpPr/>
              <p:nvPr/>
            </p:nvSpPr>
            <p:spPr>
              <a:xfrm rot="-5400000">
                <a:off x="412481" y="3777892"/>
                <a:ext cx="1800000" cy="1080000"/>
              </a:xfrm>
              <a:custGeom>
                <a:avLst/>
                <a:gdLst/>
                <a:ahLst/>
                <a:cxnLst/>
                <a:rect l="l" t="t" r="r" b="b"/>
                <a:pathLst>
                  <a:path w="1807800" h="1080000" extrusionOk="0">
                    <a:moveTo>
                      <a:pt x="0" y="0"/>
                    </a:moveTo>
                    <a:lnTo>
                      <a:pt x="1807800" y="0"/>
                    </a:lnTo>
                    <a:lnTo>
                      <a:pt x="1807800" y="1080000"/>
                    </a:lnTo>
                    <a:lnTo>
                      <a:pt x="0" y="1080000"/>
                    </a:lnTo>
                    <a:lnTo>
                      <a:pt x="384070" y="54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6723;p149">
                <a:extLst>
                  <a:ext uri="{FF2B5EF4-FFF2-40B4-BE49-F238E27FC236}">
                    <a16:creationId xmlns:a16="http://schemas.microsoft.com/office/drawing/2014/main" id="{271CAB0E-80EE-B29E-C50F-F51BE2A104CA}"/>
                  </a:ext>
                </a:extLst>
              </p:cNvPr>
              <p:cNvSpPr/>
              <p:nvPr/>
            </p:nvSpPr>
            <p:spPr>
              <a:xfrm rot="5400000">
                <a:off x="7463963" y="3993892"/>
                <a:ext cx="1799999" cy="648000"/>
              </a:xfrm>
              <a:prstGeom prst="triangle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nb-NO"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36" name="Google Shape;6724;p149">
              <a:extLst>
                <a:ext uri="{FF2B5EF4-FFF2-40B4-BE49-F238E27FC236}">
                  <a16:creationId xmlns:a16="http://schemas.microsoft.com/office/drawing/2014/main" id="{083D93EC-1AD1-5664-2C3B-5C2FE216DA99}"/>
                </a:ext>
              </a:extLst>
            </p:cNvPr>
            <p:cNvSpPr/>
            <p:nvPr/>
          </p:nvSpPr>
          <p:spPr>
            <a:xfrm>
              <a:off x="609611" y="3038849"/>
              <a:ext cx="1677388" cy="2913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nb-NO" sz="1000" b="1">
                  <a:latin typeface="+mj-lt"/>
                  <a:ea typeface="Arial"/>
                  <a:cs typeface="Arial"/>
                  <a:sym typeface="Arial"/>
                </a:rPr>
                <a:t>Behovsanalyse</a:t>
              </a:r>
              <a:r>
                <a:rPr lang="nb-NO" sz="1000">
                  <a:latin typeface="+mj-lt"/>
                  <a:ea typeface="Arial"/>
                  <a:cs typeface="Arial"/>
                  <a:sym typeface="Arial"/>
                </a:rPr>
                <a:t> </a:t>
              </a:r>
              <a:endParaRPr lang="nb-NO">
                <a:latin typeface="+mj-lt"/>
              </a:endParaRPr>
            </a:p>
          </p:txBody>
        </p:sp>
        <p:sp>
          <p:nvSpPr>
            <p:cNvPr id="38" name="Google Shape;6726;p149">
              <a:extLst>
                <a:ext uri="{FF2B5EF4-FFF2-40B4-BE49-F238E27FC236}">
                  <a16:creationId xmlns:a16="http://schemas.microsoft.com/office/drawing/2014/main" id="{4A5E1A3F-43E3-1B6C-76B0-D8D46DD01C36}"/>
                </a:ext>
              </a:extLst>
            </p:cNvPr>
            <p:cNvSpPr/>
            <p:nvPr/>
          </p:nvSpPr>
          <p:spPr>
            <a:xfrm>
              <a:off x="2364242" y="3021220"/>
              <a:ext cx="1288515" cy="32658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nb-NO" sz="1000" b="1">
                  <a:latin typeface="+mj-lt"/>
                  <a:ea typeface="Arial"/>
                  <a:cs typeface="Arial"/>
                  <a:sym typeface="Arial"/>
                </a:rPr>
                <a:t>Utvikle</a:t>
              </a:r>
              <a:r>
                <a:rPr lang="nb-NO" sz="1000">
                  <a:latin typeface="+mj-lt"/>
                  <a:ea typeface="Arial"/>
                  <a:cs typeface="Arial"/>
                  <a:sym typeface="Arial"/>
                </a:rPr>
                <a:t> </a:t>
              </a:r>
              <a:endParaRPr lang="nb-NO">
                <a:latin typeface="+mj-lt"/>
              </a:endParaRPr>
            </a:p>
          </p:txBody>
        </p:sp>
        <p:sp>
          <p:nvSpPr>
            <p:cNvPr id="40" name="Google Shape;6728;p149">
              <a:extLst>
                <a:ext uri="{FF2B5EF4-FFF2-40B4-BE49-F238E27FC236}">
                  <a16:creationId xmlns:a16="http://schemas.microsoft.com/office/drawing/2014/main" id="{B4E9F534-F9A7-50FA-0314-5D9BA6F3089E}"/>
                </a:ext>
              </a:extLst>
            </p:cNvPr>
            <p:cNvSpPr/>
            <p:nvPr/>
          </p:nvSpPr>
          <p:spPr>
            <a:xfrm>
              <a:off x="3936065" y="3007802"/>
              <a:ext cx="1288515" cy="353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nb-NO" sz="1000" b="1">
                  <a:latin typeface="+mj-lt"/>
                  <a:cs typeface="Arial"/>
                  <a:sym typeface="Arial"/>
                </a:rPr>
                <a:t>Teste</a:t>
              </a:r>
              <a:endParaRPr lang="nb-NO">
                <a:latin typeface="+mj-lt"/>
              </a:endParaRPr>
            </a:p>
          </p:txBody>
        </p:sp>
        <p:sp>
          <p:nvSpPr>
            <p:cNvPr id="42" name="Google Shape;6730;p149">
              <a:extLst>
                <a:ext uri="{FF2B5EF4-FFF2-40B4-BE49-F238E27FC236}">
                  <a16:creationId xmlns:a16="http://schemas.microsoft.com/office/drawing/2014/main" id="{9E0E60A7-25DB-6AC7-870B-C760025E3CE1}"/>
                </a:ext>
              </a:extLst>
            </p:cNvPr>
            <p:cNvSpPr/>
            <p:nvPr/>
          </p:nvSpPr>
          <p:spPr>
            <a:xfrm>
              <a:off x="4988385" y="3021220"/>
              <a:ext cx="1451294" cy="32658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nb-NO" sz="1000" b="1">
                  <a:latin typeface="+mj-lt"/>
                  <a:ea typeface="Arial"/>
                  <a:cs typeface="Arial"/>
                  <a:sym typeface="Arial"/>
                </a:rPr>
                <a:t>Implementere </a:t>
              </a:r>
              <a:endParaRPr lang="nb-NO" b="1">
                <a:latin typeface="+mj-lt"/>
              </a:endParaRPr>
            </a:p>
          </p:txBody>
        </p:sp>
        <p:sp>
          <p:nvSpPr>
            <p:cNvPr id="44" name="Google Shape;6732;p149">
              <a:extLst>
                <a:ext uri="{FF2B5EF4-FFF2-40B4-BE49-F238E27FC236}">
                  <a16:creationId xmlns:a16="http://schemas.microsoft.com/office/drawing/2014/main" id="{2CB5601A-5BEB-D232-D712-A9E47A85D92A}"/>
                </a:ext>
              </a:extLst>
            </p:cNvPr>
            <p:cNvSpPr/>
            <p:nvPr/>
          </p:nvSpPr>
          <p:spPr>
            <a:xfrm>
              <a:off x="6457200" y="3021220"/>
              <a:ext cx="1288517" cy="32658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nb-NO" sz="1000" b="1">
                  <a:latin typeface="+mj-lt"/>
                  <a:ea typeface="Arial"/>
                  <a:cs typeface="Arial"/>
                  <a:sym typeface="Arial"/>
                </a:rPr>
                <a:t>Vedlikeholde</a:t>
              </a:r>
              <a:endParaRPr lang="nb-NO">
                <a:latin typeface="+mj-lt"/>
              </a:endParaRPr>
            </a:p>
          </p:txBody>
        </p:sp>
      </p:grpSp>
      <p:grpSp>
        <p:nvGrpSpPr>
          <p:cNvPr id="20" name="Google Shape;6736;p149">
            <a:extLst>
              <a:ext uri="{FF2B5EF4-FFF2-40B4-BE49-F238E27FC236}">
                <a16:creationId xmlns:a16="http://schemas.microsoft.com/office/drawing/2014/main" id="{414DF465-8654-E3E1-D411-C2956657B547}"/>
              </a:ext>
            </a:extLst>
          </p:cNvPr>
          <p:cNvGrpSpPr/>
          <p:nvPr/>
        </p:nvGrpSpPr>
        <p:grpSpPr>
          <a:xfrm>
            <a:off x="7727851" y="4695476"/>
            <a:ext cx="409422" cy="410218"/>
            <a:chOff x="991" y="0"/>
            <a:chExt cx="6682" cy="6695"/>
          </a:xfrm>
        </p:grpSpPr>
        <p:sp>
          <p:nvSpPr>
            <p:cNvPr id="33" name="Google Shape;6737;p149">
              <a:extLst>
                <a:ext uri="{FF2B5EF4-FFF2-40B4-BE49-F238E27FC236}">
                  <a16:creationId xmlns:a16="http://schemas.microsoft.com/office/drawing/2014/main" id="{ABF012A4-87E0-2126-828D-5E7AB0A8E69A}"/>
                </a:ext>
              </a:extLst>
            </p:cNvPr>
            <p:cNvSpPr/>
            <p:nvPr/>
          </p:nvSpPr>
          <p:spPr>
            <a:xfrm>
              <a:off x="991" y="0"/>
              <a:ext cx="6682" cy="6695"/>
            </a:xfrm>
            <a:custGeom>
              <a:avLst/>
              <a:gdLst/>
              <a:ahLst/>
              <a:cxnLst/>
              <a:rect l="l" t="t" r="r" b="b"/>
              <a:pathLst>
                <a:path w="6682" h="6695" extrusionOk="0">
                  <a:moveTo>
                    <a:pt x="1656" y="12"/>
                  </a:moveTo>
                  <a:lnTo>
                    <a:pt x="1656" y="0"/>
                  </a:lnTo>
                  <a:lnTo>
                    <a:pt x="1372" y="0"/>
                  </a:lnTo>
                  <a:lnTo>
                    <a:pt x="1372" y="12"/>
                  </a:lnTo>
                  <a:lnTo>
                    <a:pt x="0" y="12"/>
                  </a:lnTo>
                  <a:lnTo>
                    <a:pt x="0" y="6695"/>
                  </a:lnTo>
                  <a:lnTo>
                    <a:pt x="6682" y="6695"/>
                  </a:lnTo>
                  <a:lnTo>
                    <a:pt x="6682" y="12"/>
                  </a:lnTo>
                  <a:lnTo>
                    <a:pt x="1656" y="12"/>
                  </a:lnTo>
                  <a:close/>
                  <a:moveTo>
                    <a:pt x="284" y="6411"/>
                  </a:moveTo>
                  <a:lnTo>
                    <a:pt x="284" y="298"/>
                  </a:lnTo>
                  <a:lnTo>
                    <a:pt x="1372" y="298"/>
                  </a:lnTo>
                  <a:lnTo>
                    <a:pt x="1372" y="1956"/>
                  </a:lnTo>
                  <a:lnTo>
                    <a:pt x="628" y="2384"/>
                  </a:lnTo>
                  <a:lnTo>
                    <a:pt x="628" y="3326"/>
                  </a:lnTo>
                  <a:lnTo>
                    <a:pt x="914" y="3326"/>
                  </a:lnTo>
                  <a:lnTo>
                    <a:pt x="914" y="2550"/>
                  </a:lnTo>
                  <a:lnTo>
                    <a:pt x="1514" y="2202"/>
                  </a:lnTo>
                  <a:lnTo>
                    <a:pt x="2115" y="2550"/>
                  </a:lnTo>
                  <a:lnTo>
                    <a:pt x="2115" y="3326"/>
                  </a:lnTo>
                  <a:lnTo>
                    <a:pt x="2399" y="3326"/>
                  </a:lnTo>
                  <a:lnTo>
                    <a:pt x="2399" y="2384"/>
                  </a:lnTo>
                  <a:lnTo>
                    <a:pt x="1656" y="1956"/>
                  </a:lnTo>
                  <a:lnTo>
                    <a:pt x="1656" y="298"/>
                  </a:lnTo>
                  <a:lnTo>
                    <a:pt x="6398" y="298"/>
                  </a:lnTo>
                  <a:lnTo>
                    <a:pt x="6398" y="5369"/>
                  </a:lnTo>
                  <a:lnTo>
                    <a:pt x="6098" y="5369"/>
                  </a:lnTo>
                  <a:lnTo>
                    <a:pt x="6098" y="4201"/>
                  </a:lnTo>
                  <a:lnTo>
                    <a:pt x="4651" y="4201"/>
                  </a:lnTo>
                  <a:lnTo>
                    <a:pt x="4651" y="5369"/>
                  </a:lnTo>
                  <a:lnTo>
                    <a:pt x="4401" y="5369"/>
                  </a:lnTo>
                  <a:lnTo>
                    <a:pt x="4401" y="4201"/>
                  </a:lnTo>
                  <a:lnTo>
                    <a:pt x="2953" y="4201"/>
                  </a:lnTo>
                  <a:lnTo>
                    <a:pt x="2953" y="5369"/>
                  </a:lnTo>
                  <a:lnTo>
                    <a:pt x="2085" y="5369"/>
                  </a:lnTo>
                  <a:lnTo>
                    <a:pt x="2085" y="5655"/>
                  </a:lnTo>
                  <a:lnTo>
                    <a:pt x="6398" y="5655"/>
                  </a:lnTo>
                  <a:lnTo>
                    <a:pt x="6398" y="6411"/>
                  </a:lnTo>
                  <a:lnTo>
                    <a:pt x="284" y="6411"/>
                  </a:lnTo>
                  <a:close/>
                  <a:moveTo>
                    <a:pt x="5826" y="5369"/>
                  </a:moveTo>
                  <a:lnTo>
                    <a:pt x="4923" y="5369"/>
                  </a:lnTo>
                  <a:lnTo>
                    <a:pt x="4923" y="4471"/>
                  </a:lnTo>
                  <a:lnTo>
                    <a:pt x="5826" y="4471"/>
                  </a:lnTo>
                  <a:lnTo>
                    <a:pt x="5826" y="5369"/>
                  </a:lnTo>
                  <a:close/>
                  <a:moveTo>
                    <a:pt x="4129" y="5369"/>
                  </a:moveTo>
                  <a:lnTo>
                    <a:pt x="3223" y="5369"/>
                  </a:lnTo>
                  <a:lnTo>
                    <a:pt x="3223" y="4471"/>
                  </a:lnTo>
                  <a:lnTo>
                    <a:pt x="4129" y="4471"/>
                  </a:lnTo>
                  <a:lnTo>
                    <a:pt x="4129" y="536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6738;p149">
              <a:extLst>
                <a:ext uri="{FF2B5EF4-FFF2-40B4-BE49-F238E27FC236}">
                  <a16:creationId xmlns:a16="http://schemas.microsoft.com/office/drawing/2014/main" id="{9921F806-33CD-19A3-B3F7-F6F0657C6539}"/>
                </a:ext>
              </a:extLst>
            </p:cNvPr>
            <p:cNvSpPr/>
            <p:nvPr/>
          </p:nvSpPr>
          <p:spPr>
            <a:xfrm>
              <a:off x="1483" y="3206"/>
              <a:ext cx="2045" cy="2047"/>
            </a:xfrm>
            <a:custGeom>
              <a:avLst/>
              <a:gdLst/>
              <a:ahLst/>
              <a:cxnLst/>
              <a:rect l="l" t="t" r="r" b="b"/>
              <a:pathLst>
                <a:path w="2045" h="2047" extrusionOk="0">
                  <a:moveTo>
                    <a:pt x="1022" y="0"/>
                  </a:moveTo>
                  <a:lnTo>
                    <a:pt x="0" y="1023"/>
                  </a:lnTo>
                  <a:lnTo>
                    <a:pt x="1022" y="2047"/>
                  </a:lnTo>
                  <a:lnTo>
                    <a:pt x="2045" y="1023"/>
                  </a:lnTo>
                  <a:lnTo>
                    <a:pt x="1022" y="0"/>
                  </a:lnTo>
                  <a:close/>
                  <a:moveTo>
                    <a:pt x="382" y="1023"/>
                  </a:moveTo>
                  <a:lnTo>
                    <a:pt x="1022" y="383"/>
                  </a:lnTo>
                  <a:lnTo>
                    <a:pt x="1661" y="1023"/>
                  </a:lnTo>
                  <a:lnTo>
                    <a:pt x="1022" y="1663"/>
                  </a:lnTo>
                  <a:lnTo>
                    <a:pt x="382" y="102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1" name="Google Shape;6739;p149">
            <a:extLst>
              <a:ext uri="{FF2B5EF4-FFF2-40B4-BE49-F238E27FC236}">
                <a16:creationId xmlns:a16="http://schemas.microsoft.com/office/drawing/2014/main" id="{0CD3D696-E5E4-79F0-11EB-C23895D62A16}"/>
              </a:ext>
            </a:extLst>
          </p:cNvPr>
          <p:cNvGrpSpPr/>
          <p:nvPr/>
        </p:nvGrpSpPr>
        <p:grpSpPr>
          <a:xfrm>
            <a:off x="9386285" y="4695476"/>
            <a:ext cx="410280" cy="410218"/>
            <a:chOff x="986" y="0"/>
            <a:chExt cx="6714" cy="6713"/>
          </a:xfrm>
        </p:grpSpPr>
        <p:sp>
          <p:nvSpPr>
            <p:cNvPr id="28" name="Google Shape;6740;p149">
              <a:extLst>
                <a:ext uri="{FF2B5EF4-FFF2-40B4-BE49-F238E27FC236}">
                  <a16:creationId xmlns:a16="http://schemas.microsoft.com/office/drawing/2014/main" id="{20CB9E32-04DF-B41D-6778-39D61A4087DD}"/>
                </a:ext>
              </a:extLst>
            </p:cNvPr>
            <p:cNvSpPr/>
            <p:nvPr/>
          </p:nvSpPr>
          <p:spPr>
            <a:xfrm>
              <a:off x="986" y="0"/>
              <a:ext cx="6714" cy="6713"/>
            </a:xfrm>
            <a:custGeom>
              <a:avLst/>
              <a:gdLst/>
              <a:ahLst/>
              <a:cxnLst/>
              <a:rect l="l" t="t" r="r" b="b"/>
              <a:pathLst>
                <a:path w="6714" h="6713" extrusionOk="0">
                  <a:moveTo>
                    <a:pt x="0" y="0"/>
                  </a:moveTo>
                  <a:lnTo>
                    <a:pt x="0" y="6713"/>
                  </a:lnTo>
                  <a:lnTo>
                    <a:pt x="6714" y="6713"/>
                  </a:lnTo>
                  <a:lnTo>
                    <a:pt x="6714" y="0"/>
                  </a:lnTo>
                  <a:lnTo>
                    <a:pt x="0" y="0"/>
                  </a:lnTo>
                  <a:close/>
                  <a:moveTo>
                    <a:pt x="6428" y="6427"/>
                  </a:moveTo>
                  <a:lnTo>
                    <a:pt x="286" y="6427"/>
                  </a:lnTo>
                  <a:lnTo>
                    <a:pt x="286" y="286"/>
                  </a:lnTo>
                  <a:lnTo>
                    <a:pt x="6428" y="286"/>
                  </a:lnTo>
                  <a:lnTo>
                    <a:pt x="6428" y="642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6741;p149">
              <a:extLst>
                <a:ext uri="{FF2B5EF4-FFF2-40B4-BE49-F238E27FC236}">
                  <a16:creationId xmlns:a16="http://schemas.microsoft.com/office/drawing/2014/main" id="{AE24AD36-D761-6EFA-A492-C5490D5C642D}"/>
                </a:ext>
              </a:extLst>
            </p:cNvPr>
            <p:cNvSpPr/>
            <p:nvPr/>
          </p:nvSpPr>
          <p:spPr>
            <a:xfrm>
              <a:off x="2624" y="902"/>
              <a:ext cx="3440" cy="916"/>
            </a:xfrm>
            <a:custGeom>
              <a:avLst/>
              <a:gdLst/>
              <a:ahLst/>
              <a:cxnLst/>
              <a:rect l="l" t="t" r="r" b="b"/>
              <a:pathLst>
                <a:path w="3440" h="916" extrusionOk="0">
                  <a:moveTo>
                    <a:pt x="1719" y="286"/>
                  </a:moveTo>
                  <a:lnTo>
                    <a:pt x="1719" y="286"/>
                  </a:lnTo>
                  <a:lnTo>
                    <a:pt x="1773" y="288"/>
                  </a:lnTo>
                  <a:lnTo>
                    <a:pt x="1827" y="290"/>
                  </a:lnTo>
                  <a:lnTo>
                    <a:pt x="1879" y="292"/>
                  </a:lnTo>
                  <a:lnTo>
                    <a:pt x="1933" y="298"/>
                  </a:lnTo>
                  <a:lnTo>
                    <a:pt x="1985" y="304"/>
                  </a:lnTo>
                  <a:lnTo>
                    <a:pt x="2037" y="310"/>
                  </a:lnTo>
                  <a:lnTo>
                    <a:pt x="2089" y="318"/>
                  </a:lnTo>
                  <a:lnTo>
                    <a:pt x="2141" y="328"/>
                  </a:lnTo>
                  <a:lnTo>
                    <a:pt x="2193" y="338"/>
                  </a:lnTo>
                  <a:lnTo>
                    <a:pt x="2243" y="352"/>
                  </a:lnTo>
                  <a:lnTo>
                    <a:pt x="2295" y="364"/>
                  </a:lnTo>
                  <a:lnTo>
                    <a:pt x="2345" y="378"/>
                  </a:lnTo>
                  <a:lnTo>
                    <a:pt x="2395" y="394"/>
                  </a:lnTo>
                  <a:lnTo>
                    <a:pt x="2443" y="412"/>
                  </a:lnTo>
                  <a:lnTo>
                    <a:pt x="2493" y="430"/>
                  </a:lnTo>
                  <a:lnTo>
                    <a:pt x="2541" y="450"/>
                  </a:lnTo>
                  <a:lnTo>
                    <a:pt x="2589" y="470"/>
                  </a:lnTo>
                  <a:lnTo>
                    <a:pt x="2635" y="492"/>
                  </a:lnTo>
                  <a:lnTo>
                    <a:pt x="2683" y="514"/>
                  </a:lnTo>
                  <a:lnTo>
                    <a:pt x="2729" y="538"/>
                  </a:lnTo>
                  <a:lnTo>
                    <a:pt x="2775" y="564"/>
                  </a:lnTo>
                  <a:lnTo>
                    <a:pt x="2821" y="590"/>
                  </a:lnTo>
                  <a:lnTo>
                    <a:pt x="2865" y="618"/>
                  </a:lnTo>
                  <a:lnTo>
                    <a:pt x="2909" y="646"/>
                  </a:lnTo>
                  <a:lnTo>
                    <a:pt x="2953" y="676"/>
                  </a:lnTo>
                  <a:lnTo>
                    <a:pt x="2995" y="706"/>
                  </a:lnTo>
                  <a:lnTo>
                    <a:pt x="3037" y="738"/>
                  </a:lnTo>
                  <a:lnTo>
                    <a:pt x="3077" y="772"/>
                  </a:lnTo>
                  <a:lnTo>
                    <a:pt x="3119" y="806"/>
                  </a:lnTo>
                  <a:lnTo>
                    <a:pt x="3159" y="842"/>
                  </a:lnTo>
                  <a:lnTo>
                    <a:pt x="3197" y="878"/>
                  </a:lnTo>
                  <a:lnTo>
                    <a:pt x="3235" y="916"/>
                  </a:lnTo>
                  <a:lnTo>
                    <a:pt x="3440" y="712"/>
                  </a:lnTo>
                  <a:lnTo>
                    <a:pt x="3440" y="712"/>
                  </a:lnTo>
                  <a:lnTo>
                    <a:pt x="3395" y="670"/>
                  </a:lnTo>
                  <a:lnTo>
                    <a:pt x="3351" y="628"/>
                  </a:lnTo>
                  <a:lnTo>
                    <a:pt x="3305" y="588"/>
                  </a:lnTo>
                  <a:lnTo>
                    <a:pt x="3259" y="550"/>
                  </a:lnTo>
                  <a:lnTo>
                    <a:pt x="3213" y="512"/>
                  </a:lnTo>
                  <a:lnTo>
                    <a:pt x="3165" y="476"/>
                  </a:lnTo>
                  <a:lnTo>
                    <a:pt x="3117" y="442"/>
                  </a:lnTo>
                  <a:lnTo>
                    <a:pt x="3067" y="408"/>
                  </a:lnTo>
                  <a:lnTo>
                    <a:pt x="3017" y="376"/>
                  </a:lnTo>
                  <a:lnTo>
                    <a:pt x="2967" y="344"/>
                  </a:lnTo>
                  <a:lnTo>
                    <a:pt x="2915" y="314"/>
                  </a:lnTo>
                  <a:lnTo>
                    <a:pt x="2863" y="286"/>
                  </a:lnTo>
                  <a:lnTo>
                    <a:pt x="2811" y="258"/>
                  </a:lnTo>
                  <a:lnTo>
                    <a:pt x="2759" y="232"/>
                  </a:lnTo>
                  <a:lnTo>
                    <a:pt x="2705" y="208"/>
                  </a:lnTo>
                  <a:lnTo>
                    <a:pt x="2651" y="184"/>
                  </a:lnTo>
                  <a:lnTo>
                    <a:pt x="2595" y="162"/>
                  </a:lnTo>
                  <a:lnTo>
                    <a:pt x="2541" y="142"/>
                  </a:lnTo>
                  <a:lnTo>
                    <a:pt x="2485" y="122"/>
                  </a:lnTo>
                  <a:lnTo>
                    <a:pt x="2427" y="104"/>
                  </a:lnTo>
                  <a:lnTo>
                    <a:pt x="2371" y="88"/>
                  </a:lnTo>
                  <a:lnTo>
                    <a:pt x="2313" y="74"/>
                  </a:lnTo>
                  <a:lnTo>
                    <a:pt x="2255" y="60"/>
                  </a:lnTo>
                  <a:lnTo>
                    <a:pt x="2197" y="48"/>
                  </a:lnTo>
                  <a:lnTo>
                    <a:pt x="2139" y="36"/>
                  </a:lnTo>
                  <a:lnTo>
                    <a:pt x="2079" y="28"/>
                  </a:lnTo>
                  <a:lnTo>
                    <a:pt x="2021" y="20"/>
                  </a:lnTo>
                  <a:lnTo>
                    <a:pt x="1961" y="12"/>
                  </a:lnTo>
                  <a:lnTo>
                    <a:pt x="1901" y="8"/>
                  </a:lnTo>
                  <a:lnTo>
                    <a:pt x="1841" y="4"/>
                  </a:lnTo>
                  <a:lnTo>
                    <a:pt x="1781" y="2"/>
                  </a:lnTo>
                  <a:lnTo>
                    <a:pt x="1719" y="0"/>
                  </a:lnTo>
                  <a:lnTo>
                    <a:pt x="1719" y="0"/>
                  </a:lnTo>
                  <a:lnTo>
                    <a:pt x="1659" y="2"/>
                  </a:lnTo>
                  <a:lnTo>
                    <a:pt x="1599" y="4"/>
                  </a:lnTo>
                  <a:lnTo>
                    <a:pt x="1539" y="8"/>
                  </a:lnTo>
                  <a:lnTo>
                    <a:pt x="1479" y="12"/>
                  </a:lnTo>
                  <a:lnTo>
                    <a:pt x="1419" y="20"/>
                  </a:lnTo>
                  <a:lnTo>
                    <a:pt x="1359" y="28"/>
                  </a:lnTo>
                  <a:lnTo>
                    <a:pt x="1301" y="36"/>
                  </a:lnTo>
                  <a:lnTo>
                    <a:pt x="1241" y="48"/>
                  </a:lnTo>
                  <a:lnTo>
                    <a:pt x="1183" y="60"/>
                  </a:lnTo>
                  <a:lnTo>
                    <a:pt x="1125" y="74"/>
                  </a:lnTo>
                  <a:lnTo>
                    <a:pt x="1069" y="88"/>
                  </a:lnTo>
                  <a:lnTo>
                    <a:pt x="1011" y="104"/>
                  </a:lnTo>
                  <a:lnTo>
                    <a:pt x="955" y="122"/>
                  </a:lnTo>
                  <a:lnTo>
                    <a:pt x="899" y="142"/>
                  </a:lnTo>
                  <a:lnTo>
                    <a:pt x="843" y="162"/>
                  </a:lnTo>
                  <a:lnTo>
                    <a:pt x="789" y="184"/>
                  </a:lnTo>
                  <a:lnTo>
                    <a:pt x="735" y="208"/>
                  </a:lnTo>
                  <a:lnTo>
                    <a:pt x="681" y="232"/>
                  </a:lnTo>
                  <a:lnTo>
                    <a:pt x="627" y="258"/>
                  </a:lnTo>
                  <a:lnTo>
                    <a:pt x="575" y="286"/>
                  </a:lnTo>
                  <a:lnTo>
                    <a:pt x="523" y="314"/>
                  </a:lnTo>
                  <a:lnTo>
                    <a:pt x="473" y="344"/>
                  </a:lnTo>
                  <a:lnTo>
                    <a:pt x="421" y="376"/>
                  </a:lnTo>
                  <a:lnTo>
                    <a:pt x="371" y="408"/>
                  </a:lnTo>
                  <a:lnTo>
                    <a:pt x="323" y="442"/>
                  </a:lnTo>
                  <a:lnTo>
                    <a:pt x="275" y="476"/>
                  </a:lnTo>
                  <a:lnTo>
                    <a:pt x="227" y="512"/>
                  </a:lnTo>
                  <a:lnTo>
                    <a:pt x="179" y="550"/>
                  </a:lnTo>
                  <a:lnTo>
                    <a:pt x="133" y="588"/>
                  </a:lnTo>
                  <a:lnTo>
                    <a:pt x="89" y="628"/>
                  </a:lnTo>
                  <a:lnTo>
                    <a:pt x="45" y="670"/>
                  </a:lnTo>
                  <a:lnTo>
                    <a:pt x="0" y="712"/>
                  </a:lnTo>
                  <a:lnTo>
                    <a:pt x="203" y="916"/>
                  </a:lnTo>
                  <a:lnTo>
                    <a:pt x="203" y="916"/>
                  </a:lnTo>
                  <a:lnTo>
                    <a:pt x="241" y="878"/>
                  </a:lnTo>
                  <a:lnTo>
                    <a:pt x="281" y="842"/>
                  </a:lnTo>
                  <a:lnTo>
                    <a:pt x="321" y="806"/>
                  </a:lnTo>
                  <a:lnTo>
                    <a:pt x="361" y="772"/>
                  </a:lnTo>
                  <a:lnTo>
                    <a:pt x="403" y="738"/>
                  </a:lnTo>
                  <a:lnTo>
                    <a:pt x="445" y="706"/>
                  </a:lnTo>
                  <a:lnTo>
                    <a:pt x="487" y="676"/>
                  </a:lnTo>
                  <a:lnTo>
                    <a:pt x="531" y="646"/>
                  </a:lnTo>
                  <a:lnTo>
                    <a:pt x="575" y="618"/>
                  </a:lnTo>
                  <a:lnTo>
                    <a:pt x="619" y="590"/>
                  </a:lnTo>
                  <a:lnTo>
                    <a:pt x="665" y="564"/>
                  </a:lnTo>
                  <a:lnTo>
                    <a:pt x="711" y="538"/>
                  </a:lnTo>
                  <a:lnTo>
                    <a:pt x="757" y="514"/>
                  </a:lnTo>
                  <a:lnTo>
                    <a:pt x="803" y="492"/>
                  </a:lnTo>
                  <a:lnTo>
                    <a:pt x="851" y="470"/>
                  </a:lnTo>
                  <a:lnTo>
                    <a:pt x="899" y="450"/>
                  </a:lnTo>
                  <a:lnTo>
                    <a:pt x="947" y="430"/>
                  </a:lnTo>
                  <a:lnTo>
                    <a:pt x="995" y="412"/>
                  </a:lnTo>
                  <a:lnTo>
                    <a:pt x="1045" y="394"/>
                  </a:lnTo>
                  <a:lnTo>
                    <a:pt x="1095" y="378"/>
                  </a:lnTo>
                  <a:lnTo>
                    <a:pt x="1145" y="364"/>
                  </a:lnTo>
                  <a:lnTo>
                    <a:pt x="1195" y="352"/>
                  </a:lnTo>
                  <a:lnTo>
                    <a:pt x="1247" y="338"/>
                  </a:lnTo>
                  <a:lnTo>
                    <a:pt x="1297" y="328"/>
                  </a:lnTo>
                  <a:lnTo>
                    <a:pt x="1349" y="318"/>
                  </a:lnTo>
                  <a:lnTo>
                    <a:pt x="1401" y="310"/>
                  </a:lnTo>
                  <a:lnTo>
                    <a:pt x="1453" y="304"/>
                  </a:lnTo>
                  <a:lnTo>
                    <a:pt x="1507" y="298"/>
                  </a:lnTo>
                  <a:lnTo>
                    <a:pt x="1559" y="292"/>
                  </a:lnTo>
                  <a:lnTo>
                    <a:pt x="1613" y="290"/>
                  </a:lnTo>
                  <a:lnTo>
                    <a:pt x="1667" y="288"/>
                  </a:lnTo>
                  <a:lnTo>
                    <a:pt x="1719" y="286"/>
                  </a:lnTo>
                  <a:lnTo>
                    <a:pt x="1719" y="28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6742;p149">
              <a:extLst>
                <a:ext uri="{FF2B5EF4-FFF2-40B4-BE49-F238E27FC236}">
                  <a16:creationId xmlns:a16="http://schemas.microsoft.com/office/drawing/2014/main" id="{95B5B43E-0C51-BC78-5A3E-926BE26CBEAB}"/>
                </a:ext>
              </a:extLst>
            </p:cNvPr>
            <p:cNvSpPr/>
            <p:nvPr/>
          </p:nvSpPr>
          <p:spPr>
            <a:xfrm>
              <a:off x="3175" y="1682"/>
              <a:ext cx="2336" cy="686"/>
            </a:xfrm>
            <a:custGeom>
              <a:avLst/>
              <a:gdLst/>
              <a:ahLst/>
              <a:cxnLst/>
              <a:rect l="l" t="t" r="r" b="b"/>
              <a:pathLst>
                <a:path w="2336" h="686" extrusionOk="0">
                  <a:moveTo>
                    <a:pt x="2336" y="484"/>
                  </a:moveTo>
                  <a:lnTo>
                    <a:pt x="2336" y="484"/>
                  </a:lnTo>
                  <a:lnTo>
                    <a:pt x="2276" y="424"/>
                  </a:lnTo>
                  <a:lnTo>
                    <a:pt x="2212" y="370"/>
                  </a:lnTo>
                  <a:lnTo>
                    <a:pt x="2146" y="320"/>
                  </a:lnTo>
                  <a:lnTo>
                    <a:pt x="2078" y="272"/>
                  </a:lnTo>
                  <a:lnTo>
                    <a:pt x="2008" y="228"/>
                  </a:lnTo>
                  <a:lnTo>
                    <a:pt x="1938" y="188"/>
                  </a:lnTo>
                  <a:lnTo>
                    <a:pt x="1864" y="154"/>
                  </a:lnTo>
                  <a:lnTo>
                    <a:pt x="1790" y="120"/>
                  </a:lnTo>
                  <a:lnTo>
                    <a:pt x="1716" y="92"/>
                  </a:lnTo>
                  <a:lnTo>
                    <a:pt x="1640" y="68"/>
                  </a:lnTo>
                  <a:lnTo>
                    <a:pt x="1562" y="48"/>
                  </a:lnTo>
                  <a:lnTo>
                    <a:pt x="1484" y="30"/>
                  </a:lnTo>
                  <a:lnTo>
                    <a:pt x="1406" y="18"/>
                  </a:lnTo>
                  <a:lnTo>
                    <a:pt x="1328" y="8"/>
                  </a:lnTo>
                  <a:lnTo>
                    <a:pt x="1248" y="2"/>
                  </a:lnTo>
                  <a:lnTo>
                    <a:pt x="1168" y="0"/>
                  </a:lnTo>
                  <a:lnTo>
                    <a:pt x="1090" y="2"/>
                  </a:lnTo>
                  <a:lnTo>
                    <a:pt x="1010" y="8"/>
                  </a:lnTo>
                  <a:lnTo>
                    <a:pt x="932" y="18"/>
                  </a:lnTo>
                  <a:lnTo>
                    <a:pt x="852" y="30"/>
                  </a:lnTo>
                  <a:lnTo>
                    <a:pt x="776" y="48"/>
                  </a:lnTo>
                  <a:lnTo>
                    <a:pt x="698" y="68"/>
                  </a:lnTo>
                  <a:lnTo>
                    <a:pt x="622" y="92"/>
                  </a:lnTo>
                  <a:lnTo>
                    <a:pt x="546" y="120"/>
                  </a:lnTo>
                  <a:lnTo>
                    <a:pt x="472" y="154"/>
                  </a:lnTo>
                  <a:lnTo>
                    <a:pt x="400" y="188"/>
                  </a:lnTo>
                  <a:lnTo>
                    <a:pt x="328" y="228"/>
                  </a:lnTo>
                  <a:lnTo>
                    <a:pt x="260" y="272"/>
                  </a:lnTo>
                  <a:lnTo>
                    <a:pt x="192" y="320"/>
                  </a:lnTo>
                  <a:lnTo>
                    <a:pt x="126" y="370"/>
                  </a:lnTo>
                  <a:lnTo>
                    <a:pt x="62" y="424"/>
                  </a:lnTo>
                  <a:lnTo>
                    <a:pt x="0" y="484"/>
                  </a:lnTo>
                  <a:lnTo>
                    <a:pt x="202" y="686"/>
                  </a:lnTo>
                  <a:lnTo>
                    <a:pt x="202" y="686"/>
                  </a:lnTo>
                  <a:lnTo>
                    <a:pt x="254" y="638"/>
                  </a:lnTo>
                  <a:lnTo>
                    <a:pt x="306" y="592"/>
                  </a:lnTo>
                  <a:lnTo>
                    <a:pt x="360" y="550"/>
                  </a:lnTo>
                  <a:lnTo>
                    <a:pt x="416" y="510"/>
                  </a:lnTo>
                  <a:lnTo>
                    <a:pt x="474" y="476"/>
                  </a:lnTo>
                  <a:lnTo>
                    <a:pt x="534" y="442"/>
                  </a:lnTo>
                  <a:lnTo>
                    <a:pt x="594" y="412"/>
                  </a:lnTo>
                  <a:lnTo>
                    <a:pt x="654" y="386"/>
                  </a:lnTo>
                  <a:lnTo>
                    <a:pt x="716" y="362"/>
                  </a:lnTo>
                  <a:lnTo>
                    <a:pt x="780" y="342"/>
                  </a:lnTo>
                  <a:lnTo>
                    <a:pt x="844" y="326"/>
                  </a:lnTo>
                  <a:lnTo>
                    <a:pt x="908" y="312"/>
                  </a:lnTo>
                  <a:lnTo>
                    <a:pt x="972" y="300"/>
                  </a:lnTo>
                  <a:lnTo>
                    <a:pt x="1038" y="292"/>
                  </a:lnTo>
                  <a:lnTo>
                    <a:pt x="1104" y="288"/>
                  </a:lnTo>
                  <a:lnTo>
                    <a:pt x="1168" y="286"/>
                  </a:lnTo>
                  <a:lnTo>
                    <a:pt x="1234" y="288"/>
                  </a:lnTo>
                  <a:lnTo>
                    <a:pt x="1300" y="292"/>
                  </a:lnTo>
                  <a:lnTo>
                    <a:pt x="1364" y="300"/>
                  </a:lnTo>
                  <a:lnTo>
                    <a:pt x="1430" y="312"/>
                  </a:lnTo>
                  <a:lnTo>
                    <a:pt x="1494" y="326"/>
                  </a:lnTo>
                  <a:lnTo>
                    <a:pt x="1558" y="342"/>
                  </a:lnTo>
                  <a:lnTo>
                    <a:pt x="1620" y="362"/>
                  </a:lnTo>
                  <a:lnTo>
                    <a:pt x="1682" y="386"/>
                  </a:lnTo>
                  <a:lnTo>
                    <a:pt x="1744" y="412"/>
                  </a:lnTo>
                  <a:lnTo>
                    <a:pt x="1804" y="442"/>
                  </a:lnTo>
                  <a:lnTo>
                    <a:pt x="1862" y="476"/>
                  </a:lnTo>
                  <a:lnTo>
                    <a:pt x="1920" y="510"/>
                  </a:lnTo>
                  <a:lnTo>
                    <a:pt x="1976" y="550"/>
                  </a:lnTo>
                  <a:lnTo>
                    <a:pt x="2030" y="592"/>
                  </a:lnTo>
                  <a:lnTo>
                    <a:pt x="2084" y="638"/>
                  </a:lnTo>
                  <a:lnTo>
                    <a:pt x="2134" y="686"/>
                  </a:lnTo>
                  <a:lnTo>
                    <a:pt x="2336" y="48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6743;p149">
              <a:extLst>
                <a:ext uri="{FF2B5EF4-FFF2-40B4-BE49-F238E27FC236}">
                  <a16:creationId xmlns:a16="http://schemas.microsoft.com/office/drawing/2014/main" id="{0707596C-8D0A-0657-3A79-5226F723CF9B}"/>
                </a:ext>
              </a:extLst>
            </p:cNvPr>
            <p:cNvSpPr/>
            <p:nvPr/>
          </p:nvSpPr>
          <p:spPr>
            <a:xfrm>
              <a:off x="3711" y="2440"/>
              <a:ext cx="1264" cy="464"/>
            </a:xfrm>
            <a:custGeom>
              <a:avLst/>
              <a:gdLst/>
              <a:ahLst/>
              <a:cxnLst/>
              <a:rect l="l" t="t" r="r" b="b"/>
              <a:pathLst>
                <a:path w="1264" h="464" extrusionOk="0">
                  <a:moveTo>
                    <a:pt x="204" y="464"/>
                  </a:moveTo>
                  <a:lnTo>
                    <a:pt x="204" y="464"/>
                  </a:lnTo>
                  <a:lnTo>
                    <a:pt x="226" y="442"/>
                  </a:lnTo>
                  <a:lnTo>
                    <a:pt x="250" y="422"/>
                  </a:lnTo>
                  <a:lnTo>
                    <a:pt x="274" y="404"/>
                  </a:lnTo>
                  <a:lnTo>
                    <a:pt x="298" y="386"/>
                  </a:lnTo>
                  <a:lnTo>
                    <a:pt x="324" y="370"/>
                  </a:lnTo>
                  <a:lnTo>
                    <a:pt x="350" y="356"/>
                  </a:lnTo>
                  <a:lnTo>
                    <a:pt x="376" y="342"/>
                  </a:lnTo>
                  <a:lnTo>
                    <a:pt x="404" y="330"/>
                  </a:lnTo>
                  <a:lnTo>
                    <a:pt x="432" y="320"/>
                  </a:lnTo>
                  <a:lnTo>
                    <a:pt x="460" y="312"/>
                  </a:lnTo>
                  <a:lnTo>
                    <a:pt x="488" y="304"/>
                  </a:lnTo>
                  <a:lnTo>
                    <a:pt x="516" y="298"/>
                  </a:lnTo>
                  <a:lnTo>
                    <a:pt x="546" y="292"/>
                  </a:lnTo>
                  <a:lnTo>
                    <a:pt x="574" y="290"/>
                  </a:lnTo>
                  <a:lnTo>
                    <a:pt x="604" y="288"/>
                  </a:lnTo>
                  <a:lnTo>
                    <a:pt x="632" y="286"/>
                  </a:lnTo>
                  <a:lnTo>
                    <a:pt x="662" y="288"/>
                  </a:lnTo>
                  <a:lnTo>
                    <a:pt x="690" y="290"/>
                  </a:lnTo>
                  <a:lnTo>
                    <a:pt x="720" y="292"/>
                  </a:lnTo>
                  <a:lnTo>
                    <a:pt x="748" y="298"/>
                  </a:lnTo>
                  <a:lnTo>
                    <a:pt x="778" y="304"/>
                  </a:lnTo>
                  <a:lnTo>
                    <a:pt x="806" y="312"/>
                  </a:lnTo>
                  <a:lnTo>
                    <a:pt x="834" y="320"/>
                  </a:lnTo>
                  <a:lnTo>
                    <a:pt x="862" y="330"/>
                  </a:lnTo>
                  <a:lnTo>
                    <a:pt x="888" y="342"/>
                  </a:lnTo>
                  <a:lnTo>
                    <a:pt x="916" y="356"/>
                  </a:lnTo>
                  <a:lnTo>
                    <a:pt x="942" y="370"/>
                  </a:lnTo>
                  <a:lnTo>
                    <a:pt x="966" y="386"/>
                  </a:lnTo>
                  <a:lnTo>
                    <a:pt x="992" y="404"/>
                  </a:lnTo>
                  <a:lnTo>
                    <a:pt x="1016" y="422"/>
                  </a:lnTo>
                  <a:lnTo>
                    <a:pt x="1040" y="442"/>
                  </a:lnTo>
                  <a:lnTo>
                    <a:pt x="1062" y="464"/>
                  </a:lnTo>
                  <a:lnTo>
                    <a:pt x="1264" y="262"/>
                  </a:lnTo>
                  <a:lnTo>
                    <a:pt x="1264" y="262"/>
                  </a:lnTo>
                  <a:lnTo>
                    <a:pt x="1232" y="230"/>
                  </a:lnTo>
                  <a:lnTo>
                    <a:pt x="1196" y="200"/>
                  </a:lnTo>
                  <a:lnTo>
                    <a:pt x="1160" y="172"/>
                  </a:lnTo>
                  <a:lnTo>
                    <a:pt x="1124" y="148"/>
                  </a:lnTo>
                  <a:lnTo>
                    <a:pt x="1086" y="124"/>
                  </a:lnTo>
                  <a:lnTo>
                    <a:pt x="1048" y="102"/>
                  </a:lnTo>
                  <a:lnTo>
                    <a:pt x="1008" y="84"/>
                  </a:lnTo>
                  <a:lnTo>
                    <a:pt x="968" y="66"/>
                  </a:lnTo>
                  <a:lnTo>
                    <a:pt x="928" y="50"/>
                  </a:lnTo>
                  <a:lnTo>
                    <a:pt x="888" y="38"/>
                  </a:lnTo>
                  <a:lnTo>
                    <a:pt x="846" y="26"/>
                  </a:lnTo>
                  <a:lnTo>
                    <a:pt x="804" y="16"/>
                  </a:lnTo>
                  <a:lnTo>
                    <a:pt x="760" y="10"/>
                  </a:lnTo>
                  <a:lnTo>
                    <a:pt x="718" y="4"/>
                  </a:lnTo>
                  <a:lnTo>
                    <a:pt x="676" y="2"/>
                  </a:lnTo>
                  <a:lnTo>
                    <a:pt x="632" y="0"/>
                  </a:lnTo>
                  <a:lnTo>
                    <a:pt x="590" y="2"/>
                  </a:lnTo>
                  <a:lnTo>
                    <a:pt x="546" y="4"/>
                  </a:lnTo>
                  <a:lnTo>
                    <a:pt x="504" y="10"/>
                  </a:lnTo>
                  <a:lnTo>
                    <a:pt x="462" y="16"/>
                  </a:lnTo>
                  <a:lnTo>
                    <a:pt x="420" y="26"/>
                  </a:lnTo>
                  <a:lnTo>
                    <a:pt x="378" y="38"/>
                  </a:lnTo>
                  <a:lnTo>
                    <a:pt x="336" y="50"/>
                  </a:lnTo>
                  <a:lnTo>
                    <a:pt x="296" y="66"/>
                  </a:lnTo>
                  <a:lnTo>
                    <a:pt x="256" y="84"/>
                  </a:lnTo>
                  <a:lnTo>
                    <a:pt x="216" y="102"/>
                  </a:lnTo>
                  <a:lnTo>
                    <a:pt x="178" y="124"/>
                  </a:lnTo>
                  <a:lnTo>
                    <a:pt x="140" y="148"/>
                  </a:lnTo>
                  <a:lnTo>
                    <a:pt x="104" y="172"/>
                  </a:lnTo>
                  <a:lnTo>
                    <a:pt x="68" y="200"/>
                  </a:lnTo>
                  <a:lnTo>
                    <a:pt x="34" y="230"/>
                  </a:lnTo>
                  <a:lnTo>
                    <a:pt x="0" y="262"/>
                  </a:lnTo>
                  <a:lnTo>
                    <a:pt x="204" y="46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6744;p149">
              <a:extLst>
                <a:ext uri="{FF2B5EF4-FFF2-40B4-BE49-F238E27FC236}">
                  <a16:creationId xmlns:a16="http://schemas.microsoft.com/office/drawing/2014/main" id="{AFAA2A19-2251-8E70-F7A2-516F153FF6D1}"/>
                </a:ext>
              </a:extLst>
            </p:cNvPr>
            <p:cNvSpPr/>
            <p:nvPr/>
          </p:nvSpPr>
          <p:spPr>
            <a:xfrm>
              <a:off x="1712" y="3587"/>
              <a:ext cx="5264" cy="2576"/>
            </a:xfrm>
            <a:custGeom>
              <a:avLst/>
              <a:gdLst/>
              <a:ahLst/>
              <a:cxnLst/>
              <a:rect l="l" t="t" r="r" b="b"/>
              <a:pathLst>
                <a:path w="5264" h="2576" extrusionOk="0">
                  <a:moveTo>
                    <a:pt x="1181" y="2576"/>
                  </a:moveTo>
                  <a:lnTo>
                    <a:pt x="1181" y="2576"/>
                  </a:lnTo>
                  <a:lnTo>
                    <a:pt x="1209" y="2576"/>
                  </a:lnTo>
                  <a:lnTo>
                    <a:pt x="1237" y="2574"/>
                  </a:lnTo>
                  <a:lnTo>
                    <a:pt x="1265" y="2570"/>
                  </a:lnTo>
                  <a:lnTo>
                    <a:pt x="1293" y="2566"/>
                  </a:lnTo>
                  <a:lnTo>
                    <a:pt x="1321" y="2560"/>
                  </a:lnTo>
                  <a:lnTo>
                    <a:pt x="1347" y="2554"/>
                  </a:lnTo>
                  <a:lnTo>
                    <a:pt x="1401" y="2538"/>
                  </a:lnTo>
                  <a:lnTo>
                    <a:pt x="1451" y="2518"/>
                  </a:lnTo>
                  <a:lnTo>
                    <a:pt x="1499" y="2492"/>
                  </a:lnTo>
                  <a:lnTo>
                    <a:pt x="1545" y="2464"/>
                  </a:lnTo>
                  <a:lnTo>
                    <a:pt x="1587" y="2432"/>
                  </a:lnTo>
                  <a:lnTo>
                    <a:pt x="1629" y="2396"/>
                  </a:lnTo>
                  <a:lnTo>
                    <a:pt x="1665" y="2358"/>
                  </a:lnTo>
                  <a:lnTo>
                    <a:pt x="1699" y="2316"/>
                  </a:lnTo>
                  <a:lnTo>
                    <a:pt x="1729" y="2272"/>
                  </a:lnTo>
                  <a:lnTo>
                    <a:pt x="1757" y="2224"/>
                  </a:lnTo>
                  <a:lnTo>
                    <a:pt x="1779" y="2174"/>
                  </a:lnTo>
                  <a:lnTo>
                    <a:pt x="1799" y="2124"/>
                  </a:lnTo>
                  <a:lnTo>
                    <a:pt x="1813" y="2070"/>
                  </a:lnTo>
                  <a:lnTo>
                    <a:pt x="2849" y="2070"/>
                  </a:lnTo>
                  <a:lnTo>
                    <a:pt x="2849" y="2070"/>
                  </a:lnTo>
                  <a:lnTo>
                    <a:pt x="2863" y="2124"/>
                  </a:lnTo>
                  <a:lnTo>
                    <a:pt x="2883" y="2174"/>
                  </a:lnTo>
                  <a:lnTo>
                    <a:pt x="2905" y="2224"/>
                  </a:lnTo>
                  <a:lnTo>
                    <a:pt x="2933" y="2272"/>
                  </a:lnTo>
                  <a:lnTo>
                    <a:pt x="2963" y="2316"/>
                  </a:lnTo>
                  <a:lnTo>
                    <a:pt x="2997" y="2358"/>
                  </a:lnTo>
                  <a:lnTo>
                    <a:pt x="3033" y="2396"/>
                  </a:lnTo>
                  <a:lnTo>
                    <a:pt x="3075" y="2432"/>
                  </a:lnTo>
                  <a:lnTo>
                    <a:pt x="3117" y="2464"/>
                  </a:lnTo>
                  <a:lnTo>
                    <a:pt x="3163" y="2492"/>
                  </a:lnTo>
                  <a:lnTo>
                    <a:pt x="3211" y="2518"/>
                  </a:lnTo>
                  <a:lnTo>
                    <a:pt x="3261" y="2538"/>
                  </a:lnTo>
                  <a:lnTo>
                    <a:pt x="3315" y="2554"/>
                  </a:lnTo>
                  <a:lnTo>
                    <a:pt x="3341" y="2560"/>
                  </a:lnTo>
                  <a:lnTo>
                    <a:pt x="3369" y="2566"/>
                  </a:lnTo>
                  <a:lnTo>
                    <a:pt x="3397" y="2570"/>
                  </a:lnTo>
                  <a:lnTo>
                    <a:pt x="3425" y="2574"/>
                  </a:lnTo>
                  <a:lnTo>
                    <a:pt x="3453" y="2576"/>
                  </a:lnTo>
                  <a:lnTo>
                    <a:pt x="3481" y="2576"/>
                  </a:lnTo>
                  <a:lnTo>
                    <a:pt x="3481" y="2576"/>
                  </a:lnTo>
                  <a:lnTo>
                    <a:pt x="3511" y="2576"/>
                  </a:lnTo>
                  <a:lnTo>
                    <a:pt x="3539" y="2574"/>
                  </a:lnTo>
                  <a:lnTo>
                    <a:pt x="3567" y="2570"/>
                  </a:lnTo>
                  <a:lnTo>
                    <a:pt x="3595" y="2566"/>
                  </a:lnTo>
                  <a:lnTo>
                    <a:pt x="3623" y="2560"/>
                  </a:lnTo>
                  <a:lnTo>
                    <a:pt x="3649" y="2554"/>
                  </a:lnTo>
                  <a:lnTo>
                    <a:pt x="3701" y="2538"/>
                  </a:lnTo>
                  <a:lnTo>
                    <a:pt x="3751" y="2518"/>
                  </a:lnTo>
                  <a:lnTo>
                    <a:pt x="3801" y="2492"/>
                  </a:lnTo>
                  <a:lnTo>
                    <a:pt x="3845" y="2464"/>
                  </a:lnTo>
                  <a:lnTo>
                    <a:pt x="3889" y="2432"/>
                  </a:lnTo>
                  <a:lnTo>
                    <a:pt x="3929" y="2396"/>
                  </a:lnTo>
                  <a:lnTo>
                    <a:pt x="3967" y="2358"/>
                  </a:lnTo>
                  <a:lnTo>
                    <a:pt x="4001" y="2316"/>
                  </a:lnTo>
                  <a:lnTo>
                    <a:pt x="4031" y="2272"/>
                  </a:lnTo>
                  <a:lnTo>
                    <a:pt x="4057" y="2224"/>
                  </a:lnTo>
                  <a:lnTo>
                    <a:pt x="4081" y="2174"/>
                  </a:lnTo>
                  <a:lnTo>
                    <a:pt x="4099" y="2124"/>
                  </a:lnTo>
                  <a:lnTo>
                    <a:pt x="4115" y="2070"/>
                  </a:lnTo>
                  <a:lnTo>
                    <a:pt x="5264" y="2070"/>
                  </a:lnTo>
                  <a:lnTo>
                    <a:pt x="5264" y="1200"/>
                  </a:lnTo>
                  <a:lnTo>
                    <a:pt x="3907" y="770"/>
                  </a:lnTo>
                  <a:lnTo>
                    <a:pt x="3415" y="0"/>
                  </a:lnTo>
                  <a:lnTo>
                    <a:pt x="608" y="0"/>
                  </a:lnTo>
                  <a:lnTo>
                    <a:pt x="0" y="844"/>
                  </a:lnTo>
                  <a:lnTo>
                    <a:pt x="0" y="2070"/>
                  </a:lnTo>
                  <a:lnTo>
                    <a:pt x="546" y="2070"/>
                  </a:lnTo>
                  <a:lnTo>
                    <a:pt x="546" y="2070"/>
                  </a:lnTo>
                  <a:lnTo>
                    <a:pt x="562" y="2124"/>
                  </a:lnTo>
                  <a:lnTo>
                    <a:pt x="580" y="2174"/>
                  </a:lnTo>
                  <a:lnTo>
                    <a:pt x="602" y="2224"/>
                  </a:lnTo>
                  <a:lnTo>
                    <a:pt x="630" y="2272"/>
                  </a:lnTo>
                  <a:lnTo>
                    <a:pt x="660" y="2316"/>
                  </a:lnTo>
                  <a:lnTo>
                    <a:pt x="694" y="2358"/>
                  </a:lnTo>
                  <a:lnTo>
                    <a:pt x="732" y="2396"/>
                  </a:lnTo>
                  <a:lnTo>
                    <a:pt x="772" y="2432"/>
                  </a:lnTo>
                  <a:lnTo>
                    <a:pt x="816" y="2464"/>
                  </a:lnTo>
                  <a:lnTo>
                    <a:pt x="860" y="2492"/>
                  </a:lnTo>
                  <a:lnTo>
                    <a:pt x="910" y="2518"/>
                  </a:lnTo>
                  <a:lnTo>
                    <a:pt x="961" y="2538"/>
                  </a:lnTo>
                  <a:lnTo>
                    <a:pt x="1013" y="2554"/>
                  </a:lnTo>
                  <a:lnTo>
                    <a:pt x="1039" y="2560"/>
                  </a:lnTo>
                  <a:lnTo>
                    <a:pt x="1067" y="2566"/>
                  </a:lnTo>
                  <a:lnTo>
                    <a:pt x="1095" y="2570"/>
                  </a:lnTo>
                  <a:lnTo>
                    <a:pt x="1123" y="2574"/>
                  </a:lnTo>
                  <a:lnTo>
                    <a:pt x="1151" y="2576"/>
                  </a:lnTo>
                  <a:lnTo>
                    <a:pt x="1181" y="2576"/>
                  </a:lnTo>
                  <a:lnTo>
                    <a:pt x="1181" y="2576"/>
                  </a:lnTo>
                  <a:close/>
                  <a:moveTo>
                    <a:pt x="1181" y="2290"/>
                  </a:moveTo>
                  <a:lnTo>
                    <a:pt x="1181" y="2290"/>
                  </a:lnTo>
                  <a:lnTo>
                    <a:pt x="1143" y="2288"/>
                  </a:lnTo>
                  <a:lnTo>
                    <a:pt x="1107" y="2282"/>
                  </a:lnTo>
                  <a:lnTo>
                    <a:pt x="1073" y="2274"/>
                  </a:lnTo>
                  <a:lnTo>
                    <a:pt x="1039" y="2262"/>
                  </a:lnTo>
                  <a:lnTo>
                    <a:pt x="1007" y="2246"/>
                  </a:lnTo>
                  <a:lnTo>
                    <a:pt x="977" y="2228"/>
                  </a:lnTo>
                  <a:lnTo>
                    <a:pt x="948" y="2206"/>
                  </a:lnTo>
                  <a:lnTo>
                    <a:pt x="922" y="2184"/>
                  </a:lnTo>
                  <a:lnTo>
                    <a:pt x="900" y="2158"/>
                  </a:lnTo>
                  <a:lnTo>
                    <a:pt x="878" y="2130"/>
                  </a:lnTo>
                  <a:lnTo>
                    <a:pt x="860" y="2100"/>
                  </a:lnTo>
                  <a:lnTo>
                    <a:pt x="846" y="2068"/>
                  </a:lnTo>
                  <a:lnTo>
                    <a:pt x="832" y="2034"/>
                  </a:lnTo>
                  <a:lnTo>
                    <a:pt x="824" y="2000"/>
                  </a:lnTo>
                  <a:lnTo>
                    <a:pt x="818" y="1964"/>
                  </a:lnTo>
                  <a:lnTo>
                    <a:pt x="816" y="1928"/>
                  </a:lnTo>
                  <a:lnTo>
                    <a:pt x="816" y="1928"/>
                  </a:lnTo>
                  <a:lnTo>
                    <a:pt x="818" y="1890"/>
                  </a:lnTo>
                  <a:lnTo>
                    <a:pt x="824" y="1854"/>
                  </a:lnTo>
                  <a:lnTo>
                    <a:pt x="832" y="1820"/>
                  </a:lnTo>
                  <a:lnTo>
                    <a:pt x="846" y="1786"/>
                  </a:lnTo>
                  <a:lnTo>
                    <a:pt x="860" y="1754"/>
                  </a:lnTo>
                  <a:lnTo>
                    <a:pt x="878" y="1724"/>
                  </a:lnTo>
                  <a:lnTo>
                    <a:pt x="900" y="1696"/>
                  </a:lnTo>
                  <a:lnTo>
                    <a:pt x="922" y="1670"/>
                  </a:lnTo>
                  <a:lnTo>
                    <a:pt x="948" y="1648"/>
                  </a:lnTo>
                  <a:lnTo>
                    <a:pt x="977" y="1626"/>
                  </a:lnTo>
                  <a:lnTo>
                    <a:pt x="1007" y="1608"/>
                  </a:lnTo>
                  <a:lnTo>
                    <a:pt x="1039" y="1592"/>
                  </a:lnTo>
                  <a:lnTo>
                    <a:pt x="1073" y="1580"/>
                  </a:lnTo>
                  <a:lnTo>
                    <a:pt x="1107" y="1572"/>
                  </a:lnTo>
                  <a:lnTo>
                    <a:pt x="1143" y="1566"/>
                  </a:lnTo>
                  <a:lnTo>
                    <a:pt x="1181" y="1564"/>
                  </a:lnTo>
                  <a:lnTo>
                    <a:pt x="1181" y="1564"/>
                  </a:lnTo>
                  <a:lnTo>
                    <a:pt x="1217" y="1566"/>
                  </a:lnTo>
                  <a:lnTo>
                    <a:pt x="1253" y="1572"/>
                  </a:lnTo>
                  <a:lnTo>
                    <a:pt x="1289" y="1580"/>
                  </a:lnTo>
                  <a:lnTo>
                    <a:pt x="1321" y="1592"/>
                  </a:lnTo>
                  <a:lnTo>
                    <a:pt x="1353" y="1608"/>
                  </a:lnTo>
                  <a:lnTo>
                    <a:pt x="1383" y="1626"/>
                  </a:lnTo>
                  <a:lnTo>
                    <a:pt x="1411" y="1648"/>
                  </a:lnTo>
                  <a:lnTo>
                    <a:pt x="1437" y="1670"/>
                  </a:lnTo>
                  <a:lnTo>
                    <a:pt x="1461" y="1696"/>
                  </a:lnTo>
                  <a:lnTo>
                    <a:pt x="1481" y="1724"/>
                  </a:lnTo>
                  <a:lnTo>
                    <a:pt x="1499" y="1754"/>
                  </a:lnTo>
                  <a:lnTo>
                    <a:pt x="1515" y="1786"/>
                  </a:lnTo>
                  <a:lnTo>
                    <a:pt x="1527" y="1820"/>
                  </a:lnTo>
                  <a:lnTo>
                    <a:pt x="1535" y="1854"/>
                  </a:lnTo>
                  <a:lnTo>
                    <a:pt x="1541" y="1890"/>
                  </a:lnTo>
                  <a:lnTo>
                    <a:pt x="1543" y="1928"/>
                  </a:lnTo>
                  <a:lnTo>
                    <a:pt x="1543" y="1928"/>
                  </a:lnTo>
                  <a:lnTo>
                    <a:pt x="1541" y="1964"/>
                  </a:lnTo>
                  <a:lnTo>
                    <a:pt x="1535" y="2000"/>
                  </a:lnTo>
                  <a:lnTo>
                    <a:pt x="1527" y="2034"/>
                  </a:lnTo>
                  <a:lnTo>
                    <a:pt x="1515" y="2068"/>
                  </a:lnTo>
                  <a:lnTo>
                    <a:pt x="1499" y="2100"/>
                  </a:lnTo>
                  <a:lnTo>
                    <a:pt x="1481" y="2130"/>
                  </a:lnTo>
                  <a:lnTo>
                    <a:pt x="1461" y="2158"/>
                  </a:lnTo>
                  <a:lnTo>
                    <a:pt x="1437" y="2184"/>
                  </a:lnTo>
                  <a:lnTo>
                    <a:pt x="1411" y="2206"/>
                  </a:lnTo>
                  <a:lnTo>
                    <a:pt x="1383" y="2228"/>
                  </a:lnTo>
                  <a:lnTo>
                    <a:pt x="1353" y="2246"/>
                  </a:lnTo>
                  <a:lnTo>
                    <a:pt x="1321" y="2262"/>
                  </a:lnTo>
                  <a:lnTo>
                    <a:pt x="1289" y="2274"/>
                  </a:lnTo>
                  <a:lnTo>
                    <a:pt x="1253" y="2282"/>
                  </a:lnTo>
                  <a:lnTo>
                    <a:pt x="1217" y="2288"/>
                  </a:lnTo>
                  <a:lnTo>
                    <a:pt x="1181" y="2290"/>
                  </a:lnTo>
                  <a:lnTo>
                    <a:pt x="1181" y="2290"/>
                  </a:lnTo>
                  <a:close/>
                  <a:moveTo>
                    <a:pt x="3481" y="2290"/>
                  </a:moveTo>
                  <a:lnTo>
                    <a:pt x="3481" y="2290"/>
                  </a:lnTo>
                  <a:lnTo>
                    <a:pt x="3445" y="2288"/>
                  </a:lnTo>
                  <a:lnTo>
                    <a:pt x="3409" y="2282"/>
                  </a:lnTo>
                  <a:lnTo>
                    <a:pt x="3373" y="2274"/>
                  </a:lnTo>
                  <a:lnTo>
                    <a:pt x="3341" y="2262"/>
                  </a:lnTo>
                  <a:lnTo>
                    <a:pt x="3309" y="2246"/>
                  </a:lnTo>
                  <a:lnTo>
                    <a:pt x="3279" y="2228"/>
                  </a:lnTo>
                  <a:lnTo>
                    <a:pt x="3251" y="2206"/>
                  </a:lnTo>
                  <a:lnTo>
                    <a:pt x="3225" y="2184"/>
                  </a:lnTo>
                  <a:lnTo>
                    <a:pt x="3201" y="2158"/>
                  </a:lnTo>
                  <a:lnTo>
                    <a:pt x="3181" y="2130"/>
                  </a:lnTo>
                  <a:lnTo>
                    <a:pt x="3163" y="2100"/>
                  </a:lnTo>
                  <a:lnTo>
                    <a:pt x="3147" y="2068"/>
                  </a:lnTo>
                  <a:lnTo>
                    <a:pt x="3135" y="2034"/>
                  </a:lnTo>
                  <a:lnTo>
                    <a:pt x="3127" y="2000"/>
                  </a:lnTo>
                  <a:lnTo>
                    <a:pt x="3121" y="1964"/>
                  </a:lnTo>
                  <a:lnTo>
                    <a:pt x="3119" y="1928"/>
                  </a:lnTo>
                  <a:lnTo>
                    <a:pt x="3119" y="1928"/>
                  </a:lnTo>
                  <a:lnTo>
                    <a:pt x="3121" y="1890"/>
                  </a:lnTo>
                  <a:lnTo>
                    <a:pt x="3127" y="1854"/>
                  </a:lnTo>
                  <a:lnTo>
                    <a:pt x="3135" y="1820"/>
                  </a:lnTo>
                  <a:lnTo>
                    <a:pt x="3147" y="1786"/>
                  </a:lnTo>
                  <a:lnTo>
                    <a:pt x="3163" y="1754"/>
                  </a:lnTo>
                  <a:lnTo>
                    <a:pt x="3181" y="1724"/>
                  </a:lnTo>
                  <a:lnTo>
                    <a:pt x="3201" y="1696"/>
                  </a:lnTo>
                  <a:lnTo>
                    <a:pt x="3225" y="1670"/>
                  </a:lnTo>
                  <a:lnTo>
                    <a:pt x="3251" y="1648"/>
                  </a:lnTo>
                  <a:lnTo>
                    <a:pt x="3279" y="1626"/>
                  </a:lnTo>
                  <a:lnTo>
                    <a:pt x="3309" y="1608"/>
                  </a:lnTo>
                  <a:lnTo>
                    <a:pt x="3341" y="1592"/>
                  </a:lnTo>
                  <a:lnTo>
                    <a:pt x="3373" y="1580"/>
                  </a:lnTo>
                  <a:lnTo>
                    <a:pt x="3409" y="1572"/>
                  </a:lnTo>
                  <a:lnTo>
                    <a:pt x="3445" y="1566"/>
                  </a:lnTo>
                  <a:lnTo>
                    <a:pt x="3481" y="1564"/>
                  </a:lnTo>
                  <a:lnTo>
                    <a:pt x="3481" y="1564"/>
                  </a:lnTo>
                  <a:lnTo>
                    <a:pt x="3519" y="1566"/>
                  </a:lnTo>
                  <a:lnTo>
                    <a:pt x="3555" y="1572"/>
                  </a:lnTo>
                  <a:lnTo>
                    <a:pt x="3589" y="1580"/>
                  </a:lnTo>
                  <a:lnTo>
                    <a:pt x="3623" y="1592"/>
                  </a:lnTo>
                  <a:lnTo>
                    <a:pt x="3655" y="1608"/>
                  </a:lnTo>
                  <a:lnTo>
                    <a:pt x="3685" y="1626"/>
                  </a:lnTo>
                  <a:lnTo>
                    <a:pt x="3713" y="1648"/>
                  </a:lnTo>
                  <a:lnTo>
                    <a:pt x="3739" y="1670"/>
                  </a:lnTo>
                  <a:lnTo>
                    <a:pt x="3761" y="1696"/>
                  </a:lnTo>
                  <a:lnTo>
                    <a:pt x="3783" y="1724"/>
                  </a:lnTo>
                  <a:lnTo>
                    <a:pt x="3801" y="1754"/>
                  </a:lnTo>
                  <a:lnTo>
                    <a:pt x="3815" y="1786"/>
                  </a:lnTo>
                  <a:lnTo>
                    <a:pt x="3829" y="1820"/>
                  </a:lnTo>
                  <a:lnTo>
                    <a:pt x="3837" y="1854"/>
                  </a:lnTo>
                  <a:lnTo>
                    <a:pt x="3843" y="1890"/>
                  </a:lnTo>
                  <a:lnTo>
                    <a:pt x="3845" y="1928"/>
                  </a:lnTo>
                  <a:lnTo>
                    <a:pt x="3845" y="1928"/>
                  </a:lnTo>
                  <a:lnTo>
                    <a:pt x="3843" y="1964"/>
                  </a:lnTo>
                  <a:lnTo>
                    <a:pt x="3837" y="2000"/>
                  </a:lnTo>
                  <a:lnTo>
                    <a:pt x="3829" y="2034"/>
                  </a:lnTo>
                  <a:lnTo>
                    <a:pt x="3815" y="2068"/>
                  </a:lnTo>
                  <a:lnTo>
                    <a:pt x="3801" y="2100"/>
                  </a:lnTo>
                  <a:lnTo>
                    <a:pt x="3783" y="2130"/>
                  </a:lnTo>
                  <a:lnTo>
                    <a:pt x="3761" y="2158"/>
                  </a:lnTo>
                  <a:lnTo>
                    <a:pt x="3739" y="2184"/>
                  </a:lnTo>
                  <a:lnTo>
                    <a:pt x="3713" y="2206"/>
                  </a:lnTo>
                  <a:lnTo>
                    <a:pt x="3685" y="2228"/>
                  </a:lnTo>
                  <a:lnTo>
                    <a:pt x="3655" y="2246"/>
                  </a:lnTo>
                  <a:lnTo>
                    <a:pt x="3623" y="2262"/>
                  </a:lnTo>
                  <a:lnTo>
                    <a:pt x="3589" y="2274"/>
                  </a:lnTo>
                  <a:lnTo>
                    <a:pt x="3555" y="2282"/>
                  </a:lnTo>
                  <a:lnTo>
                    <a:pt x="3519" y="2288"/>
                  </a:lnTo>
                  <a:lnTo>
                    <a:pt x="3481" y="2290"/>
                  </a:lnTo>
                  <a:lnTo>
                    <a:pt x="3481" y="2290"/>
                  </a:lnTo>
                  <a:close/>
                  <a:moveTo>
                    <a:pt x="286" y="936"/>
                  </a:moveTo>
                  <a:lnTo>
                    <a:pt x="754" y="288"/>
                  </a:lnTo>
                  <a:lnTo>
                    <a:pt x="3259" y="288"/>
                  </a:lnTo>
                  <a:lnTo>
                    <a:pt x="3721" y="1012"/>
                  </a:lnTo>
                  <a:lnTo>
                    <a:pt x="4978" y="1410"/>
                  </a:lnTo>
                  <a:lnTo>
                    <a:pt x="4978" y="1784"/>
                  </a:lnTo>
                  <a:lnTo>
                    <a:pt x="4115" y="1784"/>
                  </a:lnTo>
                  <a:lnTo>
                    <a:pt x="4115" y="1784"/>
                  </a:lnTo>
                  <a:lnTo>
                    <a:pt x="4099" y="1730"/>
                  </a:lnTo>
                  <a:lnTo>
                    <a:pt x="4081" y="1680"/>
                  </a:lnTo>
                  <a:lnTo>
                    <a:pt x="4057" y="1630"/>
                  </a:lnTo>
                  <a:lnTo>
                    <a:pt x="4031" y="1582"/>
                  </a:lnTo>
                  <a:lnTo>
                    <a:pt x="4001" y="1538"/>
                  </a:lnTo>
                  <a:lnTo>
                    <a:pt x="3967" y="1496"/>
                  </a:lnTo>
                  <a:lnTo>
                    <a:pt x="3929" y="1458"/>
                  </a:lnTo>
                  <a:lnTo>
                    <a:pt x="3889" y="1422"/>
                  </a:lnTo>
                  <a:lnTo>
                    <a:pt x="3845" y="1390"/>
                  </a:lnTo>
                  <a:lnTo>
                    <a:pt x="3801" y="1362"/>
                  </a:lnTo>
                  <a:lnTo>
                    <a:pt x="3751" y="1338"/>
                  </a:lnTo>
                  <a:lnTo>
                    <a:pt x="3701" y="1316"/>
                  </a:lnTo>
                  <a:lnTo>
                    <a:pt x="3649" y="1300"/>
                  </a:lnTo>
                  <a:lnTo>
                    <a:pt x="3623" y="1294"/>
                  </a:lnTo>
                  <a:lnTo>
                    <a:pt x="3595" y="1288"/>
                  </a:lnTo>
                  <a:lnTo>
                    <a:pt x="3567" y="1284"/>
                  </a:lnTo>
                  <a:lnTo>
                    <a:pt x="3539" y="1280"/>
                  </a:lnTo>
                  <a:lnTo>
                    <a:pt x="3511" y="1278"/>
                  </a:lnTo>
                  <a:lnTo>
                    <a:pt x="3481" y="1278"/>
                  </a:lnTo>
                  <a:lnTo>
                    <a:pt x="3481" y="1278"/>
                  </a:lnTo>
                  <a:lnTo>
                    <a:pt x="3453" y="1278"/>
                  </a:lnTo>
                  <a:lnTo>
                    <a:pt x="3425" y="1280"/>
                  </a:lnTo>
                  <a:lnTo>
                    <a:pt x="3397" y="1284"/>
                  </a:lnTo>
                  <a:lnTo>
                    <a:pt x="3369" y="1288"/>
                  </a:lnTo>
                  <a:lnTo>
                    <a:pt x="3341" y="1294"/>
                  </a:lnTo>
                  <a:lnTo>
                    <a:pt x="3315" y="1300"/>
                  </a:lnTo>
                  <a:lnTo>
                    <a:pt x="3261" y="1316"/>
                  </a:lnTo>
                  <a:lnTo>
                    <a:pt x="3211" y="1338"/>
                  </a:lnTo>
                  <a:lnTo>
                    <a:pt x="3163" y="1362"/>
                  </a:lnTo>
                  <a:lnTo>
                    <a:pt x="3117" y="1390"/>
                  </a:lnTo>
                  <a:lnTo>
                    <a:pt x="3075" y="1422"/>
                  </a:lnTo>
                  <a:lnTo>
                    <a:pt x="3033" y="1458"/>
                  </a:lnTo>
                  <a:lnTo>
                    <a:pt x="2997" y="1496"/>
                  </a:lnTo>
                  <a:lnTo>
                    <a:pt x="2963" y="1538"/>
                  </a:lnTo>
                  <a:lnTo>
                    <a:pt x="2933" y="1582"/>
                  </a:lnTo>
                  <a:lnTo>
                    <a:pt x="2905" y="1630"/>
                  </a:lnTo>
                  <a:lnTo>
                    <a:pt x="2883" y="1680"/>
                  </a:lnTo>
                  <a:lnTo>
                    <a:pt x="2863" y="1730"/>
                  </a:lnTo>
                  <a:lnTo>
                    <a:pt x="2849" y="1784"/>
                  </a:lnTo>
                  <a:lnTo>
                    <a:pt x="1813" y="1784"/>
                  </a:lnTo>
                  <a:lnTo>
                    <a:pt x="1813" y="1784"/>
                  </a:lnTo>
                  <a:lnTo>
                    <a:pt x="1799" y="1730"/>
                  </a:lnTo>
                  <a:lnTo>
                    <a:pt x="1779" y="1680"/>
                  </a:lnTo>
                  <a:lnTo>
                    <a:pt x="1757" y="1630"/>
                  </a:lnTo>
                  <a:lnTo>
                    <a:pt x="1729" y="1582"/>
                  </a:lnTo>
                  <a:lnTo>
                    <a:pt x="1699" y="1538"/>
                  </a:lnTo>
                  <a:lnTo>
                    <a:pt x="1665" y="1496"/>
                  </a:lnTo>
                  <a:lnTo>
                    <a:pt x="1629" y="1458"/>
                  </a:lnTo>
                  <a:lnTo>
                    <a:pt x="1587" y="1422"/>
                  </a:lnTo>
                  <a:lnTo>
                    <a:pt x="1545" y="1390"/>
                  </a:lnTo>
                  <a:lnTo>
                    <a:pt x="1499" y="1362"/>
                  </a:lnTo>
                  <a:lnTo>
                    <a:pt x="1451" y="1338"/>
                  </a:lnTo>
                  <a:lnTo>
                    <a:pt x="1401" y="1316"/>
                  </a:lnTo>
                  <a:lnTo>
                    <a:pt x="1347" y="1300"/>
                  </a:lnTo>
                  <a:lnTo>
                    <a:pt x="1321" y="1294"/>
                  </a:lnTo>
                  <a:lnTo>
                    <a:pt x="1293" y="1288"/>
                  </a:lnTo>
                  <a:lnTo>
                    <a:pt x="1265" y="1284"/>
                  </a:lnTo>
                  <a:lnTo>
                    <a:pt x="1237" y="1280"/>
                  </a:lnTo>
                  <a:lnTo>
                    <a:pt x="1209" y="1278"/>
                  </a:lnTo>
                  <a:lnTo>
                    <a:pt x="1181" y="1278"/>
                  </a:lnTo>
                  <a:lnTo>
                    <a:pt x="1181" y="1278"/>
                  </a:lnTo>
                  <a:lnTo>
                    <a:pt x="1151" y="1278"/>
                  </a:lnTo>
                  <a:lnTo>
                    <a:pt x="1123" y="1280"/>
                  </a:lnTo>
                  <a:lnTo>
                    <a:pt x="1095" y="1284"/>
                  </a:lnTo>
                  <a:lnTo>
                    <a:pt x="1067" y="1288"/>
                  </a:lnTo>
                  <a:lnTo>
                    <a:pt x="1039" y="1294"/>
                  </a:lnTo>
                  <a:lnTo>
                    <a:pt x="1013" y="1300"/>
                  </a:lnTo>
                  <a:lnTo>
                    <a:pt x="961" y="1316"/>
                  </a:lnTo>
                  <a:lnTo>
                    <a:pt x="910" y="1338"/>
                  </a:lnTo>
                  <a:lnTo>
                    <a:pt x="860" y="1362"/>
                  </a:lnTo>
                  <a:lnTo>
                    <a:pt x="816" y="1390"/>
                  </a:lnTo>
                  <a:lnTo>
                    <a:pt x="772" y="1422"/>
                  </a:lnTo>
                  <a:lnTo>
                    <a:pt x="732" y="1458"/>
                  </a:lnTo>
                  <a:lnTo>
                    <a:pt x="694" y="1496"/>
                  </a:lnTo>
                  <a:lnTo>
                    <a:pt x="660" y="1538"/>
                  </a:lnTo>
                  <a:lnTo>
                    <a:pt x="630" y="1582"/>
                  </a:lnTo>
                  <a:lnTo>
                    <a:pt x="602" y="1630"/>
                  </a:lnTo>
                  <a:lnTo>
                    <a:pt x="580" y="1680"/>
                  </a:lnTo>
                  <a:lnTo>
                    <a:pt x="562" y="1730"/>
                  </a:lnTo>
                  <a:lnTo>
                    <a:pt x="546" y="1784"/>
                  </a:lnTo>
                  <a:lnTo>
                    <a:pt x="286" y="1784"/>
                  </a:lnTo>
                  <a:lnTo>
                    <a:pt x="286" y="93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" name="Google Shape;6745;p149">
            <a:extLst>
              <a:ext uri="{FF2B5EF4-FFF2-40B4-BE49-F238E27FC236}">
                <a16:creationId xmlns:a16="http://schemas.microsoft.com/office/drawing/2014/main" id="{A9530CCF-A984-C004-9B84-132346FA7040}"/>
              </a:ext>
            </a:extLst>
          </p:cNvPr>
          <p:cNvSpPr/>
          <p:nvPr/>
        </p:nvSpPr>
        <p:spPr>
          <a:xfrm>
            <a:off x="10229181" y="4688119"/>
            <a:ext cx="410280" cy="410218"/>
          </a:xfrm>
          <a:custGeom>
            <a:avLst/>
            <a:gdLst/>
            <a:ahLst/>
            <a:cxnLst/>
            <a:rect l="l" t="t" r="r" b="b"/>
            <a:pathLst>
              <a:path w="6687" h="6686" extrusionOk="0">
                <a:moveTo>
                  <a:pt x="0" y="0"/>
                </a:moveTo>
                <a:lnTo>
                  <a:pt x="0" y="6686"/>
                </a:lnTo>
                <a:lnTo>
                  <a:pt x="6687" y="6686"/>
                </a:lnTo>
                <a:lnTo>
                  <a:pt x="6687" y="0"/>
                </a:lnTo>
                <a:lnTo>
                  <a:pt x="0" y="0"/>
                </a:lnTo>
                <a:close/>
                <a:moveTo>
                  <a:pt x="2224" y="2196"/>
                </a:moveTo>
                <a:lnTo>
                  <a:pt x="2224" y="2196"/>
                </a:lnTo>
                <a:lnTo>
                  <a:pt x="2300" y="2120"/>
                </a:lnTo>
                <a:lnTo>
                  <a:pt x="2376" y="2048"/>
                </a:lnTo>
                <a:lnTo>
                  <a:pt x="2454" y="1978"/>
                </a:lnTo>
                <a:lnTo>
                  <a:pt x="2532" y="1908"/>
                </a:lnTo>
                <a:lnTo>
                  <a:pt x="2610" y="1842"/>
                </a:lnTo>
                <a:lnTo>
                  <a:pt x="2688" y="1778"/>
                </a:lnTo>
                <a:lnTo>
                  <a:pt x="2768" y="1714"/>
                </a:lnTo>
                <a:lnTo>
                  <a:pt x="2848" y="1652"/>
                </a:lnTo>
                <a:lnTo>
                  <a:pt x="2848" y="3624"/>
                </a:lnTo>
                <a:lnTo>
                  <a:pt x="1818" y="4654"/>
                </a:lnTo>
                <a:lnTo>
                  <a:pt x="1818" y="2646"/>
                </a:lnTo>
                <a:lnTo>
                  <a:pt x="1818" y="2646"/>
                </a:lnTo>
                <a:lnTo>
                  <a:pt x="1914" y="2530"/>
                </a:lnTo>
                <a:lnTo>
                  <a:pt x="2012" y="2418"/>
                </a:lnTo>
                <a:lnTo>
                  <a:pt x="2116" y="2306"/>
                </a:lnTo>
                <a:lnTo>
                  <a:pt x="2224" y="2196"/>
                </a:lnTo>
                <a:lnTo>
                  <a:pt x="2224" y="2196"/>
                </a:lnTo>
                <a:close/>
                <a:moveTo>
                  <a:pt x="6149" y="322"/>
                </a:moveTo>
                <a:lnTo>
                  <a:pt x="4447" y="2024"/>
                </a:lnTo>
                <a:lnTo>
                  <a:pt x="4447" y="762"/>
                </a:lnTo>
                <a:lnTo>
                  <a:pt x="4447" y="762"/>
                </a:lnTo>
                <a:lnTo>
                  <a:pt x="4577" y="712"/>
                </a:lnTo>
                <a:lnTo>
                  <a:pt x="4705" y="666"/>
                </a:lnTo>
                <a:lnTo>
                  <a:pt x="4831" y="624"/>
                </a:lnTo>
                <a:lnTo>
                  <a:pt x="4955" y="584"/>
                </a:lnTo>
                <a:lnTo>
                  <a:pt x="5075" y="548"/>
                </a:lnTo>
                <a:lnTo>
                  <a:pt x="5193" y="516"/>
                </a:lnTo>
                <a:lnTo>
                  <a:pt x="5307" y="486"/>
                </a:lnTo>
                <a:lnTo>
                  <a:pt x="5417" y="458"/>
                </a:lnTo>
                <a:lnTo>
                  <a:pt x="5525" y="432"/>
                </a:lnTo>
                <a:lnTo>
                  <a:pt x="5627" y="410"/>
                </a:lnTo>
                <a:lnTo>
                  <a:pt x="5727" y="390"/>
                </a:lnTo>
                <a:lnTo>
                  <a:pt x="5821" y="372"/>
                </a:lnTo>
                <a:lnTo>
                  <a:pt x="5995" y="344"/>
                </a:lnTo>
                <a:lnTo>
                  <a:pt x="6149" y="322"/>
                </a:lnTo>
                <a:lnTo>
                  <a:pt x="6149" y="322"/>
                </a:lnTo>
                <a:close/>
                <a:moveTo>
                  <a:pt x="4161" y="2308"/>
                </a:moveTo>
                <a:lnTo>
                  <a:pt x="3134" y="3338"/>
                </a:lnTo>
                <a:lnTo>
                  <a:pt x="3134" y="1448"/>
                </a:lnTo>
                <a:lnTo>
                  <a:pt x="3134" y="1448"/>
                </a:lnTo>
                <a:lnTo>
                  <a:pt x="3262" y="1362"/>
                </a:lnTo>
                <a:lnTo>
                  <a:pt x="3391" y="1282"/>
                </a:lnTo>
                <a:lnTo>
                  <a:pt x="3521" y="1206"/>
                </a:lnTo>
                <a:lnTo>
                  <a:pt x="3649" y="1134"/>
                </a:lnTo>
                <a:lnTo>
                  <a:pt x="3779" y="1064"/>
                </a:lnTo>
                <a:lnTo>
                  <a:pt x="3907" y="1000"/>
                </a:lnTo>
                <a:lnTo>
                  <a:pt x="4035" y="938"/>
                </a:lnTo>
                <a:lnTo>
                  <a:pt x="4161" y="882"/>
                </a:lnTo>
                <a:lnTo>
                  <a:pt x="4161" y="2308"/>
                </a:lnTo>
                <a:close/>
                <a:moveTo>
                  <a:pt x="1532" y="4938"/>
                </a:moveTo>
                <a:lnTo>
                  <a:pt x="326" y="6146"/>
                </a:lnTo>
                <a:lnTo>
                  <a:pt x="326" y="6146"/>
                </a:lnTo>
                <a:lnTo>
                  <a:pt x="344" y="6020"/>
                </a:lnTo>
                <a:lnTo>
                  <a:pt x="368" y="5880"/>
                </a:lnTo>
                <a:lnTo>
                  <a:pt x="398" y="5726"/>
                </a:lnTo>
                <a:lnTo>
                  <a:pt x="432" y="5560"/>
                </a:lnTo>
                <a:lnTo>
                  <a:pt x="474" y="5384"/>
                </a:lnTo>
                <a:lnTo>
                  <a:pt x="498" y="5292"/>
                </a:lnTo>
                <a:lnTo>
                  <a:pt x="524" y="5198"/>
                </a:lnTo>
                <a:lnTo>
                  <a:pt x="552" y="5100"/>
                </a:lnTo>
                <a:lnTo>
                  <a:pt x="582" y="5002"/>
                </a:lnTo>
                <a:lnTo>
                  <a:pt x="612" y="4902"/>
                </a:lnTo>
                <a:lnTo>
                  <a:pt x="646" y="4798"/>
                </a:lnTo>
                <a:lnTo>
                  <a:pt x="682" y="4694"/>
                </a:lnTo>
                <a:lnTo>
                  <a:pt x="720" y="4590"/>
                </a:lnTo>
                <a:lnTo>
                  <a:pt x="760" y="4482"/>
                </a:lnTo>
                <a:lnTo>
                  <a:pt x="804" y="4374"/>
                </a:lnTo>
                <a:lnTo>
                  <a:pt x="850" y="4264"/>
                </a:lnTo>
                <a:lnTo>
                  <a:pt x="898" y="4154"/>
                </a:lnTo>
                <a:lnTo>
                  <a:pt x="948" y="4042"/>
                </a:lnTo>
                <a:lnTo>
                  <a:pt x="1000" y="3930"/>
                </a:lnTo>
                <a:lnTo>
                  <a:pt x="1058" y="3818"/>
                </a:lnTo>
                <a:lnTo>
                  <a:pt x="1116" y="3704"/>
                </a:lnTo>
                <a:lnTo>
                  <a:pt x="1178" y="3590"/>
                </a:lnTo>
                <a:lnTo>
                  <a:pt x="1242" y="3476"/>
                </a:lnTo>
                <a:lnTo>
                  <a:pt x="1310" y="3362"/>
                </a:lnTo>
                <a:lnTo>
                  <a:pt x="1382" y="3250"/>
                </a:lnTo>
                <a:lnTo>
                  <a:pt x="1456" y="3136"/>
                </a:lnTo>
                <a:lnTo>
                  <a:pt x="1532" y="3022"/>
                </a:lnTo>
                <a:lnTo>
                  <a:pt x="1532" y="4938"/>
                </a:lnTo>
                <a:close/>
                <a:moveTo>
                  <a:pt x="1734" y="5140"/>
                </a:moveTo>
                <a:lnTo>
                  <a:pt x="3693" y="5140"/>
                </a:lnTo>
                <a:lnTo>
                  <a:pt x="3693" y="5140"/>
                </a:lnTo>
                <a:lnTo>
                  <a:pt x="3577" y="5222"/>
                </a:lnTo>
                <a:lnTo>
                  <a:pt x="3459" y="5300"/>
                </a:lnTo>
                <a:lnTo>
                  <a:pt x="3344" y="5374"/>
                </a:lnTo>
                <a:lnTo>
                  <a:pt x="3226" y="5444"/>
                </a:lnTo>
                <a:lnTo>
                  <a:pt x="3110" y="5512"/>
                </a:lnTo>
                <a:lnTo>
                  <a:pt x="2994" y="5576"/>
                </a:lnTo>
                <a:lnTo>
                  <a:pt x="2876" y="5636"/>
                </a:lnTo>
                <a:lnTo>
                  <a:pt x="2762" y="5694"/>
                </a:lnTo>
                <a:lnTo>
                  <a:pt x="2646" y="5750"/>
                </a:lnTo>
                <a:lnTo>
                  <a:pt x="2532" y="5802"/>
                </a:lnTo>
                <a:lnTo>
                  <a:pt x="2418" y="5850"/>
                </a:lnTo>
                <a:lnTo>
                  <a:pt x="2306" y="5898"/>
                </a:lnTo>
                <a:lnTo>
                  <a:pt x="2194" y="5940"/>
                </a:lnTo>
                <a:lnTo>
                  <a:pt x="2084" y="5982"/>
                </a:lnTo>
                <a:lnTo>
                  <a:pt x="1976" y="6020"/>
                </a:lnTo>
                <a:lnTo>
                  <a:pt x="1870" y="6056"/>
                </a:lnTo>
                <a:lnTo>
                  <a:pt x="1764" y="6090"/>
                </a:lnTo>
                <a:lnTo>
                  <a:pt x="1662" y="6122"/>
                </a:lnTo>
                <a:lnTo>
                  <a:pt x="1562" y="6152"/>
                </a:lnTo>
                <a:lnTo>
                  <a:pt x="1462" y="6178"/>
                </a:lnTo>
                <a:lnTo>
                  <a:pt x="1366" y="6204"/>
                </a:lnTo>
                <a:lnTo>
                  <a:pt x="1272" y="6228"/>
                </a:lnTo>
                <a:lnTo>
                  <a:pt x="1094" y="6268"/>
                </a:lnTo>
                <a:lnTo>
                  <a:pt x="926" y="6302"/>
                </a:lnTo>
                <a:lnTo>
                  <a:pt x="772" y="6330"/>
                </a:lnTo>
                <a:lnTo>
                  <a:pt x="632" y="6352"/>
                </a:lnTo>
                <a:lnTo>
                  <a:pt x="506" y="6368"/>
                </a:lnTo>
                <a:lnTo>
                  <a:pt x="1734" y="5140"/>
                </a:lnTo>
                <a:close/>
                <a:moveTo>
                  <a:pt x="4063" y="4856"/>
                </a:moveTo>
                <a:lnTo>
                  <a:pt x="2020" y="4856"/>
                </a:lnTo>
                <a:lnTo>
                  <a:pt x="3050" y="3826"/>
                </a:lnTo>
                <a:lnTo>
                  <a:pt x="5037" y="3826"/>
                </a:lnTo>
                <a:lnTo>
                  <a:pt x="5037" y="3826"/>
                </a:lnTo>
                <a:lnTo>
                  <a:pt x="4971" y="3910"/>
                </a:lnTo>
                <a:lnTo>
                  <a:pt x="4905" y="3996"/>
                </a:lnTo>
                <a:lnTo>
                  <a:pt x="4837" y="4080"/>
                </a:lnTo>
                <a:lnTo>
                  <a:pt x="4767" y="4162"/>
                </a:lnTo>
                <a:lnTo>
                  <a:pt x="4693" y="4246"/>
                </a:lnTo>
                <a:lnTo>
                  <a:pt x="4619" y="4328"/>
                </a:lnTo>
                <a:lnTo>
                  <a:pt x="4541" y="4410"/>
                </a:lnTo>
                <a:lnTo>
                  <a:pt x="4463" y="4490"/>
                </a:lnTo>
                <a:lnTo>
                  <a:pt x="4463" y="4490"/>
                </a:lnTo>
                <a:lnTo>
                  <a:pt x="4363" y="4586"/>
                </a:lnTo>
                <a:lnTo>
                  <a:pt x="4265" y="4680"/>
                </a:lnTo>
                <a:lnTo>
                  <a:pt x="4163" y="4768"/>
                </a:lnTo>
                <a:lnTo>
                  <a:pt x="4063" y="4856"/>
                </a:lnTo>
                <a:lnTo>
                  <a:pt x="4063" y="4856"/>
                </a:lnTo>
                <a:close/>
                <a:moveTo>
                  <a:pt x="5237" y="3540"/>
                </a:moveTo>
                <a:lnTo>
                  <a:pt x="3334" y="3540"/>
                </a:lnTo>
                <a:lnTo>
                  <a:pt x="4363" y="2510"/>
                </a:lnTo>
                <a:lnTo>
                  <a:pt x="5799" y="2510"/>
                </a:lnTo>
                <a:lnTo>
                  <a:pt x="5799" y="2510"/>
                </a:lnTo>
                <a:lnTo>
                  <a:pt x="5741" y="2638"/>
                </a:lnTo>
                <a:lnTo>
                  <a:pt x="5681" y="2764"/>
                </a:lnTo>
                <a:lnTo>
                  <a:pt x="5617" y="2894"/>
                </a:lnTo>
                <a:lnTo>
                  <a:pt x="5549" y="3022"/>
                </a:lnTo>
                <a:lnTo>
                  <a:pt x="5477" y="3152"/>
                </a:lnTo>
                <a:lnTo>
                  <a:pt x="5401" y="3282"/>
                </a:lnTo>
                <a:lnTo>
                  <a:pt x="5321" y="3410"/>
                </a:lnTo>
                <a:lnTo>
                  <a:pt x="5237" y="3540"/>
                </a:lnTo>
                <a:lnTo>
                  <a:pt x="5237" y="3540"/>
                </a:lnTo>
                <a:close/>
                <a:moveTo>
                  <a:pt x="5917" y="2226"/>
                </a:moveTo>
                <a:lnTo>
                  <a:pt x="4649" y="2226"/>
                </a:lnTo>
                <a:lnTo>
                  <a:pt x="6365" y="510"/>
                </a:lnTo>
                <a:lnTo>
                  <a:pt x="6365" y="510"/>
                </a:lnTo>
                <a:lnTo>
                  <a:pt x="6341" y="662"/>
                </a:lnTo>
                <a:lnTo>
                  <a:pt x="6311" y="836"/>
                </a:lnTo>
                <a:lnTo>
                  <a:pt x="6293" y="932"/>
                </a:lnTo>
                <a:lnTo>
                  <a:pt x="6273" y="1032"/>
                </a:lnTo>
                <a:lnTo>
                  <a:pt x="6251" y="1134"/>
                </a:lnTo>
                <a:lnTo>
                  <a:pt x="6225" y="1242"/>
                </a:lnTo>
                <a:lnTo>
                  <a:pt x="6197" y="1354"/>
                </a:lnTo>
                <a:lnTo>
                  <a:pt x="6167" y="1470"/>
                </a:lnTo>
                <a:lnTo>
                  <a:pt x="6133" y="1588"/>
                </a:lnTo>
                <a:lnTo>
                  <a:pt x="6097" y="1710"/>
                </a:lnTo>
                <a:lnTo>
                  <a:pt x="6057" y="1836"/>
                </a:lnTo>
                <a:lnTo>
                  <a:pt x="6013" y="1964"/>
                </a:lnTo>
                <a:lnTo>
                  <a:pt x="5967" y="2094"/>
                </a:lnTo>
                <a:lnTo>
                  <a:pt x="5917" y="2226"/>
                </a:lnTo>
                <a:lnTo>
                  <a:pt x="5917" y="2226"/>
                </a:lnTo>
                <a:close/>
                <a:moveTo>
                  <a:pt x="4939" y="284"/>
                </a:moveTo>
                <a:lnTo>
                  <a:pt x="4939" y="284"/>
                </a:lnTo>
                <a:lnTo>
                  <a:pt x="4771" y="336"/>
                </a:lnTo>
                <a:lnTo>
                  <a:pt x="4601" y="394"/>
                </a:lnTo>
                <a:lnTo>
                  <a:pt x="4427" y="458"/>
                </a:lnTo>
                <a:lnTo>
                  <a:pt x="4337" y="492"/>
                </a:lnTo>
                <a:lnTo>
                  <a:pt x="4247" y="528"/>
                </a:lnTo>
                <a:lnTo>
                  <a:pt x="4157" y="566"/>
                </a:lnTo>
                <a:lnTo>
                  <a:pt x="4067" y="604"/>
                </a:lnTo>
                <a:lnTo>
                  <a:pt x="3975" y="646"/>
                </a:lnTo>
                <a:lnTo>
                  <a:pt x="3883" y="688"/>
                </a:lnTo>
                <a:lnTo>
                  <a:pt x="3789" y="734"/>
                </a:lnTo>
                <a:lnTo>
                  <a:pt x="3697" y="780"/>
                </a:lnTo>
                <a:lnTo>
                  <a:pt x="3603" y="830"/>
                </a:lnTo>
                <a:lnTo>
                  <a:pt x="3509" y="880"/>
                </a:lnTo>
                <a:lnTo>
                  <a:pt x="3415" y="932"/>
                </a:lnTo>
                <a:lnTo>
                  <a:pt x="3322" y="988"/>
                </a:lnTo>
                <a:lnTo>
                  <a:pt x="3228" y="1044"/>
                </a:lnTo>
                <a:lnTo>
                  <a:pt x="3132" y="1104"/>
                </a:lnTo>
                <a:lnTo>
                  <a:pt x="3038" y="1164"/>
                </a:lnTo>
                <a:lnTo>
                  <a:pt x="2944" y="1228"/>
                </a:lnTo>
                <a:lnTo>
                  <a:pt x="2850" y="1294"/>
                </a:lnTo>
                <a:lnTo>
                  <a:pt x="2756" y="1362"/>
                </a:lnTo>
                <a:lnTo>
                  <a:pt x="2662" y="1432"/>
                </a:lnTo>
                <a:lnTo>
                  <a:pt x="2570" y="1504"/>
                </a:lnTo>
                <a:lnTo>
                  <a:pt x="2476" y="1580"/>
                </a:lnTo>
                <a:lnTo>
                  <a:pt x="2384" y="1658"/>
                </a:lnTo>
                <a:lnTo>
                  <a:pt x="2292" y="1738"/>
                </a:lnTo>
                <a:lnTo>
                  <a:pt x="2202" y="1820"/>
                </a:lnTo>
                <a:lnTo>
                  <a:pt x="2112" y="1906"/>
                </a:lnTo>
                <a:lnTo>
                  <a:pt x="2022" y="1994"/>
                </a:lnTo>
                <a:lnTo>
                  <a:pt x="2022" y="1994"/>
                </a:lnTo>
                <a:lnTo>
                  <a:pt x="1958" y="2058"/>
                </a:lnTo>
                <a:lnTo>
                  <a:pt x="1894" y="2124"/>
                </a:lnTo>
                <a:lnTo>
                  <a:pt x="1834" y="2190"/>
                </a:lnTo>
                <a:lnTo>
                  <a:pt x="1774" y="2258"/>
                </a:lnTo>
                <a:lnTo>
                  <a:pt x="1714" y="2324"/>
                </a:lnTo>
                <a:lnTo>
                  <a:pt x="1656" y="2390"/>
                </a:lnTo>
                <a:lnTo>
                  <a:pt x="1546" y="2526"/>
                </a:lnTo>
                <a:lnTo>
                  <a:pt x="1532" y="2526"/>
                </a:lnTo>
                <a:lnTo>
                  <a:pt x="1532" y="2542"/>
                </a:lnTo>
                <a:lnTo>
                  <a:pt x="1532" y="2542"/>
                </a:lnTo>
                <a:lnTo>
                  <a:pt x="1472" y="2620"/>
                </a:lnTo>
                <a:lnTo>
                  <a:pt x="1412" y="2698"/>
                </a:lnTo>
                <a:lnTo>
                  <a:pt x="1356" y="2776"/>
                </a:lnTo>
                <a:lnTo>
                  <a:pt x="1300" y="2854"/>
                </a:lnTo>
                <a:lnTo>
                  <a:pt x="1244" y="2932"/>
                </a:lnTo>
                <a:lnTo>
                  <a:pt x="1192" y="3010"/>
                </a:lnTo>
                <a:lnTo>
                  <a:pt x="1140" y="3090"/>
                </a:lnTo>
                <a:lnTo>
                  <a:pt x="1090" y="3168"/>
                </a:lnTo>
                <a:lnTo>
                  <a:pt x="1042" y="3246"/>
                </a:lnTo>
                <a:lnTo>
                  <a:pt x="996" y="3326"/>
                </a:lnTo>
                <a:lnTo>
                  <a:pt x="906" y="3482"/>
                </a:lnTo>
                <a:lnTo>
                  <a:pt x="822" y="3640"/>
                </a:lnTo>
                <a:lnTo>
                  <a:pt x="742" y="3796"/>
                </a:lnTo>
                <a:lnTo>
                  <a:pt x="670" y="3950"/>
                </a:lnTo>
                <a:lnTo>
                  <a:pt x="600" y="4104"/>
                </a:lnTo>
                <a:lnTo>
                  <a:pt x="536" y="4254"/>
                </a:lnTo>
                <a:lnTo>
                  <a:pt x="478" y="4404"/>
                </a:lnTo>
                <a:lnTo>
                  <a:pt x="424" y="4550"/>
                </a:lnTo>
                <a:lnTo>
                  <a:pt x="374" y="4694"/>
                </a:lnTo>
                <a:lnTo>
                  <a:pt x="326" y="4836"/>
                </a:lnTo>
                <a:lnTo>
                  <a:pt x="284" y="4972"/>
                </a:lnTo>
                <a:lnTo>
                  <a:pt x="284" y="284"/>
                </a:lnTo>
                <a:lnTo>
                  <a:pt x="4939" y="284"/>
                </a:lnTo>
                <a:close/>
                <a:moveTo>
                  <a:pt x="1748" y="6402"/>
                </a:moveTo>
                <a:lnTo>
                  <a:pt x="1748" y="6402"/>
                </a:lnTo>
                <a:lnTo>
                  <a:pt x="1914" y="6350"/>
                </a:lnTo>
                <a:lnTo>
                  <a:pt x="2084" y="6292"/>
                </a:lnTo>
                <a:lnTo>
                  <a:pt x="2260" y="6228"/>
                </a:lnTo>
                <a:lnTo>
                  <a:pt x="2348" y="6194"/>
                </a:lnTo>
                <a:lnTo>
                  <a:pt x="2438" y="6158"/>
                </a:lnTo>
                <a:lnTo>
                  <a:pt x="2528" y="6120"/>
                </a:lnTo>
                <a:lnTo>
                  <a:pt x="2620" y="6082"/>
                </a:lnTo>
                <a:lnTo>
                  <a:pt x="2712" y="6040"/>
                </a:lnTo>
                <a:lnTo>
                  <a:pt x="2804" y="5998"/>
                </a:lnTo>
                <a:lnTo>
                  <a:pt x="2896" y="5952"/>
                </a:lnTo>
                <a:lnTo>
                  <a:pt x="2990" y="5906"/>
                </a:lnTo>
                <a:lnTo>
                  <a:pt x="3084" y="5856"/>
                </a:lnTo>
                <a:lnTo>
                  <a:pt x="3176" y="5806"/>
                </a:lnTo>
                <a:lnTo>
                  <a:pt x="3270" y="5754"/>
                </a:lnTo>
                <a:lnTo>
                  <a:pt x="3365" y="5698"/>
                </a:lnTo>
                <a:lnTo>
                  <a:pt x="3459" y="5642"/>
                </a:lnTo>
                <a:lnTo>
                  <a:pt x="3553" y="5582"/>
                </a:lnTo>
                <a:lnTo>
                  <a:pt x="3647" y="5522"/>
                </a:lnTo>
                <a:lnTo>
                  <a:pt x="3741" y="5458"/>
                </a:lnTo>
                <a:lnTo>
                  <a:pt x="3835" y="5392"/>
                </a:lnTo>
                <a:lnTo>
                  <a:pt x="3929" y="5324"/>
                </a:lnTo>
                <a:lnTo>
                  <a:pt x="4023" y="5254"/>
                </a:lnTo>
                <a:lnTo>
                  <a:pt x="4117" y="5182"/>
                </a:lnTo>
                <a:lnTo>
                  <a:pt x="4209" y="5106"/>
                </a:lnTo>
                <a:lnTo>
                  <a:pt x="4301" y="5028"/>
                </a:lnTo>
                <a:lnTo>
                  <a:pt x="4393" y="4948"/>
                </a:lnTo>
                <a:lnTo>
                  <a:pt x="4483" y="4866"/>
                </a:lnTo>
                <a:lnTo>
                  <a:pt x="4575" y="4780"/>
                </a:lnTo>
                <a:lnTo>
                  <a:pt x="4663" y="4692"/>
                </a:lnTo>
                <a:lnTo>
                  <a:pt x="4663" y="4692"/>
                </a:lnTo>
                <a:lnTo>
                  <a:pt x="4753" y="4602"/>
                </a:lnTo>
                <a:lnTo>
                  <a:pt x="4841" y="4510"/>
                </a:lnTo>
                <a:lnTo>
                  <a:pt x="4925" y="4416"/>
                </a:lnTo>
                <a:lnTo>
                  <a:pt x="5005" y="4322"/>
                </a:lnTo>
                <a:lnTo>
                  <a:pt x="5085" y="4228"/>
                </a:lnTo>
                <a:lnTo>
                  <a:pt x="5161" y="4134"/>
                </a:lnTo>
                <a:lnTo>
                  <a:pt x="5235" y="4038"/>
                </a:lnTo>
                <a:lnTo>
                  <a:pt x="5307" y="3942"/>
                </a:lnTo>
                <a:lnTo>
                  <a:pt x="5377" y="3848"/>
                </a:lnTo>
                <a:lnTo>
                  <a:pt x="5443" y="3750"/>
                </a:lnTo>
                <a:lnTo>
                  <a:pt x="5507" y="3654"/>
                </a:lnTo>
                <a:lnTo>
                  <a:pt x="5571" y="3558"/>
                </a:lnTo>
                <a:lnTo>
                  <a:pt x="5631" y="3462"/>
                </a:lnTo>
                <a:lnTo>
                  <a:pt x="5687" y="3364"/>
                </a:lnTo>
                <a:lnTo>
                  <a:pt x="5743" y="3268"/>
                </a:lnTo>
                <a:lnTo>
                  <a:pt x="5797" y="3172"/>
                </a:lnTo>
                <a:lnTo>
                  <a:pt x="5849" y="3076"/>
                </a:lnTo>
                <a:lnTo>
                  <a:pt x="5899" y="2980"/>
                </a:lnTo>
                <a:lnTo>
                  <a:pt x="5945" y="2886"/>
                </a:lnTo>
                <a:lnTo>
                  <a:pt x="5991" y="2790"/>
                </a:lnTo>
                <a:lnTo>
                  <a:pt x="6035" y="2696"/>
                </a:lnTo>
                <a:lnTo>
                  <a:pt x="6077" y="2602"/>
                </a:lnTo>
                <a:lnTo>
                  <a:pt x="6117" y="2510"/>
                </a:lnTo>
                <a:lnTo>
                  <a:pt x="6155" y="2416"/>
                </a:lnTo>
                <a:lnTo>
                  <a:pt x="6191" y="2326"/>
                </a:lnTo>
                <a:lnTo>
                  <a:pt x="6225" y="2234"/>
                </a:lnTo>
                <a:lnTo>
                  <a:pt x="6291" y="2056"/>
                </a:lnTo>
                <a:lnTo>
                  <a:pt x="6349" y="1882"/>
                </a:lnTo>
                <a:lnTo>
                  <a:pt x="6401" y="1714"/>
                </a:lnTo>
                <a:lnTo>
                  <a:pt x="6401" y="6402"/>
                </a:lnTo>
                <a:lnTo>
                  <a:pt x="1748" y="640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78175" tIns="39075" rIns="78175" bIns="39075" anchor="t" anchorCtr="0">
            <a:noAutofit/>
          </a:bodyPr>
          <a:lstStyle/>
          <a:p>
            <a:pPr marL="0" marR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nb-NO"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4" name="Google Shape;6747;p149">
            <a:extLst>
              <a:ext uri="{FF2B5EF4-FFF2-40B4-BE49-F238E27FC236}">
                <a16:creationId xmlns:a16="http://schemas.microsoft.com/office/drawing/2014/main" id="{279B35FA-2081-FA31-74F0-0BAC990697EF}"/>
              </a:ext>
            </a:extLst>
          </p:cNvPr>
          <p:cNvGrpSpPr/>
          <p:nvPr/>
        </p:nvGrpSpPr>
        <p:grpSpPr>
          <a:xfrm>
            <a:off x="6888641" y="4696706"/>
            <a:ext cx="410280" cy="410218"/>
            <a:chOff x="986" y="0"/>
            <a:chExt cx="6673" cy="6672"/>
          </a:xfrm>
        </p:grpSpPr>
        <p:sp>
          <p:nvSpPr>
            <p:cNvPr id="26" name="Google Shape;6748;p149">
              <a:extLst>
                <a:ext uri="{FF2B5EF4-FFF2-40B4-BE49-F238E27FC236}">
                  <a16:creationId xmlns:a16="http://schemas.microsoft.com/office/drawing/2014/main" id="{121C9932-488C-9721-310E-3BA2D4A4F013}"/>
                </a:ext>
              </a:extLst>
            </p:cNvPr>
            <p:cNvSpPr/>
            <p:nvPr/>
          </p:nvSpPr>
          <p:spPr>
            <a:xfrm>
              <a:off x="986" y="0"/>
              <a:ext cx="6673" cy="6672"/>
            </a:xfrm>
            <a:custGeom>
              <a:avLst/>
              <a:gdLst/>
              <a:ahLst/>
              <a:cxnLst/>
              <a:rect l="l" t="t" r="r" b="b"/>
              <a:pathLst>
                <a:path w="6673" h="6672" extrusionOk="0">
                  <a:moveTo>
                    <a:pt x="0" y="0"/>
                  </a:moveTo>
                  <a:lnTo>
                    <a:pt x="0" y="6672"/>
                  </a:lnTo>
                  <a:lnTo>
                    <a:pt x="6673" y="6672"/>
                  </a:lnTo>
                  <a:lnTo>
                    <a:pt x="6673" y="0"/>
                  </a:lnTo>
                  <a:lnTo>
                    <a:pt x="0" y="0"/>
                  </a:lnTo>
                  <a:close/>
                  <a:moveTo>
                    <a:pt x="6389" y="6386"/>
                  </a:moveTo>
                  <a:lnTo>
                    <a:pt x="284" y="6386"/>
                  </a:lnTo>
                  <a:lnTo>
                    <a:pt x="284" y="286"/>
                  </a:lnTo>
                  <a:lnTo>
                    <a:pt x="6389" y="286"/>
                  </a:lnTo>
                  <a:lnTo>
                    <a:pt x="6389" y="638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6749;p149">
              <a:extLst>
                <a:ext uri="{FF2B5EF4-FFF2-40B4-BE49-F238E27FC236}">
                  <a16:creationId xmlns:a16="http://schemas.microsoft.com/office/drawing/2014/main" id="{4E3F0568-8E27-FE94-8BD6-10961C797161}"/>
                </a:ext>
              </a:extLst>
            </p:cNvPr>
            <p:cNvSpPr/>
            <p:nvPr/>
          </p:nvSpPr>
          <p:spPr>
            <a:xfrm>
              <a:off x="1700" y="674"/>
              <a:ext cx="5287" cy="5284"/>
            </a:xfrm>
            <a:custGeom>
              <a:avLst/>
              <a:gdLst/>
              <a:ahLst/>
              <a:cxnLst/>
              <a:rect l="l" t="t" r="r" b="b"/>
              <a:pathLst>
                <a:path w="5287" h="5284" extrusionOk="0">
                  <a:moveTo>
                    <a:pt x="202" y="5284"/>
                  </a:moveTo>
                  <a:lnTo>
                    <a:pt x="1846" y="3641"/>
                  </a:lnTo>
                  <a:lnTo>
                    <a:pt x="1846" y="3641"/>
                  </a:lnTo>
                  <a:lnTo>
                    <a:pt x="1918" y="3701"/>
                  </a:lnTo>
                  <a:lnTo>
                    <a:pt x="1992" y="3757"/>
                  </a:lnTo>
                  <a:lnTo>
                    <a:pt x="2068" y="3811"/>
                  </a:lnTo>
                  <a:lnTo>
                    <a:pt x="2148" y="3859"/>
                  </a:lnTo>
                  <a:lnTo>
                    <a:pt x="2228" y="3905"/>
                  </a:lnTo>
                  <a:lnTo>
                    <a:pt x="2310" y="3947"/>
                  </a:lnTo>
                  <a:lnTo>
                    <a:pt x="2394" y="3985"/>
                  </a:lnTo>
                  <a:lnTo>
                    <a:pt x="2480" y="4019"/>
                  </a:lnTo>
                  <a:lnTo>
                    <a:pt x="2566" y="4051"/>
                  </a:lnTo>
                  <a:lnTo>
                    <a:pt x="2657" y="4077"/>
                  </a:lnTo>
                  <a:lnTo>
                    <a:pt x="2745" y="4099"/>
                  </a:lnTo>
                  <a:lnTo>
                    <a:pt x="2837" y="4119"/>
                  </a:lnTo>
                  <a:lnTo>
                    <a:pt x="2929" y="4133"/>
                  </a:lnTo>
                  <a:lnTo>
                    <a:pt x="3021" y="4143"/>
                  </a:lnTo>
                  <a:lnTo>
                    <a:pt x="3115" y="4149"/>
                  </a:lnTo>
                  <a:lnTo>
                    <a:pt x="3211" y="4151"/>
                  </a:lnTo>
                  <a:lnTo>
                    <a:pt x="3211" y="4151"/>
                  </a:lnTo>
                  <a:lnTo>
                    <a:pt x="3263" y="4151"/>
                  </a:lnTo>
                  <a:lnTo>
                    <a:pt x="3315" y="4149"/>
                  </a:lnTo>
                  <a:lnTo>
                    <a:pt x="3365" y="4145"/>
                  </a:lnTo>
                  <a:lnTo>
                    <a:pt x="3417" y="4141"/>
                  </a:lnTo>
                  <a:lnTo>
                    <a:pt x="3467" y="4135"/>
                  </a:lnTo>
                  <a:lnTo>
                    <a:pt x="3519" y="4129"/>
                  </a:lnTo>
                  <a:lnTo>
                    <a:pt x="3569" y="4121"/>
                  </a:lnTo>
                  <a:lnTo>
                    <a:pt x="3619" y="4111"/>
                  </a:lnTo>
                  <a:lnTo>
                    <a:pt x="3669" y="4101"/>
                  </a:lnTo>
                  <a:lnTo>
                    <a:pt x="3717" y="4089"/>
                  </a:lnTo>
                  <a:lnTo>
                    <a:pt x="3767" y="4077"/>
                  </a:lnTo>
                  <a:lnTo>
                    <a:pt x="3815" y="4063"/>
                  </a:lnTo>
                  <a:lnTo>
                    <a:pt x="3863" y="4047"/>
                  </a:lnTo>
                  <a:lnTo>
                    <a:pt x="3911" y="4031"/>
                  </a:lnTo>
                  <a:lnTo>
                    <a:pt x="3959" y="4013"/>
                  </a:lnTo>
                  <a:lnTo>
                    <a:pt x="4005" y="3995"/>
                  </a:lnTo>
                  <a:lnTo>
                    <a:pt x="4053" y="3975"/>
                  </a:lnTo>
                  <a:lnTo>
                    <a:pt x="4099" y="3953"/>
                  </a:lnTo>
                  <a:lnTo>
                    <a:pt x="4143" y="3931"/>
                  </a:lnTo>
                  <a:lnTo>
                    <a:pt x="4189" y="3909"/>
                  </a:lnTo>
                  <a:lnTo>
                    <a:pt x="4233" y="3883"/>
                  </a:lnTo>
                  <a:lnTo>
                    <a:pt x="4277" y="3859"/>
                  </a:lnTo>
                  <a:lnTo>
                    <a:pt x="4319" y="3831"/>
                  </a:lnTo>
                  <a:lnTo>
                    <a:pt x="4363" y="3803"/>
                  </a:lnTo>
                  <a:lnTo>
                    <a:pt x="4405" y="3775"/>
                  </a:lnTo>
                  <a:lnTo>
                    <a:pt x="4445" y="3745"/>
                  </a:lnTo>
                  <a:lnTo>
                    <a:pt x="4487" y="3715"/>
                  </a:lnTo>
                  <a:lnTo>
                    <a:pt x="4527" y="3683"/>
                  </a:lnTo>
                  <a:lnTo>
                    <a:pt x="4565" y="3649"/>
                  </a:lnTo>
                  <a:lnTo>
                    <a:pt x="4603" y="3615"/>
                  </a:lnTo>
                  <a:lnTo>
                    <a:pt x="4641" y="3579"/>
                  </a:lnTo>
                  <a:lnTo>
                    <a:pt x="4679" y="3543"/>
                  </a:lnTo>
                  <a:lnTo>
                    <a:pt x="4679" y="3543"/>
                  </a:lnTo>
                  <a:lnTo>
                    <a:pt x="4717" y="3505"/>
                  </a:lnTo>
                  <a:lnTo>
                    <a:pt x="4753" y="3465"/>
                  </a:lnTo>
                  <a:lnTo>
                    <a:pt x="4787" y="3427"/>
                  </a:lnTo>
                  <a:lnTo>
                    <a:pt x="4821" y="3385"/>
                  </a:lnTo>
                  <a:lnTo>
                    <a:pt x="4853" y="3345"/>
                  </a:lnTo>
                  <a:lnTo>
                    <a:pt x="4885" y="3303"/>
                  </a:lnTo>
                  <a:lnTo>
                    <a:pt x="4915" y="3261"/>
                  </a:lnTo>
                  <a:lnTo>
                    <a:pt x="4945" y="3217"/>
                  </a:lnTo>
                  <a:lnTo>
                    <a:pt x="4973" y="3175"/>
                  </a:lnTo>
                  <a:lnTo>
                    <a:pt x="4999" y="3131"/>
                  </a:lnTo>
                  <a:lnTo>
                    <a:pt x="5025" y="3085"/>
                  </a:lnTo>
                  <a:lnTo>
                    <a:pt x="5049" y="3041"/>
                  </a:lnTo>
                  <a:lnTo>
                    <a:pt x="5073" y="2995"/>
                  </a:lnTo>
                  <a:lnTo>
                    <a:pt x="5095" y="2949"/>
                  </a:lnTo>
                  <a:lnTo>
                    <a:pt x="5115" y="2903"/>
                  </a:lnTo>
                  <a:lnTo>
                    <a:pt x="5135" y="2857"/>
                  </a:lnTo>
                  <a:lnTo>
                    <a:pt x="5153" y="2809"/>
                  </a:lnTo>
                  <a:lnTo>
                    <a:pt x="5169" y="2763"/>
                  </a:lnTo>
                  <a:lnTo>
                    <a:pt x="5185" y="2715"/>
                  </a:lnTo>
                  <a:lnTo>
                    <a:pt x="5201" y="2667"/>
                  </a:lnTo>
                  <a:lnTo>
                    <a:pt x="5215" y="2619"/>
                  </a:lnTo>
                  <a:lnTo>
                    <a:pt x="5227" y="2569"/>
                  </a:lnTo>
                  <a:lnTo>
                    <a:pt x="5239" y="2521"/>
                  </a:lnTo>
                  <a:lnTo>
                    <a:pt x="5249" y="2471"/>
                  </a:lnTo>
                  <a:lnTo>
                    <a:pt x="5265" y="2373"/>
                  </a:lnTo>
                  <a:lnTo>
                    <a:pt x="5277" y="2275"/>
                  </a:lnTo>
                  <a:lnTo>
                    <a:pt x="5283" y="2175"/>
                  </a:lnTo>
                  <a:lnTo>
                    <a:pt x="5287" y="2075"/>
                  </a:lnTo>
                  <a:lnTo>
                    <a:pt x="5283" y="1975"/>
                  </a:lnTo>
                  <a:lnTo>
                    <a:pt x="5277" y="1875"/>
                  </a:lnTo>
                  <a:lnTo>
                    <a:pt x="5265" y="1777"/>
                  </a:lnTo>
                  <a:lnTo>
                    <a:pt x="5249" y="1679"/>
                  </a:lnTo>
                  <a:lnTo>
                    <a:pt x="5239" y="1629"/>
                  </a:lnTo>
                  <a:lnTo>
                    <a:pt x="5227" y="1581"/>
                  </a:lnTo>
                  <a:lnTo>
                    <a:pt x="5215" y="1531"/>
                  </a:lnTo>
                  <a:lnTo>
                    <a:pt x="5201" y="1483"/>
                  </a:lnTo>
                  <a:lnTo>
                    <a:pt x="5185" y="1435"/>
                  </a:lnTo>
                  <a:lnTo>
                    <a:pt x="5169" y="1387"/>
                  </a:lnTo>
                  <a:lnTo>
                    <a:pt x="5153" y="1341"/>
                  </a:lnTo>
                  <a:lnTo>
                    <a:pt x="5135" y="1293"/>
                  </a:lnTo>
                  <a:lnTo>
                    <a:pt x="5115" y="1247"/>
                  </a:lnTo>
                  <a:lnTo>
                    <a:pt x="5095" y="1201"/>
                  </a:lnTo>
                  <a:lnTo>
                    <a:pt x="5073" y="1155"/>
                  </a:lnTo>
                  <a:lnTo>
                    <a:pt x="5049" y="1109"/>
                  </a:lnTo>
                  <a:lnTo>
                    <a:pt x="5025" y="1063"/>
                  </a:lnTo>
                  <a:lnTo>
                    <a:pt x="4999" y="1019"/>
                  </a:lnTo>
                  <a:lnTo>
                    <a:pt x="4973" y="976"/>
                  </a:lnTo>
                  <a:lnTo>
                    <a:pt x="4945" y="934"/>
                  </a:lnTo>
                  <a:lnTo>
                    <a:pt x="4915" y="890"/>
                  </a:lnTo>
                  <a:lnTo>
                    <a:pt x="4885" y="848"/>
                  </a:lnTo>
                  <a:lnTo>
                    <a:pt x="4853" y="806"/>
                  </a:lnTo>
                  <a:lnTo>
                    <a:pt x="4821" y="766"/>
                  </a:lnTo>
                  <a:lnTo>
                    <a:pt x="4787" y="724"/>
                  </a:lnTo>
                  <a:lnTo>
                    <a:pt x="4753" y="684"/>
                  </a:lnTo>
                  <a:lnTo>
                    <a:pt x="4717" y="646"/>
                  </a:lnTo>
                  <a:lnTo>
                    <a:pt x="4679" y="608"/>
                  </a:lnTo>
                  <a:lnTo>
                    <a:pt x="4679" y="608"/>
                  </a:lnTo>
                  <a:lnTo>
                    <a:pt x="4641" y="572"/>
                  </a:lnTo>
                  <a:lnTo>
                    <a:pt x="4603" y="536"/>
                  </a:lnTo>
                  <a:lnTo>
                    <a:pt x="4565" y="502"/>
                  </a:lnTo>
                  <a:lnTo>
                    <a:pt x="4527" y="468"/>
                  </a:lnTo>
                  <a:lnTo>
                    <a:pt x="4487" y="436"/>
                  </a:lnTo>
                  <a:lnTo>
                    <a:pt x="4445" y="406"/>
                  </a:lnTo>
                  <a:lnTo>
                    <a:pt x="4405" y="376"/>
                  </a:lnTo>
                  <a:lnTo>
                    <a:pt x="4363" y="348"/>
                  </a:lnTo>
                  <a:lnTo>
                    <a:pt x="4319" y="320"/>
                  </a:lnTo>
                  <a:lnTo>
                    <a:pt x="4277" y="292"/>
                  </a:lnTo>
                  <a:lnTo>
                    <a:pt x="4233" y="268"/>
                  </a:lnTo>
                  <a:lnTo>
                    <a:pt x="4189" y="242"/>
                  </a:lnTo>
                  <a:lnTo>
                    <a:pt x="4143" y="220"/>
                  </a:lnTo>
                  <a:lnTo>
                    <a:pt x="4099" y="198"/>
                  </a:lnTo>
                  <a:lnTo>
                    <a:pt x="4053" y="176"/>
                  </a:lnTo>
                  <a:lnTo>
                    <a:pt x="4005" y="156"/>
                  </a:lnTo>
                  <a:lnTo>
                    <a:pt x="3959" y="138"/>
                  </a:lnTo>
                  <a:lnTo>
                    <a:pt x="3911" y="120"/>
                  </a:lnTo>
                  <a:lnTo>
                    <a:pt x="3863" y="104"/>
                  </a:lnTo>
                  <a:lnTo>
                    <a:pt x="3815" y="88"/>
                  </a:lnTo>
                  <a:lnTo>
                    <a:pt x="3767" y="74"/>
                  </a:lnTo>
                  <a:lnTo>
                    <a:pt x="3717" y="62"/>
                  </a:lnTo>
                  <a:lnTo>
                    <a:pt x="3669" y="50"/>
                  </a:lnTo>
                  <a:lnTo>
                    <a:pt x="3619" y="40"/>
                  </a:lnTo>
                  <a:lnTo>
                    <a:pt x="3569" y="30"/>
                  </a:lnTo>
                  <a:lnTo>
                    <a:pt x="3519" y="22"/>
                  </a:lnTo>
                  <a:lnTo>
                    <a:pt x="3467" y="16"/>
                  </a:lnTo>
                  <a:lnTo>
                    <a:pt x="3417" y="10"/>
                  </a:lnTo>
                  <a:lnTo>
                    <a:pt x="3365" y="6"/>
                  </a:lnTo>
                  <a:lnTo>
                    <a:pt x="3315" y="2"/>
                  </a:lnTo>
                  <a:lnTo>
                    <a:pt x="3263" y="0"/>
                  </a:lnTo>
                  <a:lnTo>
                    <a:pt x="3211" y="0"/>
                  </a:lnTo>
                  <a:lnTo>
                    <a:pt x="3211" y="0"/>
                  </a:lnTo>
                  <a:lnTo>
                    <a:pt x="3159" y="0"/>
                  </a:lnTo>
                  <a:lnTo>
                    <a:pt x="3107" y="2"/>
                  </a:lnTo>
                  <a:lnTo>
                    <a:pt x="3055" y="6"/>
                  </a:lnTo>
                  <a:lnTo>
                    <a:pt x="3005" y="10"/>
                  </a:lnTo>
                  <a:lnTo>
                    <a:pt x="2953" y="16"/>
                  </a:lnTo>
                  <a:lnTo>
                    <a:pt x="2903" y="22"/>
                  </a:lnTo>
                  <a:lnTo>
                    <a:pt x="2853" y="30"/>
                  </a:lnTo>
                  <a:lnTo>
                    <a:pt x="2803" y="40"/>
                  </a:lnTo>
                  <a:lnTo>
                    <a:pt x="2753" y="50"/>
                  </a:lnTo>
                  <a:lnTo>
                    <a:pt x="2703" y="62"/>
                  </a:lnTo>
                  <a:lnTo>
                    <a:pt x="2655" y="74"/>
                  </a:lnTo>
                  <a:lnTo>
                    <a:pt x="2604" y="88"/>
                  </a:lnTo>
                  <a:lnTo>
                    <a:pt x="2556" y="104"/>
                  </a:lnTo>
                  <a:lnTo>
                    <a:pt x="2508" y="120"/>
                  </a:lnTo>
                  <a:lnTo>
                    <a:pt x="2462" y="138"/>
                  </a:lnTo>
                  <a:lnTo>
                    <a:pt x="2414" y="156"/>
                  </a:lnTo>
                  <a:lnTo>
                    <a:pt x="2368" y="176"/>
                  </a:lnTo>
                  <a:lnTo>
                    <a:pt x="2322" y="198"/>
                  </a:lnTo>
                  <a:lnTo>
                    <a:pt x="2276" y="220"/>
                  </a:lnTo>
                  <a:lnTo>
                    <a:pt x="2232" y="242"/>
                  </a:lnTo>
                  <a:lnTo>
                    <a:pt x="2188" y="268"/>
                  </a:lnTo>
                  <a:lnTo>
                    <a:pt x="2144" y="292"/>
                  </a:lnTo>
                  <a:lnTo>
                    <a:pt x="2100" y="320"/>
                  </a:lnTo>
                  <a:lnTo>
                    <a:pt x="2058" y="348"/>
                  </a:lnTo>
                  <a:lnTo>
                    <a:pt x="2016" y="376"/>
                  </a:lnTo>
                  <a:lnTo>
                    <a:pt x="1974" y="406"/>
                  </a:lnTo>
                  <a:lnTo>
                    <a:pt x="1934" y="436"/>
                  </a:lnTo>
                  <a:lnTo>
                    <a:pt x="1894" y="468"/>
                  </a:lnTo>
                  <a:lnTo>
                    <a:pt x="1854" y="502"/>
                  </a:lnTo>
                  <a:lnTo>
                    <a:pt x="1816" y="536"/>
                  </a:lnTo>
                  <a:lnTo>
                    <a:pt x="1778" y="572"/>
                  </a:lnTo>
                  <a:lnTo>
                    <a:pt x="1742" y="608"/>
                  </a:lnTo>
                  <a:lnTo>
                    <a:pt x="1742" y="608"/>
                  </a:lnTo>
                  <a:lnTo>
                    <a:pt x="1706" y="644"/>
                  </a:lnTo>
                  <a:lnTo>
                    <a:pt x="1670" y="682"/>
                  </a:lnTo>
                  <a:lnTo>
                    <a:pt x="1638" y="720"/>
                  </a:lnTo>
                  <a:lnTo>
                    <a:pt x="1604" y="758"/>
                  </a:lnTo>
                  <a:lnTo>
                    <a:pt x="1574" y="798"/>
                  </a:lnTo>
                  <a:lnTo>
                    <a:pt x="1542" y="838"/>
                  </a:lnTo>
                  <a:lnTo>
                    <a:pt x="1514" y="878"/>
                  </a:lnTo>
                  <a:lnTo>
                    <a:pt x="1486" y="918"/>
                  </a:lnTo>
                  <a:lnTo>
                    <a:pt x="1432" y="1001"/>
                  </a:lnTo>
                  <a:lnTo>
                    <a:pt x="1384" y="1087"/>
                  </a:lnTo>
                  <a:lnTo>
                    <a:pt x="1338" y="1173"/>
                  </a:lnTo>
                  <a:lnTo>
                    <a:pt x="1298" y="1261"/>
                  </a:lnTo>
                  <a:lnTo>
                    <a:pt x="1264" y="1351"/>
                  </a:lnTo>
                  <a:lnTo>
                    <a:pt x="1232" y="1443"/>
                  </a:lnTo>
                  <a:lnTo>
                    <a:pt x="1204" y="1535"/>
                  </a:lnTo>
                  <a:lnTo>
                    <a:pt x="1182" y="1629"/>
                  </a:lnTo>
                  <a:lnTo>
                    <a:pt x="1164" y="1723"/>
                  </a:lnTo>
                  <a:lnTo>
                    <a:pt x="1150" y="1817"/>
                  </a:lnTo>
                  <a:lnTo>
                    <a:pt x="1140" y="1913"/>
                  </a:lnTo>
                  <a:lnTo>
                    <a:pt x="1136" y="2009"/>
                  </a:lnTo>
                  <a:lnTo>
                    <a:pt x="1134" y="2103"/>
                  </a:lnTo>
                  <a:lnTo>
                    <a:pt x="1138" y="2199"/>
                  </a:lnTo>
                  <a:lnTo>
                    <a:pt x="1146" y="2295"/>
                  </a:lnTo>
                  <a:lnTo>
                    <a:pt x="1158" y="2389"/>
                  </a:lnTo>
                  <a:lnTo>
                    <a:pt x="1174" y="2483"/>
                  </a:lnTo>
                  <a:lnTo>
                    <a:pt x="1196" y="2577"/>
                  </a:lnTo>
                  <a:lnTo>
                    <a:pt x="1220" y="2669"/>
                  </a:lnTo>
                  <a:lnTo>
                    <a:pt x="1250" y="2761"/>
                  </a:lnTo>
                  <a:lnTo>
                    <a:pt x="1284" y="2853"/>
                  </a:lnTo>
                  <a:lnTo>
                    <a:pt x="1322" y="2941"/>
                  </a:lnTo>
                  <a:lnTo>
                    <a:pt x="1366" y="3029"/>
                  </a:lnTo>
                  <a:lnTo>
                    <a:pt x="1412" y="3115"/>
                  </a:lnTo>
                  <a:lnTo>
                    <a:pt x="1464" y="3199"/>
                  </a:lnTo>
                  <a:lnTo>
                    <a:pt x="1520" y="3281"/>
                  </a:lnTo>
                  <a:lnTo>
                    <a:pt x="1550" y="3321"/>
                  </a:lnTo>
                  <a:lnTo>
                    <a:pt x="1580" y="3361"/>
                  </a:lnTo>
                  <a:lnTo>
                    <a:pt x="1612" y="3401"/>
                  </a:lnTo>
                  <a:lnTo>
                    <a:pt x="1644" y="3439"/>
                  </a:lnTo>
                  <a:lnTo>
                    <a:pt x="0" y="5082"/>
                  </a:lnTo>
                  <a:lnTo>
                    <a:pt x="202" y="5284"/>
                  </a:lnTo>
                  <a:close/>
                  <a:moveTo>
                    <a:pt x="4477" y="3343"/>
                  </a:moveTo>
                  <a:lnTo>
                    <a:pt x="4477" y="3343"/>
                  </a:lnTo>
                  <a:lnTo>
                    <a:pt x="4413" y="3403"/>
                  </a:lnTo>
                  <a:lnTo>
                    <a:pt x="4345" y="3461"/>
                  </a:lnTo>
                  <a:lnTo>
                    <a:pt x="4277" y="3517"/>
                  </a:lnTo>
                  <a:lnTo>
                    <a:pt x="4205" y="3567"/>
                  </a:lnTo>
                  <a:lnTo>
                    <a:pt x="4131" y="3613"/>
                  </a:lnTo>
                  <a:lnTo>
                    <a:pt x="4055" y="3657"/>
                  </a:lnTo>
                  <a:lnTo>
                    <a:pt x="3977" y="3697"/>
                  </a:lnTo>
                  <a:lnTo>
                    <a:pt x="3897" y="3731"/>
                  </a:lnTo>
                  <a:lnTo>
                    <a:pt x="3815" y="3763"/>
                  </a:lnTo>
                  <a:lnTo>
                    <a:pt x="3733" y="3791"/>
                  </a:lnTo>
                  <a:lnTo>
                    <a:pt x="3649" y="3813"/>
                  </a:lnTo>
                  <a:lnTo>
                    <a:pt x="3563" y="3833"/>
                  </a:lnTo>
                  <a:lnTo>
                    <a:pt x="3477" y="3847"/>
                  </a:lnTo>
                  <a:lnTo>
                    <a:pt x="3389" y="3859"/>
                  </a:lnTo>
                  <a:lnTo>
                    <a:pt x="3301" y="3865"/>
                  </a:lnTo>
                  <a:lnTo>
                    <a:pt x="3211" y="3867"/>
                  </a:lnTo>
                  <a:lnTo>
                    <a:pt x="3211" y="3867"/>
                  </a:lnTo>
                  <a:lnTo>
                    <a:pt x="3121" y="3865"/>
                  </a:lnTo>
                  <a:lnTo>
                    <a:pt x="3033" y="3859"/>
                  </a:lnTo>
                  <a:lnTo>
                    <a:pt x="2945" y="3847"/>
                  </a:lnTo>
                  <a:lnTo>
                    <a:pt x="2859" y="3833"/>
                  </a:lnTo>
                  <a:lnTo>
                    <a:pt x="2773" y="3813"/>
                  </a:lnTo>
                  <a:lnTo>
                    <a:pt x="2689" y="3791"/>
                  </a:lnTo>
                  <a:lnTo>
                    <a:pt x="2604" y="3763"/>
                  </a:lnTo>
                  <a:lnTo>
                    <a:pt x="2524" y="3731"/>
                  </a:lnTo>
                  <a:lnTo>
                    <a:pt x="2444" y="3697"/>
                  </a:lnTo>
                  <a:lnTo>
                    <a:pt x="2366" y="3657"/>
                  </a:lnTo>
                  <a:lnTo>
                    <a:pt x="2290" y="3613"/>
                  </a:lnTo>
                  <a:lnTo>
                    <a:pt x="2216" y="3567"/>
                  </a:lnTo>
                  <a:lnTo>
                    <a:pt x="2144" y="3517"/>
                  </a:lnTo>
                  <a:lnTo>
                    <a:pt x="2074" y="3461"/>
                  </a:lnTo>
                  <a:lnTo>
                    <a:pt x="2008" y="3403"/>
                  </a:lnTo>
                  <a:lnTo>
                    <a:pt x="1942" y="3343"/>
                  </a:lnTo>
                  <a:lnTo>
                    <a:pt x="1942" y="3343"/>
                  </a:lnTo>
                  <a:lnTo>
                    <a:pt x="1910" y="3307"/>
                  </a:lnTo>
                  <a:lnTo>
                    <a:pt x="1876" y="3273"/>
                  </a:lnTo>
                  <a:lnTo>
                    <a:pt x="1846" y="3237"/>
                  </a:lnTo>
                  <a:lnTo>
                    <a:pt x="1816" y="3201"/>
                  </a:lnTo>
                  <a:lnTo>
                    <a:pt x="1788" y="3165"/>
                  </a:lnTo>
                  <a:lnTo>
                    <a:pt x="1760" y="3127"/>
                  </a:lnTo>
                  <a:lnTo>
                    <a:pt x="1706" y="3051"/>
                  </a:lnTo>
                  <a:lnTo>
                    <a:pt x="1962" y="3051"/>
                  </a:lnTo>
                  <a:lnTo>
                    <a:pt x="2707" y="3051"/>
                  </a:lnTo>
                  <a:lnTo>
                    <a:pt x="2993" y="3051"/>
                  </a:lnTo>
                  <a:lnTo>
                    <a:pt x="3453" y="3051"/>
                  </a:lnTo>
                  <a:lnTo>
                    <a:pt x="3737" y="3051"/>
                  </a:lnTo>
                  <a:lnTo>
                    <a:pt x="4483" y="3051"/>
                  </a:lnTo>
                  <a:lnTo>
                    <a:pt x="4713" y="3051"/>
                  </a:lnTo>
                  <a:lnTo>
                    <a:pt x="4713" y="3051"/>
                  </a:lnTo>
                  <a:lnTo>
                    <a:pt x="4661" y="3127"/>
                  </a:lnTo>
                  <a:lnTo>
                    <a:pt x="4633" y="3165"/>
                  </a:lnTo>
                  <a:lnTo>
                    <a:pt x="4605" y="3201"/>
                  </a:lnTo>
                  <a:lnTo>
                    <a:pt x="4575" y="3237"/>
                  </a:lnTo>
                  <a:lnTo>
                    <a:pt x="4543" y="3273"/>
                  </a:lnTo>
                  <a:lnTo>
                    <a:pt x="4511" y="3307"/>
                  </a:lnTo>
                  <a:lnTo>
                    <a:pt x="4477" y="3343"/>
                  </a:lnTo>
                  <a:lnTo>
                    <a:pt x="4477" y="3343"/>
                  </a:lnTo>
                  <a:close/>
                  <a:moveTo>
                    <a:pt x="2993" y="1481"/>
                  </a:moveTo>
                  <a:lnTo>
                    <a:pt x="2993" y="1201"/>
                  </a:lnTo>
                  <a:lnTo>
                    <a:pt x="3453" y="1201"/>
                  </a:lnTo>
                  <a:lnTo>
                    <a:pt x="3453" y="1867"/>
                  </a:lnTo>
                  <a:lnTo>
                    <a:pt x="3453" y="2765"/>
                  </a:lnTo>
                  <a:lnTo>
                    <a:pt x="2993" y="2765"/>
                  </a:lnTo>
                  <a:lnTo>
                    <a:pt x="2993" y="1481"/>
                  </a:lnTo>
                  <a:close/>
                  <a:moveTo>
                    <a:pt x="4197" y="2765"/>
                  </a:moveTo>
                  <a:lnTo>
                    <a:pt x="3737" y="2765"/>
                  </a:lnTo>
                  <a:lnTo>
                    <a:pt x="3737" y="2151"/>
                  </a:lnTo>
                  <a:lnTo>
                    <a:pt x="4197" y="2151"/>
                  </a:lnTo>
                  <a:lnTo>
                    <a:pt x="4197" y="2765"/>
                  </a:lnTo>
                  <a:close/>
                  <a:moveTo>
                    <a:pt x="2707" y="2765"/>
                  </a:moveTo>
                  <a:lnTo>
                    <a:pt x="2246" y="2765"/>
                  </a:lnTo>
                  <a:lnTo>
                    <a:pt x="2246" y="1765"/>
                  </a:lnTo>
                  <a:lnTo>
                    <a:pt x="2707" y="1765"/>
                  </a:lnTo>
                  <a:lnTo>
                    <a:pt x="2707" y="2765"/>
                  </a:lnTo>
                  <a:close/>
                  <a:moveTo>
                    <a:pt x="1942" y="808"/>
                  </a:moveTo>
                  <a:lnTo>
                    <a:pt x="1942" y="808"/>
                  </a:lnTo>
                  <a:lnTo>
                    <a:pt x="2008" y="748"/>
                  </a:lnTo>
                  <a:lnTo>
                    <a:pt x="2074" y="690"/>
                  </a:lnTo>
                  <a:lnTo>
                    <a:pt x="2144" y="634"/>
                  </a:lnTo>
                  <a:lnTo>
                    <a:pt x="2216" y="584"/>
                  </a:lnTo>
                  <a:lnTo>
                    <a:pt x="2290" y="538"/>
                  </a:lnTo>
                  <a:lnTo>
                    <a:pt x="2366" y="494"/>
                  </a:lnTo>
                  <a:lnTo>
                    <a:pt x="2444" y="454"/>
                  </a:lnTo>
                  <a:lnTo>
                    <a:pt x="2524" y="420"/>
                  </a:lnTo>
                  <a:lnTo>
                    <a:pt x="2604" y="388"/>
                  </a:lnTo>
                  <a:lnTo>
                    <a:pt x="2689" y="360"/>
                  </a:lnTo>
                  <a:lnTo>
                    <a:pt x="2773" y="338"/>
                  </a:lnTo>
                  <a:lnTo>
                    <a:pt x="2859" y="318"/>
                  </a:lnTo>
                  <a:lnTo>
                    <a:pt x="2945" y="304"/>
                  </a:lnTo>
                  <a:lnTo>
                    <a:pt x="3033" y="292"/>
                  </a:lnTo>
                  <a:lnTo>
                    <a:pt x="3121" y="286"/>
                  </a:lnTo>
                  <a:lnTo>
                    <a:pt x="3211" y="284"/>
                  </a:lnTo>
                  <a:lnTo>
                    <a:pt x="3211" y="284"/>
                  </a:lnTo>
                  <a:lnTo>
                    <a:pt x="3301" y="286"/>
                  </a:lnTo>
                  <a:lnTo>
                    <a:pt x="3389" y="292"/>
                  </a:lnTo>
                  <a:lnTo>
                    <a:pt x="3477" y="304"/>
                  </a:lnTo>
                  <a:lnTo>
                    <a:pt x="3563" y="318"/>
                  </a:lnTo>
                  <a:lnTo>
                    <a:pt x="3649" y="338"/>
                  </a:lnTo>
                  <a:lnTo>
                    <a:pt x="3733" y="360"/>
                  </a:lnTo>
                  <a:lnTo>
                    <a:pt x="3815" y="388"/>
                  </a:lnTo>
                  <a:lnTo>
                    <a:pt x="3897" y="420"/>
                  </a:lnTo>
                  <a:lnTo>
                    <a:pt x="3977" y="454"/>
                  </a:lnTo>
                  <a:lnTo>
                    <a:pt x="4055" y="494"/>
                  </a:lnTo>
                  <a:lnTo>
                    <a:pt x="4131" y="538"/>
                  </a:lnTo>
                  <a:lnTo>
                    <a:pt x="4205" y="584"/>
                  </a:lnTo>
                  <a:lnTo>
                    <a:pt x="4277" y="634"/>
                  </a:lnTo>
                  <a:lnTo>
                    <a:pt x="4345" y="690"/>
                  </a:lnTo>
                  <a:lnTo>
                    <a:pt x="4413" y="748"/>
                  </a:lnTo>
                  <a:lnTo>
                    <a:pt x="4477" y="808"/>
                  </a:lnTo>
                  <a:lnTo>
                    <a:pt x="4477" y="808"/>
                  </a:lnTo>
                  <a:lnTo>
                    <a:pt x="4527" y="860"/>
                  </a:lnTo>
                  <a:lnTo>
                    <a:pt x="4573" y="910"/>
                  </a:lnTo>
                  <a:lnTo>
                    <a:pt x="4615" y="964"/>
                  </a:lnTo>
                  <a:lnTo>
                    <a:pt x="4657" y="1017"/>
                  </a:lnTo>
                  <a:lnTo>
                    <a:pt x="4697" y="1073"/>
                  </a:lnTo>
                  <a:lnTo>
                    <a:pt x="4733" y="1129"/>
                  </a:lnTo>
                  <a:lnTo>
                    <a:pt x="4767" y="1187"/>
                  </a:lnTo>
                  <a:lnTo>
                    <a:pt x="4799" y="1245"/>
                  </a:lnTo>
                  <a:lnTo>
                    <a:pt x="4829" y="1305"/>
                  </a:lnTo>
                  <a:lnTo>
                    <a:pt x="4855" y="1365"/>
                  </a:lnTo>
                  <a:lnTo>
                    <a:pt x="4881" y="1427"/>
                  </a:lnTo>
                  <a:lnTo>
                    <a:pt x="4903" y="1489"/>
                  </a:lnTo>
                  <a:lnTo>
                    <a:pt x="4923" y="1551"/>
                  </a:lnTo>
                  <a:lnTo>
                    <a:pt x="4941" y="1613"/>
                  </a:lnTo>
                  <a:lnTo>
                    <a:pt x="4957" y="1677"/>
                  </a:lnTo>
                  <a:lnTo>
                    <a:pt x="4971" y="1741"/>
                  </a:lnTo>
                  <a:lnTo>
                    <a:pt x="4981" y="1805"/>
                  </a:lnTo>
                  <a:lnTo>
                    <a:pt x="4989" y="1869"/>
                  </a:lnTo>
                  <a:lnTo>
                    <a:pt x="4995" y="1935"/>
                  </a:lnTo>
                  <a:lnTo>
                    <a:pt x="4999" y="1999"/>
                  </a:lnTo>
                  <a:lnTo>
                    <a:pt x="5001" y="2065"/>
                  </a:lnTo>
                  <a:lnTo>
                    <a:pt x="5001" y="2129"/>
                  </a:lnTo>
                  <a:lnTo>
                    <a:pt x="4997" y="2195"/>
                  </a:lnTo>
                  <a:lnTo>
                    <a:pt x="4991" y="2259"/>
                  </a:lnTo>
                  <a:lnTo>
                    <a:pt x="4983" y="2325"/>
                  </a:lnTo>
                  <a:lnTo>
                    <a:pt x="4973" y="2389"/>
                  </a:lnTo>
                  <a:lnTo>
                    <a:pt x="4961" y="2453"/>
                  </a:lnTo>
                  <a:lnTo>
                    <a:pt x="4947" y="2517"/>
                  </a:lnTo>
                  <a:lnTo>
                    <a:pt x="4929" y="2579"/>
                  </a:lnTo>
                  <a:lnTo>
                    <a:pt x="4909" y="2643"/>
                  </a:lnTo>
                  <a:lnTo>
                    <a:pt x="4887" y="2705"/>
                  </a:lnTo>
                  <a:lnTo>
                    <a:pt x="4863" y="2765"/>
                  </a:lnTo>
                  <a:lnTo>
                    <a:pt x="4483" y="2765"/>
                  </a:lnTo>
                  <a:lnTo>
                    <a:pt x="4483" y="1867"/>
                  </a:lnTo>
                  <a:lnTo>
                    <a:pt x="3737" y="1867"/>
                  </a:lnTo>
                  <a:lnTo>
                    <a:pt x="3737" y="916"/>
                  </a:lnTo>
                  <a:lnTo>
                    <a:pt x="2707" y="916"/>
                  </a:lnTo>
                  <a:lnTo>
                    <a:pt x="2707" y="1481"/>
                  </a:lnTo>
                  <a:lnTo>
                    <a:pt x="1962" y="1481"/>
                  </a:lnTo>
                  <a:lnTo>
                    <a:pt x="1962" y="2765"/>
                  </a:lnTo>
                  <a:lnTo>
                    <a:pt x="1558" y="2765"/>
                  </a:lnTo>
                  <a:lnTo>
                    <a:pt x="1558" y="2765"/>
                  </a:lnTo>
                  <a:lnTo>
                    <a:pt x="1532" y="2705"/>
                  </a:lnTo>
                  <a:lnTo>
                    <a:pt x="1510" y="2643"/>
                  </a:lnTo>
                  <a:lnTo>
                    <a:pt x="1492" y="2579"/>
                  </a:lnTo>
                  <a:lnTo>
                    <a:pt x="1474" y="2517"/>
                  </a:lnTo>
                  <a:lnTo>
                    <a:pt x="1460" y="2453"/>
                  </a:lnTo>
                  <a:lnTo>
                    <a:pt x="1446" y="2389"/>
                  </a:lnTo>
                  <a:lnTo>
                    <a:pt x="1436" y="2325"/>
                  </a:lnTo>
                  <a:lnTo>
                    <a:pt x="1428" y="2259"/>
                  </a:lnTo>
                  <a:lnTo>
                    <a:pt x="1424" y="2195"/>
                  </a:lnTo>
                  <a:lnTo>
                    <a:pt x="1420" y="2129"/>
                  </a:lnTo>
                  <a:lnTo>
                    <a:pt x="1420" y="2065"/>
                  </a:lnTo>
                  <a:lnTo>
                    <a:pt x="1420" y="1999"/>
                  </a:lnTo>
                  <a:lnTo>
                    <a:pt x="1424" y="1935"/>
                  </a:lnTo>
                  <a:lnTo>
                    <a:pt x="1430" y="1869"/>
                  </a:lnTo>
                  <a:lnTo>
                    <a:pt x="1440" y="1805"/>
                  </a:lnTo>
                  <a:lnTo>
                    <a:pt x="1450" y="1741"/>
                  </a:lnTo>
                  <a:lnTo>
                    <a:pt x="1464" y="1677"/>
                  </a:lnTo>
                  <a:lnTo>
                    <a:pt x="1478" y="1613"/>
                  </a:lnTo>
                  <a:lnTo>
                    <a:pt x="1496" y="1551"/>
                  </a:lnTo>
                  <a:lnTo>
                    <a:pt x="1516" y="1489"/>
                  </a:lnTo>
                  <a:lnTo>
                    <a:pt x="1540" y="1427"/>
                  </a:lnTo>
                  <a:lnTo>
                    <a:pt x="1564" y="1365"/>
                  </a:lnTo>
                  <a:lnTo>
                    <a:pt x="1592" y="1305"/>
                  </a:lnTo>
                  <a:lnTo>
                    <a:pt x="1622" y="1245"/>
                  </a:lnTo>
                  <a:lnTo>
                    <a:pt x="1654" y="1187"/>
                  </a:lnTo>
                  <a:lnTo>
                    <a:pt x="1688" y="1129"/>
                  </a:lnTo>
                  <a:lnTo>
                    <a:pt x="1724" y="1073"/>
                  </a:lnTo>
                  <a:lnTo>
                    <a:pt x="1764" y="1017"/>
                  </a:lnTo>
                  <a:lnTo>
                    <a:pt x="1804" y="964"/>
                  </a:lnTo>
                  <a:lnTo>
                    <a:pt x="1848" y="910"/>
                  </a:lnTo>
                  <a:lnTo>
                    <a:pt x="1894" y="860"/>
                  </a:lnTo>
                  <a:lnTo>
                    <a:pt x="1942" y="808"/>
                  </a:lnTo>
                  <a:lnTo>
                    <a:pt x="1942" y="80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>
                <a:spcBef>
                  <a:spcPts val="0"/>
                </a:spcBef>
                <a:spcAft>
                  <a:spcPts val="0"/>
                </a:spcAft>
                <a:buNone/>
              </a:pPr>
              <a:endParaRPr lang="nb-NO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5" name="Google Shape;6750;p149">
            <a:extLst>
              <a:ext uri="{FF2B5EF4-FFF2-40B4-BE49-F238E27FC236}">
                <a16:creationId xmlns:a16="http://schemas.microsoft.com/office/drawing/2014/main" id="{A979EE15-BC35-D47F-5818-3A0C218660C0}"/>
              </a:ext>
            </a:extLst>
          </p:cNvPr>
          <p:cNvSpPr/>
          <p:nvPr/>
        </p:nvSpPr>
        <p:spPr>
          <a:xfrm>
            <a:off x="8561473" y="4705180"/>
            <a:ext cx="410280" cy="410218"/>
          </a:xfrm>
          <a:custGeom>
            <a:avLst/>
            <a:gdLst/>
            <a:ahLst/>
            <a:cxnLst/>
            <a:rect l="l" t="t" r="r" b="b"/>
            <a:pathLst>
              <a:path w="6682" h="6681" extrusionOk="0">
                <a:moveTo>
                  <a:pt x="0" y="0"/>
                </a:moveTo>
                <a:lnTo>
                  <a:pt x="0" y="6681"/>
                </a:lnTo>
                <a:lnTo>
                  <a:pt x="6682" y="6681"/>
                </a:lnTo>
                <a:lnTo>
                  <a:pt x="6682" y="0"/>
                </a:lnTo>
                <a:lnTo>
                  <a:pt x="0" y="0"/>
                </a:lnTo>
                <a:close/>
                <a:moveTo>
                  <a:pt x="4023" y="4797"/>
                </a:moveTo>
                <a:lnTo>
                  <a:pt x="4023" y="4797"/>
                </a:lnTo>
                <a:lnTo>
                  <a:pt x="4013" y="4751"/>
                </a:lnTo>
                <a:lnTo>
                  <a:pt x="3997" y="4705"/>
                </a:lnTo>
                <a:lnTo>
                  <a:pt x="3979" y="4661"/>
                </a:lnTo>
                <a:lnTo>
                  <a:pt x="3959" y="4617"/>
                </a:lnTo>
                <a:lnTo>
                  <a:pt x="3935" y="4577"/>
                </a:lnTo>
                <a:lnTo>
                  <a:pt x="3907" y="4537"/>
                </a:lnTo>
                <a:lnTo>
                  <a:pt x="3877" y="4499"/>
                </a:lnTo>
                <a:lnTo>
                  <a:pt x="3843" y="4463"/>
                </a:lnTo>
                <a:lnTo>
                  <a:pt x="3843" y="4463"/>
                </a:lnTo>
                <a:lnTo>
                  <a:pt x="3843" y="4463"/>
                </a:lnTo>
                <a:lnTo>
                  <a:pt x="3819" y="4441"/>
                </a:lnTo>
                <a:lnTo>
                  <a:pt x="3793" y="4419"/>
                </a:lnTo>
                <a:lnTo>
                  <a:pt x="3767" y="4397"/>
                </a:lnTo>
                <a:lnTo>
                  <a:pt x="3741" y="4379"/>
                </a:lnTo>
                <a:lnTo>
                  <a:pt x="3713" y="4361"/>
                </a:lnTo>
                <a:lnTo>
                  <a:pt x="3683" y="4345"/>
                </a:lnTo>
                <a:lnTo>
                  <a:pt x="3655" y="4331"/>
                </a:lnTo>
                <a:lnTo>
                  <a:pt x="3625" y="4319"/>
                </a:lnTo>
                <a:lnTo>
                  <a:pt x="3595" y="4307"/>
                </a:lnTo>
                <a:lnTo>
                  <a:pt x="3565" y="4297"/>
                </a:lnTo>
                <a:lnTo>
                  <a:pt x="3533" y="4289"/>
                </a:lnTo>
                <a:lnTo>
                  <a:pt x="3503" y="4283"/>
                </a:lnTo>
                <a:lnTo>
                  <a:pt x="3471" y="4277"/>
                </a:lnTo>
                <a:lnTo>
                  <a:pt x="3439" y="4273"/>
                </a:lnTo>
                <a:lnTo>
                  <a:pt x="3409" y="4271"/>
                </a:lnTo>
                <a:lnTo>
                  <a:pt x="3377" y="4271"/>
                </a:lnTo>
                <a:lnTo>
                  <a:pt x="3345" y="4271"/>
                </a:lnTo>
                <a:lnTo>
                  <a:pt x="3313" y="4273"/>
                </a:lnTo>
                <a:lnTo>
                  <a:pt x="3281" y="4277"/>
                </a:lnTo>
                <a:lnTo>
                  <a:pt x="3249" y="4283"/>
                </a:lnTo>
                <a:lnTo>
                  <a:pt x="3219" y="4289"/>
                </a:lnTo>
                <a:lnTo>
                  <a:pt x="3187" y="4297"/>
                </a:lnTo>
                <a:lnTo>
                  <a:pt x="3157" y="4307"/>
                </a:lnTo>
                <a:lnTo>
                  <a:pt x="3127" y="4319"/>
                </a:lnTo>
                <a:lnTo>
                  <a:pt x="3097" y="4331"/>
                </a:lnTo>
                <a:lnTo>
                  <a:pt x="3069" y="4345"/>
                </a:lnTo>
                <a:lnTo>
                  <a:pt x="3041" y="4361"/>
                </a:lnTo>
                <a:lnTo>
                  <a:pt x="3013" y="4379"/>
                </a:lnTo>
                <a:lnTo>
                  <a:pt x="2985" y="4397"/>
                </a:lnTo>
                <a:lnTo>
                  <a:pt x="2959" y="4419"/>
                </a:lnTo>
                <a:lnTo>
                  <a:pt x="2933" y="4441"/>
                </a:lnTo>
                <a:lnTo>
                  <a:pt x="2909" y="4463"/>
                </a:lnTo>
                <a:lnTo>
                  <a:pt x="2909" y="4463"/>
                </a:lnTo>
                <a:lnTo>
                  <a:pt x="2875" y="4499"/>
                </a:lnTo>
                <a:lnTo>
                  <a:pt x="2845" y="4537"/>
                </a:lnTo>
                <a:lnTo>
                  <a:pt x="2817" y="4577"/>
                </a:lnTo>
                <a:lnTo>
                  <a:pt x="2793" y="4617"/>
                </a:lnTo>
                <a:lnTo>
                  <a:pt x="2773" y="4661"/>
                </a:lnTo>
                <a:lnTo>
                  <a:pt x="2755" y="4705"/>
                </a:lnTo>
                <a:lnTo>
                  <a:pt x="2741" y="4751"/>
                </a:lnTo>
                <a:lnTo>
                  <a:pt x="2729" y="4797"/>
                </a:lnTo>
                <a:lnTo>
                  <a:pt x="284" y="4797"/>
                </a:lnTo>
                <a:lnTo>
                  <a:pt x="284" y="3483"/>
                </a:lnTo>
                <a:lnTo>
                  <a:pt x="4199" y="3483"/>
                </a:lnTo>
                <a:lnTo>
                  <a:pt x="4199" y="3483"/>
                </a:lnTo>
                <a:lnTo>
                  <a:pt x="4209" y="3529"/>
                </a:lnTo>
                <a:lnTo>
                  <a:pt x="4225" y="3573"/>
                </a:lnTo>
                <a:lnTo>
                  <a:pt x="4243" y="3617"/>
                </a:lnTo>
                <a:lnTo>
                  <a:pt x="4263" y="3659"/>
                </a:lnTo>
                <a:lnTo>
                  <a:pt x="4287" y="3699"/>
                </a:lnTo>
                <a:lnTo>
                  <a:pt x="4313" y="3737"/>
                </a:lnTo>
                <a:lnTo>
                  <a:pt x="4343" y="3775"/>
                </a:lnTo>
                <a:lnTo>
                  <a:pt x="4377" y="3809"/>
                </a:lnTo>
                <a:lnTo>
                  <a:pt x="4377" y="3809"/>
                </a:lnTo>
                <a:lnTo>
                  <a:pt x="4401" y="3833"/>
                </a:lnTo>
                <a:lnTo>
                  <a:pt x="4425" y="3855"/>
                </a:lnTo>
                <a:lnTo>
                  <a:pt x="4451" y="3875"/>
                </a:lnTo>
                <a:lnTo>
                  <a:pt x="4477" y="3893"/>
                </a:lnTo>
                <a:lnTo>
                  <a:pt x="4505" y="3911"/>
                </a:lnTo>
                <a:lnTo>
                  <a:pt x="4533" y="3927"/>
                </a:lnTo>
                <a:lnTo>
                  <a:pt x="4561" y="3941"/>
                </a:lnTo>
                <a:lnTo>
                  <a:pt x="4591" y="3953"/>
                </a:lnTo>
                <a:lnTo>
                  <a:pt x="4621" y="3965"/>
                </a:lnTo>
                <a:lnTo>
                  <a:pt x="4651" y="3975"/>
                </a:lnTo>
                <a:lnTo>
                  <a:pt x="4683" y="3983"/>
                </a:lnTo>
                <a:lnTo>
                  <a:pt x="4715" y="3991"/>
                </a:lnTo>
                <a:lnTo>
                  <a:pt x="4747" y="3997"/>
                </a:lnTo>
                <a:lnTo>
                  <a:pt x="4779" y="4001"/>
                </a:lnTo>
                <a:lnTo>
                  <a:pt x="4811" y="4003"/>
                </a:lnTo>
                <a:lnTo>
                  <a:pt x="4845" y="4003"/>
                </a:lnTo>
                <a:lnTo>
                  <a:pt x="4845" y="4003"/>
                </a:lnTo>
                <a:lnTo>
                  <a:pt x="4891" y="4003"/>
                </a:lnTo>
                <a:lnTo>
                  <a:pt x="4939" y="3997"/>
                </a:lnTo>
                <a:lnTo>
                  <a:pt x="4985" y="3989"/>
                </a:lnTo>
                <a:lnTo>
                  <a:pt x="5032" y="3977"/>
                </a:lnTo>
                <a:lnTo>
                  <a:pt x="5076" y="3963"/>
                </a:lnTo>
                <a:lnTo>
                  <a:pt x="5118" y="3945"/>
                </a:lnTo>
                <a:lnTo>
                  <a:pt x="5160" y="3923"/>
                </a:lnTo>
                <a:lnTo>
                  <a:pt x="5200" y="3899"/>
                </a:lnTo>
                <a:lnTo>
                  <a:pt x="5568" y="4267"/>
                </a:lnTo>
                <a:lnTo>
                  <a:pt x="5770" y="4065"/>
                </a:lnTo>
                <a:lnTo>
                  <a:pt x="5402" y="3699"/>
                </a:lnTo>
                <a:lnTo>
                  <a:pt x="5402" y="3699"/>
                </a:lnTo>
                <a:lnTo>
                  <a:pt x="5418" y="3673"/>
                </a:lnTo>
                <a:lnTo>
                  <a:pt x="5432" y="3647"/>
                </a:lnTo>
                <a:lnTo>
                  <a:pt x="5444" y="3621"/>
                </a:lnTo>
                <a:lnTo>
                  <a:pt x="5456" y="3593"/>
                </a:lnTo>
                <a:lnTo>
                  <a:pt x="5466" y="3567"/>
                </a:lnTo>
                <a:lnTo>
                  <a:pt x="5476" y="3539"/>
                </a:lnTo>
                <a:lnTo>
                  <a:pt x="5484" y="3511"/>
                </a:lnTo>
                <a:lnTo>
                  <a:pt x="5490" y="3483"/>
                </a:lnTo>
                <a:lnTo>
                  <a:pt x="6396" y="3483"/>
                </a:lnTo>
                <a:lnTo>
                  <a:pt x="6396" y="4797"/>
                </a:lnTo>
                <a:lnTo>
                  <a:pt x="4023" y="4797"/>
                </a:lnTo>
                <a:close/>
                <a:moveTo>
                  <a:pt x="3377" y="5307"/>
                </a:moveTo>
                <a:lnTo>
                  <a:pt x="3377" y="5307"/>
                </a:lnTo>
                <a:lnTo>
                  <a:pt x="3339" y="5305"/>
                </a:lnTo>
                <a:lnTo>
                  <a:pt x="3303" y="5301"/>
                </a:lnTo>
                <a:lnTo>
                  <a:pt x="3267" y="5291"/>
                </a:lnTo>
                <a:lnTo>
                  <a:pt x="3233" y="5279"/>
                </a:lnTo>
                <a:lnTo>
                  <a:pt x="3199" y="5263"/>
                </a:lnTo>
                <a:lnTo>
                  <a:pt x="3167" y="5245"/>
                </a:lnTo>
                <a:lnTo>
                  <a:pt x="3137" y="5223"/>
                </a:lnTo>
                <a:lnTo>
                  <a:pt x="3111" y="5197"/>
                </a:lnTo>
                <a:lnTo>
                  <a:pt x="3111" y="5197"/>
                </a:lnTo>
                <a:lnTo>
                  <a:pt x="3085" y="5169"/>
                </a:lnTo>
                <a:lnTo>
                  <a:pt x="3063" y="5139"/>
                </a:lnTo>
                <a:lnTo>
                  <a:pt x="3043" y="5109"/>
                </a:lnTo>
                <a:lnTo>
                  <a:pt x="3029" y="5075"/>
                </a:lnTo>
                <a:lnTo>
                  <a:pt x="3015" y="5041"/>
                </a:lnTo>
                <a:lnTo>
                  <a:pt x="3007" y="5005"/>
                </a:lnTo>
                <a:lnTo>
                  <a:pt x="3001" y="4969"/>
                </a:lnTo>
                <a:lnTo>
                  <a:pt x="2999" y="4931"/>
                </a:lnTo>
                <a:lnTo>
                  <a:pt x="2999" y="4931"/>
                </a:lnTo>
                <a:lnTo>
                  <a:pt x="3001" y="4893"/>
                </a:lnTo>
                <a:lnTo>
                  <a:pt x="3007" y="4857"/>
                </a:lnTo>
                <a:lnTo>
                  <a:pt x="3015" y="4821"/>
                </a:lnTo>
                <a:lnTo>
                  <a:pt x="3029" y="4787"/>
                </a:lnTo>
                <a:lnTo>
                  <a:pt x="3043" y="4753"/>
                </a:lnTo>
                <a:lnTo>
                  <a:pt x="3063" y="4723"/>
                </a:lnTo>
                <a:lnTo>
                  <a:pt x="3085" y="4693"/>
                </a:lnTo>
                <a:lnTo>
                  <a:pt x="3111" y="4665"/>
                </a:lnTo>
                <a:lnTo>
                  <a:pt x="3111" y="4665"/>
                </a:lnTo>
                <a:lnTo>
                  <a:pt x="3139" y="4639"/>
                </a:lnTo>
                <a:lnTo>
                  <a:pt x="3169" y="4617"/>
                </a:lnTo>
                <a:lnTo>
                  <a:pt x="3201" y="4597"/>
                </a:lnTo>
                <a:lnTo>
                  <a:pt x="3235" y="4583"/>
                </a:lnTo>
                <a:lnTo>
                  <a:pt x="3269" y="4571"/>
                </a:lnTo>
                <a:lnTo>
                  <a:pt x="3305" y="4561"/>
                </a:lnTo>
                <a:lnTo>
                  <a:pt x="3341" y="4557"/>
                </a:lnTo>
                <a:lnTo>
                  <a:pt x="3377" y="4555"/>
                </a:lnTo>
                <a:lnTo>
                  <a:pt x="3377" y="4555"/>
                </a:lnTo>
                <a:lnTo>
                  <a:pt x="3413" y="4557"/>
                </a:lnTo>
                <a:lnTo>
                  <a:pt x="3449" y="4561"/>
                </a:lnTo>
                <a:lnTo>
                  <a:pt x="3483" y="4571"/>
                </a:lnTo>
                <a:lnTo>
                  <a:pt x="3519" y="4583"/>
                </a:lnTo>
                <a:lnTo>
                  <a:pt x="3551" y="4597"/>
                </a:lnTo>
                <a:lnTo>
                  <a:pt x="3583" y="4617"/>
                </a:lnTo>
                <a:lnTo>
                  <a:pt x="3613" y="4639"/>
                </a:lnTo>
                <a:lnTo>
                  <a:pt x="3643" y="4665"/>
                </a:lnTo>
                <a:lnTo>
                  <a:pt x="3643" y="4665"/>
                </a:lnTo>
                <a:lnTo>
                  <a:pt x="3667" y="4693"/>
                </a:lnTo>
                <a:lnTo>
                  <a:pt x="3689" y="4723"/>
                </a:lnTo>
                <a:lnTo>
                  <a:pt x="3709" y="4753"/>
                </a:lnTo>
                <a:lnTo>
                  <a:pt x="3725" y="4787"/>
                </a:lnTo>
                <a:lnTo>
                  <a:pt x="3737" y="4821"/>
                </a:lnTo>
                <a:lnTo>
                  <a:pt x="3745" y="4857"/>
                </a:lnTo>
                <a:lnTo>
                  <a:pt x="3751" y="4893"/>
                </a:lnTo>
                <a:lnTo>
                  <a:pt x="3753" y="4931"/>
                </a:lnTo>
                <a:lnTo>
                  <a:pt x="3753" y="4931"/>
                </a:lnTo>
                <a:lnTo>
                  <a:pt x="3751" y="4969"/>
                </a:lnTo>
                <a:lnTo>
                  <a:pt x="3745" y="5005"/>
                </a:lnTo>
                <a:lnTo>
                  <a:pt x="3737" y="5041"/>
                </a:lnTo>
                <a:lnTo>
                  <a:pt x="3725" y="5075"/>
                </a:lnTo>
                <a:lnTo>
                  <a:pt x="3709" y="5109"/>
                </a:lnTo>
                <a:lnTo>
                  <a:pt x="3689" y="5139"/>
                </a:lnTo>
                <a:lnTo>
                  <a:pt x="3667" y="5169"/>
                </a:lnTo>
                <a:lnTo>
                  <a:pt x="3643" y="5197"/>
                </a:lnTo>
                <a:lnTo>
                  <a:pt x="3643" y="5197"/>
                </a:lnTo>
                <a:lnTo>
                  <a:pt x="3615" y="5223"/>
                </a:lnTo>
                <a:lnTo>
                  <a:pt x="3585" y="5245"/>
                </a:lnTo>
                <a:lnTo>
                  <a:pt x="3553" y="5263"/>
                </a:lnTo>
                <a:lnTo>
                  <a:pt x="3521" y="5279"/>
                </a:lnTo>
                <a:lnTo>
                  <a:pt x="3485" y="5291"/>
                </a:lnTo>
                <a:lnTo>
                  <a:pt x="3451" y="5301"/>
                </a:lnTo>
                <a:lnTo>
                  <a:pt x="3413" y="5305"/>
                </a:lnTo>
                <a:lnTo>
                  <a:pt x="3377" y="5307"/>
                </a:lnTo>
                <a:lnTo>
                  <a:pt x="3377" y="5307"/>
                </a:lnTo>
                <a:close/>
                <a:moveTo>
                  <a:pt x="5112" y="3609"/>
                </a:moveTo>
                <a:lnTo>
                  <a:pt x="5112" y="3609"/>
                </a:lnTo>
                <a:lnTo>
                  <a:pt x="5084" y="3633"/>
                </a:lnTo>
                <a:lnTo>
                  <a:pt x="5054" y="3655"/>
                </a:lnTo>
                <a:lnTo>
                  <a:pt x="5022" y="3675"/>
                </a:lnTo>
                <a:lnTo>
                  <a:pt x="4989" y="3691"/>
                </a:lnTo>
                <a:lnTo>
                  <a:pt x="4953" y="3703"/>
                </a:lnTo>
                <a:lnTo>
                  <a:pt x="4919" y="3711"/>
                </a:lnTo>
                <a:lnTo>
                  <a:pt x="4881" y="3717"/>
                </a:lnTo>
                <a:lnTo>
                  <a:pt x="4845" y="3719"/>
                </a:lnTo>
                <a:lnTo>
                  <a:pt x="4845" y="3719"/>
                </a:lnTo>
                <a:lnTo>
                  <a:pt x="4807" y="3717"/>
                </a:lnTo>
                <a:lnTo>
                  <a:pt x="4771" y="3711"/>
                </a:lnTo>
                <a:lnTo>
                  <a:pt x="4735" y="3703"/>
                </a:lnTo>
                <a:lnTo>
                  <a:pt x="4701" y="3691"/>
                </a:lnTo>
                <a:lnTo>
                  <a:pt x="4667" y="3675"/>
                </a:lnTo>
                <a:lnTo>
                  <a:pt x="4635" y="3655"/>
                </a:lnTo>
                <a:lnTo>
                  <a:pt x="4605" y="3633"/>
                </a:lnTo>
                <a:lnTo>
                  <a:pt x="4579" y="3609"/>
                </a:lnTo>
                <a:lnTo>
                  <a:pt x="4579" y="3609"/>
                </a:lnTo>
                <a:lnTo>
                  <a:pt x="4553" y="3581"/>
                </a:lnTo>
                <a:lnTo>
                  <a:pt x="4531" y="3551"/>
                </a:lnTo>
                <a:lnTo>
                  <a:pt x="4511" y="3519"/>
                </a:lnTo>
                <a:lnTo>
                  <a:pt x="4497" y="3487"/>
                </a:lnTo>
                <a:lnTo>
                  <a:pt x="4483" y="3453"/>
                </a:lnTo>
                <a:lnTo>
                  <a:pt x="4475" y="3417"/>
                </a:lnTo>
                <a:lnTo>
                  <a:pt x="4469" y="3379"/>
                </a:lnTo>
                <a:lnTo>
                  <a:pt x="4467" y="3343"/>
                </a:lnTo>
                <a:lnTo>
                  <a:pt x="4467" y="3343"/>
                </a:lnTo>
                <a:lnTo>
                  <a:pt x="4469" y="3306"/>
                </a:lnTo>
                <a:lnTo>
                  <a:pt x="4475" y="3270"/>
                </a:lnTo>
                <a:lnTo>
                  <a:pt x="4483" y="3234"/>
                </a:lnTo>
                <a:lnTo>
                  <a:pt x="4497" y="3200"/>
                </a:lnTo>
                <a:lnTo>
                  <a:pt x="4511" y="3166"/>
                </a:lnTo>
                <a:lnTo>
                  <a:pt x="4531" y="3134"/>
                </a:lnTo>
                <a:lnTo>
                  <a:pt x="4553" y="3104"/>
                </a:lnTo>
                <a:lnTo>
                  <a:pt x="4579" y="3078"/>
                </a:lnTo>
                <a:lnTo>
                  <a:pt x="4579" y="3078"/>
                </a:lnTo>
                <a:lnTo>
                  <a:pt x="4607" y="3052"/>
                </a:lnTo>
                <a:lnTo>
                  <a:pt x="4637" y="3030"/>
                </a:lnTo>
                <a:lnTo>
                  <a:pt x="4669" y="3010"/>
                </a:lnTo>
                <a:lnTo>
                  <a:pt x="4703" y="2994"/>
                </a:lnTo>
                <a:lnTo>
                  <a:pt x="4737" y="2982"/>
                </a:lnTo>
                <a:lnTo>
                  <a:pt x="4773" y="2974"/>
                </a:lnTo>
                <a:lnTo>
                  <a:pt x="4809" y="2968"/>
                </a:lnTo>
                <a:lnTo>
                  <a:pt x="4845" y="2968"/>
                </a:lnTo>
                <a:lnTo>
                  <a:pt x="4845" y="2968"/>
                </a:lnTo>
                <a:lnTo>
                  <a:pt x="4881" y="2968"/>
                </a:lnTo>
                <a:lnTo>
                  <a:pt x="4917" y="2974"/>
                </a:lnTo>
                <a:lnTo>
                  <a:pt x="4951" y="2982"/>
                </a:lnTo>
                <a:lnTo>
                  <a:pt x="4985" y="2994"/>
                </a:lnTo>
                <a:lnTo>
                  <a:pt x="5020" y="3010"/>
                </a:lnTo>
                <a:lnTo>
                  <a:pt x="5052" y="3028"/>
                </a:lnTo>
                <a:lnTo>
                  <a:pt x="5082" y="3052"/>
                </a:lnTo>
                <a:lnTo>
                  <a:pt x="5112" y="3078"/>
                </a:lnTo>
                <a:lnTo>
                  <a:pt x="5112" y="3078"/>
                </a:lnTo>
                <a:lnTo>
                  <a:pt x="5138" y="3106"/>
                </a:lnTo>
                <a:lnTo>
                  <a:pt x="5160" y="3136"/>
                </a:lnTo>
                <a:lnTo>
                  <a:pt x="5178" y="3168"/>
                </a:lnTo>
                <a:lnTo>
                  <a:pt x="5194" y="3202"/>
                </a:lnTo>
                <a:lnTo>
                  <a:pt x="5206" y="3236"/>
                </a:lnTo>
                <a:lnTo>
                  <a:pt x="5214" y="3272"/>
                </a:lnTo>
                <a:lnTo>
                  <a:pt x="5220" y="3308"/>
                </a:lnTo>
                <a:lnTo>
                  <a:pt x="5222" y="3343"/>
                </a:lnTo>
                <a:lnTo>
                  <a:pt x="5220" y="3379"/>
                </a:lnTo>
                <a:lnTo>
                  <a:pt x="5214" y="3415"/>
                </a:lnTo>
                <a:lnTo>
                  <a:pt x="5206" y="3449"/>
                </a:lnTo>
                <a:lnTo>
                  <a:pt x="5194" y="3485"/>
                </a:lnTo>
                <a:lnTo>
                  <a:pt x="5178" y="3517"/>
                </a:lnTo>
                <a:lnTo>
                  <a:pt x="5160" y="3549"/>
                </a:lnTo>
                <a:lnTo>
                  <a:pt x="5138" y="3581"/>
                </a:lnTo>
                <a:lnTo>
                  <a:pt x="5112" y="3609"/>
                </a:lnTo>
                <a:lnTo>
                  <a:pt x="5112" y="3609"/>
                </a:lnTo>
                <a:close/>
                <a:moveTo>
                  <a:pt x="5490" y="3198"/>
                </a:moveTo>
                <a:lnTo>
                  <a:pt x="5490" y="3198"/>
                </a:lnTo>
                <a:lnTo>
                  <a:pt x="5478" y="3154"/>
                </a:lnTo>
                <a:lnTo>
                  <a:pt x="5464" y="3112"/>
                </a:lnTo>
                <a:lnTo>
                  <a:pt x="5446" y="3068"/>
                </a:lnTo>
                <a:lnTo>
                  <a:pt x="5426" y="3028"/>
                </a:lnTo>
                <a:lnTo>
                  <a:pt x="5402" y="2988"/>
                </a:lnTo>
                <a:lnTo>
                  <a:pt x="5376" y="2948"/>
                </a:lnTo>
                <a:lnTo>
                  <a:pt x="5346" y="2912"/>
                </a:lnTo>
                <a:lnTo>
                  <a:pt x="5312" y="2876"/>
                </a:lnTo>
                <a:lnTo>
                  <a:pt x="5312" y="2876"/>
                </a:lnTo>
                <a:lnTo>
                  <a:pt x="5312" y="2876"/>
                </a:lnTo>
                <a:lnTo>
                  <a:pt x="5288" y="2852"/>
                </a:lnTo>
                <a:lnTo>
                  <a:pt x="5262" y="2830"/>
                </a:lnTo>
                <a:lnTo>
                  <a:pt x="5236" y="2810"/>
                </a:lnTo>
                <a:lnTo>
                  <a:pt x="5210" y="2792"/>
                </a:lnTo>
                <a:lnTo>
                  <a:pt x="5182" y="2774"/>
                </a:lnTo>
                <a:lnTo>
                  <a:pt x="5152" y="2758"/>
                </a:lnTo>
                <a:lnTo>
                  <a:pt x="5124" y="2744"/>
                </a:lnTo>
                <a:lnTo>
                  <a:pt x="5094" y="2730"/>
                </a:lnTo>
                <a:lnTo>
                  <a:pt x="5064" y="2720"/>
                </a:lnTo>
                <a:lnTo>
                  <a:pt x="5034" y="2710"/>
                </a:lnTo>
                <a:lnTo>
                  <a:pt x="5001" y="2702"/>
                </a:lnTo>
                <a:lnTo>
                  <a:pt x="4971" y="2694"/>
                </a:lnTo>
                <a:lnTo>
                  <a:pt x="4939" y="2690"/>
                </a:lnTo>
                <a:lnTo>
                  <a:pt x="4907" y="2686"/>
                </a:lnTo>
                <a:lnTo>
                  <a:pt x="4875" y="2684"/>
                </a:lnTo>
                <a:lnTo>
                  <a:pt x="4845" y="2682"/>
                </a:lnTo>
                <a:lnTo>
                  <a:pt x="4813" y="2684"/>
                </a:lnTo>
                <a:lnTo>
                  <a:pt x="4781" y="2686"/>
                </a:lnTo>
                <a:lnTo>
                  <a:pt x="4749" y="2690"/>
                </a:lnTo>
                <a:lnTo>
                  <a:pt x="4717" y="2694"/>
                </a:lnTo>
                <a:lnTo>
                  <a:pt x="4687" y="2702"/>
                </a:lnTo>
                <a:lnTo>
                  <a:pt x="4655" y="2710"/>
                </a:lnTo>
                <a:lnTo>
                  <a:pt x="4625" y="2720"/>
                </a:lnTo>
                <a:lnTo>
                  <a:pt x="4595" y="2730"/>
                </a:lnTo>
                <a:lnTo>
                  <a:pt x="4565" y="2744"/>
                </a:lnTo>
                <a:lnTo>
                  <a:pt x="4537" y="2758"/>
                </a:lnTo>
                <a:lnTo>
                  <a:pt x="4509" y="2774"/>
                </a:lnTo>
                <a:lnTo>
                  <a:pt x="4481" y="2792"/>
                </a:lnTo>
                <a:lnTo>
                  <a:pt x="4453" y="2810"/>
                </a:lnTo>
                <a:lnTo>
                  <a:pt x="4427" y="2830"/>
                </a:lnTo>
                <a:lnTo>
                  <a:pt x="4401" y="2852"/>
                </a:lnTo>
                <a:lnTo>
                  <a:pt x="4377" y="2876"/>
                </a:lnTo>
                <a:lnTo>
                  <a:pt x="4377" y="2876"/>
                </a:lnTo>
                <a:lnTo>
                  <a:pt x="4345" y="2910"/>
                </a:lnTo>
                <a:lnTo>
                  <a:pt x="4315" y="2948"/>
                </a:lnTo>
                <a:lnTo>
                  <a:pt x="4289" y="2986"/>
                </a:lnTo>
                <a:lnTo>
                  <a:pt x="4265" y="3026"/>
                </a:lnTo>
                <a:lnTo>
                  <a:pt x="4243" y="3066"/>
                </a:lnTo>
                <a:lnTo>
                  <a:pt x="4225" y="3110"/>
                </a:lnTo>
                <a:lnTo>
                  <a:pt x="4211" y="3154"/>
                </a:lnTo>
                <a:lnTo>
                  <a:pt x="4199" y="3198"/>
                </a:lnTo>
                <a:lnTo>
                  <a:pt x="284" y="3198"/>
                </a:lnTo>
                <a:lnTo>
                  <a:pt x="284" y="1884"/>
                </a:lnTo>
                <a:lnTo>
                  <a:pt x="1014" y="1884"/>
                </a:lnTo>
                <a:lnTo>
                  <a:pt x="1014" y="1884"/>
                </a:lnTo>
                <a:lnTo>
                  <a:pt x="1024" y="1930"/>
                </a:lnTo>
                <a:lnTo>
                  <a:pt x="1040" y="1976"/>
                </a:lnTo>
                <a:lnTo>
                  <a:pt x="1058" y="2018"/>
                </a:lnTo>
                <a:lnTo>
                  <a:pt x="1078" y="2060"/>
                </a:lnTo>
                <a:lnTo>
                  <a:pt x="1102" y="2102"/>
                </a:lnTo>
                <a:lnTo>
                  <a:pt x="1130" y="2140"/>
                </a:lnTo>
                <a:lnTo>
                  <a:pt x="1160" y="2178"/>
                </a:lnTo>
                <a:lnTo>
                  <a:pt x="1192" y="2212"/>
                </a:lnTo>
                <a:lnTo>
                  <a:pt x="1192" y="2212"/>
                </a:lnTo>
                <a:lnTo>
                  <a:pt x="1216" y="2236"/>
                </a:lnTo>
                <a:lnTo>
                  <a:pt x="1242" y="2258"/>
                </a:lnTo>
                <a:lnTo>
                  <a:pt x="1268" y="2278"/>
                </a:lnTo>
                <a:lnTo>
                  <a:pt x="1296" y="2298"/>
                </a:lnTo>
                <a:lnTo>
                  <a:pt x="1324" y="2314"/>
                </a:lnTo>
                <a:lnTo>
                  <a:pt x="1352" y="2330"/>
                </a:lnTo>
                <a:lnTo>
                  <a:pt x="1380" y="2344"/>
                </a:lnTo>
                <a:lnTo>
                  <a:pt x="1410" y="2358"/>
                </a:lnTo>
                <a:lnTo>
                  <a:pt x="1440" y="2370"/>
                </a:lnTo>
                <a:lnTo>
                  <a:pt x="1472" y="2378"/>
                </a:lnTo>
                <a:lnTo>
                  <a:pt x="1502" y="2388"/>
                </a:lnTo>
                <a:lnTo>
                  <a:pt x="1534" y="2394"/>
                </a:lnTo>
                <a:lnTo>
                  <a:pt x="1564" y="2400"/>
                </a:lnTo>
                <a:lnTo>
                  <a:pt x="1596" y="2404"/>
                </a:lnTo>
                <a:lnTo>
                  <a:pt x="1628" y="2406"/>
                </a:lnTo>
                <a:lnTo>
                  <a:pt x="1660" y="2406"/>
                </a:lnTo>
                <a:lnTo>
                  <a:pt x="1660" y="2406"/>
                </a:lnTo>
                <a:lnTo>
                  <a:pt x="1707" y="2404"/>
                </a:lnTo>
                <a:lnTo>
                  <a:pt x="1753" y="2400"/>
                </a:lnTo>
                <a:lnTo>
                  <a:pt x="1799" y="2392"/>
                </a:lnTo>
                <a:lnTo>
                  <a:pt x="1845" y="2380"/>
                </a:lnTo>
                <a:lnTo>
                  <a:pt x="1889" y="2366"/>
                </a:lnTo>
                <a:lnTo>
                  <a:pt x="1933" y="2348"/>
                </a:lnTo>
                <a:lnTo>
                  <a:pt x="1975" y="2326"/>
                </a:lnTo>
                <a:lnTo>
                  <a:pt x="2017" y="2302"/>
                </a:lnTo>
                <a:lnTo>
                  <a:pt x="2383" y="2670"/>
                </a:lnTo>
                <a:lnTo>
                  <a:pt x="2585" y="2468"/>
                </a:lnTo>
                <a:lnTo>
                  <a:pt x="2217" y="2100"/>
                </a:lnTo>
                <a:lnTo>
                  <a:pt x="2217" y="2100"/>
                </a:lnTo>
                <a:lnTo>
                  <a:pt x="2233" y="2076"/>
                </a:lnTo>
                <a:lnTo>
                  <a:pt x="2247" y="2050"/>
                </a:lnTo>
                <a:lnTo>
                  <a:pt x="2261" y="2024"/>
                </a:lnTo>
                <a:lnTo>
                  <a:pt x="2273" y="1996"/>
                </a:lnTo>
                <a:lnTo>
                  <a:pt x="2283" y="1970"/>
                </a:lnTo>
                <a:lnTo>
                  <a:pt x="2291" y="1942"/>
                </a:lnTo>
                <a:lnTo>
                  <a:pt x="2299" y="1914"/>
                </a:lnTo>
                <a:lnTo>
                  <a:pt x="2307" y="1884"/>
                </a:lnTo>
                <a:lnTo>
                  <a:pt x="6396" y="1884"/>
                </a:lnTo>
                <a:lnTo>
                  <a:pt x="6396" y="3198"/>
                </a:lnTo>
                <a:lnTo>
                  <a:pt x="5490" y="3198"/>
                </a:lnTo>
                <a:close/>
                <a:moveTo>
                  <a:pt x="1927" y="2012"/>
                </a:moveTo>
                <a:lnTo>
                  <a:pt x="1927" y="2012"/>
                </a:lnTo>
                <a:lnTo>
                  <a:pt x="1899" y="2038"/>
                </a:lnTo>
                <a:lnTo>
                  <a:pt x="1867" y="2060"/>
                </a:lnTo>
                <a:lnTo>
                  <a:pt x="1835" y="2078"/>
                </a:lnTo>
                <a:lnTo>
                  <a:pt x="1803" y="2094"/>
                </a:lnTo>
                <a:lnTo>
                  <a:pt x="1767" y="2106"/>
                </a:lnTo>
                <a:lnTo>
                  <a:pt x="1733" y="2114"/>
                </a:lnTo>
                <a:lnTo>
                  <a:pt x="1697" y="2120"/>
                </a:lnTo>
                <a:lnTo>
                  <a:pt x="1660" y="2122"/>
                </a:lnTo>
                <a:lnTo>
                  <a:pt x="1624" y="2120"/>
                </a:lnTo>
                <a:lnTo>
                  <a:pt x="1588" y="2114"/>
                </a:lnTo>
                <a:lnTo>
                  <a:pt x="1552" y="2106"/>
                </a:lnTo>
                <a:lnTo>
                  <a:pt x="1518" y="2094"/>
                </a:lnTo>
                <a:lnTo>
                  <a:pt x="1484" y="2078"/>
                </a:lnTo>
                <a:lnTo>
                  <a:pt x="1452" y="2060"/>
                </a:lnTo>
                <a:lnTo>
                  <a:pt x="1422" y="2038"/>
                </a:lnTo>
                <a:lnTo>
                  <a:pt x="1394" y="2012"/>
                </a:lnTo>
                <a:lnTo>
                  <a:pt x="1394" y="2012"/>
                </a:lnTo>
                <a:lnTo>
                  <a:pt x="1368" y="1984"/>
                </a:lnTo>
                <a:lnTo>
                  <a:pt x="1346" y="1954"/>
                </a:lnTo>
                <a:lnTo>
                  <a:pt x="1328" y="1922"/>
                </a:lnTo>
                <a:lnTo>
                  <a:pt x="1312" y="1890"/>
                </a:lnTo>
                <a:lnTo>
                  <a:pt x="1300" y="1854"/>
                </a:lnTo>
                <a:lnTo>
                  <a:pt x="1290" y="1820"/>
                </a:lnTo>
                <a:lnTo>
                  <a:pt x="1284" y="1782"/>
                </a:lnTo>
                <a:lnTo>
                  <a:pt x="1284" y="1746"/>
                </a:lnTo>
                <a:lnTo>
                  <a:pt x="1284" y="1746"/>
                </a:lnTo>
                <a:lnTo>
                  <a:pt x="1284" y="1708"/>
                </a:lnTo>
                <a:lnTo>
                  <a:pt x="1290" y="1672"/>
                </a:lnTo>
                <a:lnTo>
                  <a:pt x="1300" y="1636"/>
                </a:lnTo>
                <a:lnTo>
                  <a:pt x="1312" y="1600"/>
                </a:lnTo>
                <a:lnTo>
                  <a:pt x="1328" y="1568"/>
                </a:lnTo>
                <a:lnTo>
                  <a:pt x="1346" y="1536"/>
                </a:lnTo>
                <a:lnTo>
                  <a:pt x="1368" y="1506"/>
                </a:lnTo>
                <a:lnTo>
                  <a:pt x="1394" y="1478"/>
                </a:lnTo>
                <a:lnTo>
                  <a:pt x="1394" y="1478"/>
                </a:lnTo>
                <a:lnTo>
                  <a:pt x="1422" y="1454"/>
                </a:lnTo>
                <a:lnTo>
                  <a:pt x="1452" y="1430"/>
                </a:lnTo>
                <a:lnTo>
                  <a:pt x="1484" y="1412"/>
                </a:lnTo>
                <a:lnTo>
                  <a:pt x="1518" y="1396"/>
                </a:lnTo>
                <a:lnTo>
                  <a:pt x="1552" y="1384"/>
                </a:lnTo>
                <a:lnTo>
                  <a:pt x="1588" y="1376"/>
                </a:lnTo>
                <a:lnTo>
                  <a:pt x="1624" y="1370"/>
                </a:lnTo>
                <a:lnTo>
                  <a:pt x="1660" y="1368"/>
                </a:lnTo>
                <a:lnTo>
                  <a:pt x="1660" y="1368"/>
                </a:lnTo>
                <a:lnTo>
                  <a:pt x="1697" y="1370"/>
                </a:lnTo>
                <a:lnTo>
                  <a:pt x="1733" y="1376"/>
                </a:lnTo>
                <a:lnTo>
                  <a:pt x="1767" y="1384"/>
                </a:lnTo>
                <a:lnTo>
                  <a:pt x="1803" y="1396"/>
                </a:lnTo>
                <a:lnTo>
                  <a:pt x="1835" y="1412"/>
                </a:lnTo>
                <a:lnTo>
                  <a:pt x="1867" y="1430"/>
                </a:lnTo>
                <a:lnTo>
                  <a:pt x="1899" y="1454"/>
                </a:lnTo>
                <a:lnTo>
                  <a:pt x="1927" y="1478"/>
                </a:lnTo>
                <a:lnTo>
                  <a:pt x="1927" y="1478"/>
                </a:lnTo>
                <a:lnTo>
                  <a:pt x="1951" y="1506"/>
                </a:lnTo>
                <a:lnTo>
                  <a:pt x="1975" y="1536"/>
                </a:lnTo>
                <a:lnTo>
                  <a:pt x="1993" y="1568"/>
                </a:lnTo>
                <a:lnTo>
                  <a:pt x="2009" y="1600"/>
                </a:lnTo>
                <a:lnTo>
                  <a:pt x="2021" y="1636"/>
                </a:lnTo>
                <a:lnTo>
                  <a:pt x="2029" y="1672"/>
                </a:lnTo>
                <a:lnTo>
                  <a:pt x="2035" y="1708"/>
                </a:lnTo>
                <a:lnTo>
                  <a:pt x="2037" y="1746"/>
                </a:lnTo>
                <a:lnTo>
                  <a:pt x="2037" y="1746"/>
                </a:lnTo>
                <a:lnTo>
                  <a:pt x="2035" y="1782"/>
                </a:lnTo>
                <a:lnTo>
                  <a:pt x="2029" y="1820"/>
                </a:lnTo>
                <a:lnTo>
                  <a:pt x="2021" y="1854"/>
                </a:lnTo>
                <a:lnTo>
                  <a:pt x="2009" y="1890"/>
                </a:lnTo>
                <a:lnTo>
                  <a:pt x="1993" y="1922"/>
                </a:lnTo>
                <a:lnTo>
                  <a:pt x="1975" y="1954"/>
                </a:lnTo>
                <a:lnTo>
                  <a:pt x="1951" y="1984"/>
                </a:lnTo>
                <a:lnTo>
                  <a:pt x="1927" y="2012"/>
                </a:lnTo>
                <a:lnTo>
                  <a:pt x="1927" y="2012"/>
                </a:lnTo>
                <a:close/>
                <a:moveTo>
                  <a:pt x="6396" y="286"/>
                </a:moveTo>
                <a:lnTo>
                  <a:pt x="6396" y="1600"/>
                </a:lnTo>
                <a:lnTo>
                  <a:pt x="2305" y="1600"/>
                </a:lnTo>
                <a:lnTo>
                  <a:pt x="2305" y="1600"/>
                </a:lnTo>
                <a:lnTo>
                  <a:pt x="2293" y="1554"/>
                </a:lnTo>
                <a:lnTo>
                  <a:pt x="2279" y="1512"/>
                </a:lnTo>
                <a:lnTo>
                  <a:pt x="2261" y="1468"/>
                </a:lnTo>
                <a:lnTo>
                  <a:pt x="2241" y="1426"/>
                </a:lnTo>
                <a:lnTo>
                  <a:pt x="2217" y="1386"/>
                </a:lnTo>
                <a:lnTo>
                  <a:pt x="2191" y="1348"/>
                </a:lnTo>
                <a:lnTo>
                  <a:pt x="2161" y="1312"/>
                </a:lnTo>
                <a:lnTo>
                  <a:pt x="2129" y="1278"/>
                </a:lnTo>
                <a:lnTo>
                  <a:pt x="2129" y="1278"/>
                </a:lnTo>
                <a:lnTo>
                  <a:pt x="2103" y="1254"/>
                </a:lnTo>
                <a:lnTo>
                  <a:pt x="2079" y="1232"/>
                </a:lnTo>
                <a:lnTo>
                  <a:pt x="2051" y="1212"/>
                </a:lnTo>
                <a:lnTo>
                  <a:pt x="2025" y="1192"/>
                </a:lnTo>
                <a:lnTo>
                  <a:pt x="1997" y="1176"/>
                </a:lnTo>
                <a:lnTo>
                  <a:pt x="1969" y="1160"/>
                </a:lnTo>
                <a:lnTo>
                  <a:pt x="1939" y="1146"/>
                </a:lnTo>
                <a:lnTo>
                  <a:pt x="1909" y="1132"/>
                </a:lnTo>
                <a:lnTo>
                  <a:pt x="1879" y="1122"/>
                </a:lnTo>
                <a:lnTo>
                  <a:pt x="1849" y="1112"/>
                </a:lnTo>
                <a:lnTo>
                  <a:pt x="1819" y="1102"/>
                </a:lnTo>
                <a:lnTo>
                  <a:pt x="1787" y="1096"/>
                </a:lnTo>
                <a:lnTo>
                  <a:pt x="1755" y="1090"/>
                </a:lnTo>
                <a:lnTo>
                  <a:pt x="1725" y="1088"/>
                </a:lnTo>
                <a:lnTo>
                  <a:pt x="1693" y="1084"/>
                </a:lnTo>
                <a:lnTo>
                  <a:pt x="1660" y="1084"/>
                </a:lnTo>
                <a:lnTo>
                  <a:pt x="1628" y="1084"/>
                </a:lnTo>
                <a:lnTo>
                  <a:pt x="1596" y="1088"/>
                </a:lnTo>
                <a:lnTo>
                  <a:pt x="1564" y="1090"/>
                </a:lnTo>
                <a:lnTo>
                  <a:pt x="1534" y="1096"/>
                </a:lnTo>
                <a:lnTo>
                  <a:pt x="1502" y="1102"/>
                </a:lnTo>
                <a:lnTo>
                  <a:pt x="1472" y="1112"/>
                </a:lnTo>
                <a:lnTo>
                  <a:pt x="1440" y="1122"/>
                </a:lnTo>
                <a:lnTo>
                  <a:pt x="1410" y="1132"/>
                </a:lnTo>
                <a:lnTo>
                  <a:pt x="1380" y="1146"/>
                </a:lnTo>
                <a:lnTo>
                  <a:pt x="1352" y="1160"/>
                </a:lnTo>
                <a:lnTo>
                  <a:pt x="1324" y="1176"/>
                </a:lnTo>
                <a:lnTo>
                  <a:pt x="1296" y="1192"/>
                </a:lnTo>
                <a:lnTo>
                  <a:pt x="1268" y="1212"/>
                </a:lnTo>
                <a:lnTo>
                  <a:pt x="1242" y="1232"/>
                </a:lnTo>
                <a:lnTo>
                  <a:pt x="1216" y="1254"/>
                </a:lnTo>
                <a:lnTo>
                  <a:pt x="1192" y="1278"/>
                </a:lnTo>
                <a:lnTo>
                  <a:pt x="1192" y="1278"/>
                </a:lnTo>
                <a:lnTo>
                  <a:pt x="1160" y="1312"/>
                </a:lnTo>
                <a:lnTo>
                  <a:pt x="1130" y="1348"/>
                </a:lnTo>
                <a:lnTo>
                  <a:pt x="1104" y="1386"/>
                </a:lnTo>
                <a:lnTo>
                  <a:pt x="1080" y="1426"/>
                </a:lnTo>
                <a:lnTo>
                  <a:pt x="1058" y="1468"/>
                </a:lnTo>
                <a:lnTo>
                  <a:pt x="1042" y="1512"/>
                </a:lnTo>
                <a:lnTo>
                  <a:pt x="1026" y="1554"/>
                </a:lnTo>
                <a:lnTo>
                  <a:pt x="1014" y="1600"/>
                </a:lnTo>
                <a:lnTo>
                  <a:pt x="284" y="1600"/>
                </a:lnTo>
                <a:lnTo>
                  <a:pt x="284" y="286"/>
                </a:lnTo>
                <a:lnTo>
                  <a:pt x="6396" y="286"/>
                </a:lnTo>
                <a:close/>
                <a:moveTo>
                  <a:pt x="284" y="6395"/>
                </a:moveTo>
                <a:lnTo>
                  <a:pt x="284" y="5081"/>
                </a:lnTo>
                <a:lnTo>
                  <a:pt x="2733" y="5081"/>
                </a:lnTo>
                <a:lnTo>
                  <a:pt x="2733" y="5081"/>
                </a:lnTo>
                <a:lnTo>
                  <a:pt x="2745" y="5125"/>
                </a:lnTo>
                <a:lnTo>
                  <a:pt x="2759" y="5169"/>
                </a:lnTo>
                <a:lnTo>
                  <a:pt x="2777" y="5211"/>
                </a:lnTo>
                <a:lnTo>
                  <a:pt x="2797" y="5251"/>
                </a:lnTo>
                <a:lnTo>
                  <a:pt x="2821" y="5291"/>
                </a:lnTo>
                <a:lnTo>
                  <a:pt x="2847" y="5329"/>
                </a:lnTo>
                <a:lnTo>
                  <a:pt x="2877" y="5365"/>
                </a:lnTo>
                <a:lnTo>
                  <a:pt x="2909" y="5399"/>
                </a:lnTo>
                <a:lnTo>
                  <a:pt x="2909" y="5399"/>
                </a:lnTo>
                <a:lnTo>
                  <a:pt x="2933" y="5421"/>
                </a:lnTo>
                <a:lnTo>
                  <a:pt x="2957" y="5443"/>
                </a:lnTo>
                <a:lnTo>
                  <a:pt x="2983" y="5463"/>
                </a:lnTo>
                <a:lnTo>
                  <a:pt x="3009" y="5481"/>
                </a:lnTo>
                <a:lnTo>
                  <a:pt x="3037" y="5499"/>
                </a:lnTo>
                <a:lnTo>
                  <a:pt x="3065" y="5515"/>
                </a:lnTo>
                <a:lnTo>
                  <a:pt x="3093" y="5529"/>
                </a:lnTo>
                <a:lnTo>
                  <a:pt x="3123" y="5543"/>
                </a:lnTo>
                <a:lnTo>
                  <a:pt x="3153" y="5555"/>
                </a:lnTo>
                <a:lnTo>
                  <a:pt x="3183" y="5565"/>
                </a:lnTo>
                <a:lnTo>
                  <a:pt x="3215" y="5573"/>
                </a:lnTo>
                <a:lnTo>
                  <a:pt x="3247" y="5579"/>
                </a:lnTo>
                <a:lnTo>
                  <a:pt x="3279" y="5585"/>
                </a:lnTo>
                <a:lnTo>
                  <a:pt x="3311" y="5589"/>
                </a:lnTo>
                <a:lnTo>
                  <a:pt x="3343" y="5591"/>
                </a:lnTo>
                <a:lnTo>
                  <a:pt x="3377" y="5593"/>
                </a:lnTo>
                <a:lnTo>
                  <a:pt x="3377" y="5593"/>
                </a:lnTo>
                <a:lnTo>
                  <a:pt x="3425" y="5591"/>
                </a:lnTo>
                <a:lnTo>
                  <a:pt x="3471" y="5585"/>
                </a:lnTo>
                <a:lnTo>
                  <a:pt x="3517" y="5577"/>
                </a:lnTo>
                <a:lnTo>
                  <a:pt x="3563" y="5565"/>
                </a:lnTo>
                <a:lnTo>
                  <a:pt x="3607" y="5551"/>
                </a:lnTo>
                <a:lnTo>
                  <a:pt x="3651" y="5533"/>
                </a:lnTo>
                <a:lnTo>
                  <a:pt x="3691" y="5513"/>
                </a:lnTo>
                <a:lnTo>
                  <a:pt x="3733" y="5489"/>
                </a:lnTo>
                <a:lnTo>
                  <a:pt x="4099" y="5855"/>
                </a:lnTo>
                <a:lnTo>
                  <a:pt x="4301" y="5655"/>
                </a:lnTo>
                <a:lnTo>
                  <a:pt x="3933" y="5287"/>
                </a:lnTo>
                <a:lnTo>
                  <a:pt x="3933" y="5287"/>
                </a:lnTo>
                <a:lnTo>
                  <a:pt x="3949" y="5263"/>
                </a:lnTo>
                <a:lnTo>
                  <a:pt x="3961" y="5239"/>
                </a:lnTo>
                <a:lnTo>
                  <a:pt x="3975" y="5213"/>
                </a:lnTo>
                <a:lnTo>
                  <a:pt x="3985" y="5187"/>
                </a:lnTo>
                <a:lnTo>
                  <a:pt x="4005" y="5135"/>
                </a:lnTo>
                <a:lnTo>
                  <a:pt x="4019" y="5081"/>
                </a:lnTo>
                <a:lnTo>
                  <a:pt x="6396" y="5081"/>
                </a:lnTo>
                <a:lnTo>
                  <a:pt x="6396" y="6395"/>
                </a:lnTo>
                <a:lnTo>
                  <a:pt x="284" y="63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78175" tIns="39075" rIns="78175" bIns="39075" anchor="t" anchorCtr="0">
            <a:noAutofit/>
          </a:bodyPr>
          <a:lstStyle/>
          <a:p>
            <a:pPr marL="0" marR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nb-NO"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1699;p79">
            <a:extLst>
              <a:ext uri="{FF2B5EF4-FFF2-40B4-BE49-F238E27FC236}">
                <a16:creationId xmlns:a16="http://schemas.microsoft.com/office/drawing/2014/main" id="{EAF6E519-A821-6F79-4BF0-1D2A597D4C77}"/>
              </a:ext>
            </a:extLst>
          </p:cNvPr>
          <p:cNvSpPr/>
          <p:nvPr/>
        </p:nvSpPr>
        <p:spPr>
          <a:xfrm>
            <a:off x="6596553" y="3795988"/>
            <a:ext cx="2190621" cy="528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1400" b="1">
                <a:solidFill>
                  <a:schemeClr val="dk1"/>
                </a:solidFill>
                <a:latin typeface="+mj-lt"/>
                <a:cs typeface="Arial"/>
                <a:sym typeface="Arial"/>
              </a:rPr>
              <a:t>Fossefallsmetodikk</a:t>
            </a:r>
            <a:endParaRPr lang="nb-NO" sz="1400" b="1">
              <a:latin typeface="+mj-lt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9E51A4C5-DAEC-89EC-9374-63ED18D74499}"/>
              </a:ext>
            </a:extLst>
          </p:cNvPr>
          <p:cNvCxnSpPr>
            <a:cxnSpLocks/>
            <a:stCxn id="2" idx="2"/>
          </p:cNvCxnSpPr>
          <p:nvPr/>
        </p:nvCxnSpPr>
        <p:spPr>
          <a:xfrm flipH="1">
            <a:off x="5800725" y="1121785"/>
            <a:ext cx="6595" cy="5383872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C3084A34-B7C7-AF4D-C714-174740AE3861}"/>
              </a:ext>
            </a:extLst>
          </p:cNvPr>
          <p:cNvSpPr txBox="1">
            <a:spLocks/>
          </p:cNvSpPr>
          <p:nvPr/>
        </p:nvSpPr>
        <p:spPr>
          <a:xfrm>
            <a:off x="710252" y="1085827"/>
            <a:ext cx="4566598" cy="14754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5840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6800" indent="-157957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Font typeface="Inter" panose="02000503000000020004" pitchFamily="2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520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SzPct val="80000"/>
              <a:buFont typeface="Courier New" panose="02070309020205020404" pitchFamily="49" charset="0"/>
              <a:buChar char="o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fontAlgn="ctr" latinLnBrk="0" hangingPunct="1">
              <a:lnSpc>
                <a:spcPct val="111000"/>
              </a:lnSpc>
              <a:spcBef>
                <a:spcPts val="1000"/>
              </a:spcBef>
              <a:spcAft>
                <a:spcPts val="900"/>
              </a:spcAft>
              <a:buFont typeface="Arial" panose="020B0604020202020204" pitchFamily="34" charset="0"/>
              <a:buNone/>
              <a:defRPr sz="1750" kern="1200">
                <a:solidFill>
                  <a:schemeClr val="accent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4pPr>
            <a:lvl5pPr marL="0" indent="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buNone/>
            </a:pPr>
            <a:r>
              <a:rPr lang="nb-NO" sz="1400" b="1">
                <a:solidFill>
                  <a:schemeClr val="accent1"/>
                </a:solidFill>
              </a:rPr>
              <a:t>Agil Metodikk</a:t>
            </a:r>
          </a:p>
          <a:p>
            <a:pPr fontAlgn="base"/>
            <a:endParaRPr lang="nb-NO" sz="1400"/>
          </a:p>
          <a:p>
            <a:pPr fontAlgn="base"/>
            <a:r>
              <a:rPr lang="nb-NO" sz="1400"/>
              <a:t>Den agile metoden er Iterativ og utvikler funksjonalitet i sprinter</a:t>
            </a:r>
          </a:p>
          <a:p>
            <a:pPr fontAlgn="base"/>
            <a:r>
              <a:rPr lang="nb-NO" sz="1400"/>
              <a:t>Behovene detaljeres i tett samarbeid i utviklingsfasen av sprintene og i de tverrfaglige teamene</a:t>
            </a:r>
          </a:p>
          <a:p>
            <a:pPr fontAlgn="base"/>
            <a:r>
              <a:rPr lang="nb-NO" sz="1400"/>
              <a:t>Kontinuerlig forbedring med regelmessige evalueringer og tilpasninger etter hver sprint</a:t>
            </a:r>
          </a:p>
          <a:p>
            <a:pPr fontAlgn="base"/>
            <a:r>
              <a:rPr lang="nb-NO" sz="1400"/>
              <a:t>Hyppige leveranser med funksjonalitet slik at brukergruppen kan gi tilbakemelding raskt og endringer kan iverksettes med en gang</a:t>
            </a:r>
          </a:p>
          <a:p>
            <a:pPr fontAlgn="base"/>
            <a:endParaRPr lang="nb-NO"/>
          </a:p>
          <a:p>
            <a:pPr marL="457200" lvl="1" indent="0">
              <a:buFont typeface="Inter" panose="02000503000000020004" pitchFamily="2" charset="0"/>
              <a:buNone/>
            </a:pPr>
            <a:endParaRPr lang="nb-NO"/>
          </a:p>
        </p:txBody>
      </p:sp>
      <p:sp>
        <p:nvSpPr>
          <p:cNvPr id="102" name="Content Placeholder 2">
            <a:extLst>
              <a:ext uri="{FF2B5EF4-FFF2-40B4-BE49-F238E27FC236}">
                <a16:creationId xmlns:a16="http://schemas.microsoft.com/office/drawing/2014/main" id="{5ADDC90F-52FC-7FD0-842C-86991344FCF1}"/>
              </a:ext>
            </a:extLst>
          </p:cNvPr>
          <p:cNvSpPr txBox="1">
            <a:spLocks/>
          </p:cNvSpPr>
          <p:nvPr/>
        </p:nvSpPr>
        <p:spPr>
          <a:xfrm>
            <a:off x="6570663" y="1085827"/>
            <a:ext cx="4566598" cy="14754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5840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6800" indent="-157957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Font typeface="Inter" panose="02000503000000020004" pitchFamily="2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520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SzPct val="80000"/>
              <a:buFont typeface="Courier New" panose="02070309020205020404" pitchFamily="49" charset="0"/>
              <a:buChar char="o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fontAlgn="ctr" latinLnBrk="0" hangingPunct="1">
              <a:lnSpc>
                <a:spcPct val="111000"/>
              </a:lnSpc>
              <a:spcBef>
                <a:spcPts val="1000"/>
              </a:spcBef>
              <a:spcAft>
                <a:spcPts val="900"/>
              </a:spcAft>
              <a:buFont typeface="Arial" panose="020B0604020202020204" pitchFamily="34" charset="0"/>
              <a:buNone/>
              <a:defRPr sz="1750" kern="1200">
                <a:solidFill>
                  <a:schemeClr val="accent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4pPr>
            <a:lvl5pPr marL="0" indent="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buNone/>
            </a:pPr>
            <a:r>
              <a:rPr lang="nb-NO" sz="1400" b="1">
                <a:solidFill>
                  <a:schemeClr val="accent1"/>
                </a:solidFill>
              </a:rPr>
              <a:t>Fossefallsmetodikk</a:t>
            </a:r>
          </a:p>
          <a:p>
            <a:pPr fontAlgn="base"/>
            <a:endParaRPr lang="nb-NO" sz="1400"/>
          </a:p>
          <a:p>
            <a:pPr fontAlgn="base"/>
            <a:r>
              <a:rPr lang="nb-NO" sz="1400"/>
              <a:t>Prosjektet deles inn i faser som må fullføres i rekkefølge</a:t>
            </a:r>
          </a:p>
          <a:p>
            <a:pPr fontAlgn="base"/>
            <a:r>
              <a:rPr lang="nb-NO" sz="1400"/>
              <a:t>Kravene er definert i starten  av prosjektet</a:t>
            </a:r>
          </a:p>
          <a:p>
            <a:pPr fontAlgn="base"/>
            <a:r>
              <a:rPr lang="nb-NO" sz="1400"/>
              <a:t>Omfattende dokumentasjon er viktig i hver fase.</a:t>
            </a:r>
          </a:p>
          <a:p>
            <a:pPr fontAlgn="base"/>
            <a:r>
              <a:rPr lang="nb-NO" sz="1400"/>
              <a:t>Lite fleksibilitet og endringer er vanskelige å implementere etter at prosjektet har startet.</a:t>
            </a:r>
          </a:p>
          <a:p>
            <a:pPr fontAlgn="base"/>
            <a:r>
              <a:rPr lang="nb-NO" sz="1400"/>
              <a:t>Produktet leveres i sin helhet etter at alle faser er fullført.</a:t>
            </a:r>
          </a:p>
          <a:p>
            <a:pPr marL="457200" lvl="1" indent="0">
              <a:buFont typeface="Inter" panose="02000503000000020004" pitchFamily="2" charset="0"/>
              <a:buNone/>
            </a:pPr>
            <a:endParaRPr lang="nb-NO"/>
          </a:p>
          <a:p>
            <a:pPr fontAlgn="base"/>
            <a:endParaRPr lang="nb-NO"/>
          </a:p>
          <a:p>
            <a:pPr marL="457200" lvl="1" indent="0">
              <a:buFont typeface="Inter" panose="02000503000000020004" pitchFamily="2" charset="0"/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9897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29C854-9450-9571-775A-32B8BCCCD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think-cell data - do not delete" hidden="1">
            <a:extLst>
              <a:ext uri="{FF2B5EF4-FFF2-40B4-BE49-F238E27FC236}">
                <a16:creationId xmlns:a16="http://schemas.microsoft.com/office/drawing/2014/main" id="{E8EA3F10-6C67-3D3C-15FF-11112BFB5C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571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EA3F10-6C67-3D3C-15FF-11112BFB5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19">
            <a:extLst>
              <a:ext uri="{FF2B5EF4-FFF2-40B4-BE49-F238E27FC236}">
                <a16:creationId xmlns:a16="http://schemas.microsoft.com/office/drawing/2014/main" id="{B1D95A24-EBF1-BCE9-FA18-A5E9C497EDDF}"/>
              </a:ext>
            </a:extLst>
          </p:cNvPr>
          <p:cNvSpPr/>
          <p:nvPr/>
        </p:nvSpPr>
        <p:spPr>
          <a:xfrm>
            <a:off x="5990557" y="5066481"/>
            <a:ext cx="5986556" cy="13895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9" name="Google Shape;1007;g2e0683f995c_0_0">
            <a:extLst>
              <a:ext uri="{FF2B5EF4-FFF2-40B4-BE49-F238E27FC236}">
                <a16:creationId xmlns:a16="http://schemas.microsoft.com/office/drawing/2014/main" id="{7937F7A5-167E-EBB0-038E-2DB61827A27B}"/>
              </a:ext>
            </a:extLst>
          </p:cNvPr>
          <p:cNvSpPr txBox="1">
            <a:spLocks/>
          </p:cNvSpPr>
          <p:nvPr/>
        </p:nvSpPr>
        <p:spPr>
          <a:xfrm>
            <a:off x="382000" y="486981"/>
            <a:ext cx="11520900" cy="538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nb-NO" sz="22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rPr>
              <a:t>Agil Arbeidsmetode| </a:t>
            </a: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rPr>
              <a:t>Fordeler ved Agil Produktutvikling</a:t>
            </a:r>
            <a:endParaRPr kumimoji="0" lang="nb-NO" sz="2200" b="0" i="0" u="none" strike="noStrike" kern="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Calibri"/>
              <a:cs typeface="Calibri"/>
              <a:sym typeface="Calibri"/>
            </a:endParaRPr>
          </a:p>
        </p:txBody>
      </p:sp>
      <p:pic>
        <p:nvPicPr>
          <p:cNvPr id="2" name="Bilde 1" descr="Et bilde som inneholder tekst, diagram&#10;&#10;Automatisk generert beskrivelse">
            <a:extLst>
              <a:ext uri="{FF2B5EF4-FFF2-40B4-BE49-F238E27FC236}">
                <a16:creationId xmlns:a16="http://schemas.microsoft.com/office/drawing/2014/main" id="{057D3D8F-4092-EB70-52F8-B5F54058FD9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5824" y="1096720"/>
            <a:ext cx="5107251" cy="375697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651DB42D-11BE-DC75-7AA5-EAEDDBEE2228}"/>
              </a:ext>
            </a:extLst>
          </p:cNvPr>
          <p:cNvSpPr txBox="1"/>
          <p:nvPr/>
        </p:nvSpPr>
        <p:spPr>
          <a:xfrm>
            <a:off x="382000" y="1479748"/>
            <a:ext cx="5714000" cy="389850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nb-NO" sz="1600">
                <a:solidFill>
                  <a:schemeClr val="tx1"/>
                </a:solidFill>
              </a:rPr>
              <a:t>Når mange velger å jobbe agilt er det ofte på grunn av flere fordeler som den agile fremgangsmåten tilbyr:</a:t>
            </a:r>
          </a:p>
          <a:p>
            <a:pPr marL="171450" indent="-1714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Økt fleksibilitet og tilpasningsevne</a:t>
            </a:r>
          </a:p>
          <a:p>
            <a:pPr marL="171450" indent="-1714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Forbedret kvalitet gjennom tverrfaglige team</a:t>
            </a:r>
          </a:p>
          <a:p>
            <a:pPr marL="171450" indent="-1714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Rask utvikling og leveranse av funksjonalitet</a:t>
            </a:r>
          </a:p>
          <a:p>
            <a:pPr marL="171450" indent="-1714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Kontinuerlig forbedringer i utviklingsfasen</a:t>
            </a:r>
          </a:p>
          <a:p>
            <a:pPr marL="171450" indent="-1714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Økt engasjement og økt grad av brukerinvolvering med fagpersoner fra fylkeskommunene inn i utviklingsteamene</a:t>
            </a:r>
          </a:p>
          <a:p>
            <a:pPr marL="171450" indent="-1714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Transparens i utviklingen av systemet</a:t>
            </a:r>
          </a:p>
          <a:p>
            <a:pPr marL="171450" indent="-1714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Redusert risiko for å utvikle feil funksjonalitet 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4F0575D0-D498-6EE3-4A37-341BFC10D77C}"/>
              </a:ext>
            </a:extLst>
          </p:cNvPr>
          <p:cNvSpPr txBox="1">
            <a:spLocks/>
          </p:cNvSpPr>
          <p:nvPr/>
        </p:nvSpPr>
        <p:spPr>
          <a:xfrm>
            <a:off x="5990556" y="5066481"/>
            <a:ext cx="5912344" cy="1389598"/>
          </a:xfrm>
          <a:prstGeom prst="rect">
            <a:avLst/>
          </a:prstGeom>
        </p:spPr>
        <p:txBody>
          <a:bodyPr/>
          <a:lstStyle>
            <a:lvl1pPr marL="15840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6800" indent="-157957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Font typeface="Inter" panose="02000503000000020004" pitchFamily="2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5200" indent="-15840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SzPct val="80000"/>
              <a:buFont typeface="Courier New" panose="02070309020205020404" pitchFamily="49" charset="0"/>
              <a:buChar char="o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fontAlgn="ctr" latinLnBrk="0" hangingPunct="1">
              <a:lnSpc>
                <a:spcPct val="111000"/>
              </a:lnSpc>
              <a:spcBef>
                <a:spcPts val="1000"/>
              </a:spcBef>
              <a:spcAft>
                <a:spcPts val="900"/>
              </a:spcAft>
              <a:buFont typeface="Arial" panose="020B0604020202020204" pitchFamily="34" charset="0"/>
              <a:buNone/>
              <a:defRPr sz="1750" kern="1200">
                <a:solidFill>
                  <a:schemeClr val="accent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4pPr>
            <a:lvl5pPr marL="0" indent="0" algn="l" defTabSz="914400" rtl="0" eaLnBrk="1" fontAlgn="ctr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fontAlgn="ctr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43" lvl="1" indent="0">
              <a:buFont typeface="Inter" panose="02000503000000020004" pitchFamily="2" charset="0"/>
              <a:buNone/>
            </a:pPr>
            <a:r>
              <a:rPr lang="nb-NO" b="1"/>
              <a:t>Hva må vi tenke på for å lykkes med metodikken i moderniseringen av VIGO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/>
              <a:t>Tilpasse metodikken til prosjektet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/>
              <a:t>Analysere behovet nok til å forstå når en prosess kan lansere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/>
              <a:t>Avhengigheter mellom prosessene </a:t>
            </a:r>
          </a:p>
          <a:p>
            <a:pPr marL="158843" lvl="1" indent="0">
              <a:buFont typeface="Inter" panose="02000503000000020004" pitchFamily="2" charset="0"/>
              <a:buNone/>
            </a:pPr>
            <a:endParaRPr lang="nb-NO" b="1"/>
          </a:p>
          <a:p>
            <a:pPr lvl="1"/>
            <a:endParaRPr lang="nb-NO"/>
          </a:p>
          <a:p>
            <a:pPr lvl="1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3009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4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i">
  <a:themeElements>
    <a:clrScheme name="Novari">
      <a:dk1>
        <a:srgbClr val="0D0D0D"/>
      </a:dk1>
      <a:lt1>
        <a:srgbClr val="FFFFFF"/>
      </a:lt1>
      <a:dk2>
        <a:srgbClr val="570F31"/>
      </a:dk2>
      <a:lt2>
        <a:srgbClr val="F8ECDC"/>
      </a:lt2>
      <a:accent1>
        <a:srgbClr val="6B133D"/>
      </a:accent1>
      <a:accent2>
        <a:srgbClr val="7F78E8"/>
      </a:accent2>
      <a:accent3>
        <a:srgbClr val="F76650"/>
      </a:accent3>
      <a:accent4>
        <a:srgbClr val="570F31"/>
      </a:accent4>
      <a:accent5>
        <a:srgbClr val="FBB3A8"/>
      </a:accent5>
      <a:accent6>
        <a:srgbClr val="5A51E1"/>
      </a:accent6>
      <a:hlink>
        <a:srgbClr val="5A51E1"/>
      </a:hlink>
      <a:folHlink>
        <a:srgbClr val="570F31"/>
      </a:folHlink>
    </a:clrScheme>
    <a:fontScheme name="Inter">
      <a:majorFont>
        <a:latin typeface="Inter"/>
        <a:ea typeface=""/>
        <a:cs typeface=""/>
      </a:majorFont>
      <a:minorFont>
        <a:latin typeface="Inter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>
          <a:noFill/>
        </a:ln>
        <a:effectLst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accent1"/>
            </a:solidFill>
          </a:defRPr>
        </a:defPPr>
      </a:lstStyle>
      <a:style>
        <a:lnRef idx="0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novari_mal" id="{7741D5D2-0CE7-4EE8-B7F1-3B923E3E17B5}" vid="{B6DA05DE-C9FF-4D08-982E-C471DA7E6D57}"/>
    </a:ext>
  </a:extLst>
</a:theme>
</file>

<file path=ppt/theme/theme2.xml><?xml version="1.0" encoding="utf-8"?>
<a:theme xmlns:a="http://schemas.openxmlformats.org/drawingml/2006/main" name="1_Novari">
  <a:themeElements>
    <a:clrScheme name="Novari">
      <a:dk1>
        <a:srgbClr val="0D0D0D"/>
      </a:dk1>
      <a:lt1>
        <a:srgbClr val="FFFFFF"/>
      </a:lt1>
      <a:dk2>
        <a:srgbClr val="570F31"/>
      </a:dk2>
      <a:lt2>
        <a:srgbClr val="F8ECDC"/>
      </a:lt2>
      <a:accent1>
        <a:srgbClr val="6B133D"/>
      </a:accent1>
      <a:accent2>
        <a:srgbClr val="7F78E8"/>
      </a:accent2>
      <a:accent3>
        <a:srgbClr val="F76650"/>
      </a:accent3>
      <a:accent4>
        <a:srgbClr val="570F31"/>
      </a:accent4>
      <a:accent5>
        <a:srgbClr val="FBB3A8"/>
      </a:accent5>
      <a:accent6>
        <a:srgbClr val="5A51E1"/>
      </a:accent6>
      <a:hlink>
        <a:srgbClr val="5A51E1"/>
      </a:hlink>
      <a:folHlink>
        <a:srgbClr val="570F31"/>
      </a:folHlink>
    </a:clrScheme>
    <a:fontScheme name="Inter">
      <a:majorFont>
        <a:latin typeface="Inter"/>
        <a:ea typeface=""/>
        <a:cs typeface=""/>
      </a:majorFont>
      <a:minorFont>
        <a:latin typeface="Inter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>
          <a:noFill/>
        </a:ln>
        <a:effectLst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accent1"/>
            </a:solidFill>
          </a:defRPr>
        </a:defPPr>
      </a:lstStyle>
      <a:style>
        <a:lnRef idx="0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novari_mal" id="{7741D5D2-0CE7-4EE8-B7F1-3B923E3E17B5}" vid="{B6DA05DE-C9FF-4D08-982E-C471DA7E6D57}"/>
    </a:ext>
  </a:extLst>
</a:theme>
</file>

<file path=ppt/theme/theme3.xml><?xml version="1.0" encoding="utf-8"?>
<a:theme xmlns:a="http://schemas.openxmlformats.org/drawingml/2006/main" name="2_Novari">
  <a:themeElements>
    <a:clrScheme name="Novari">
      <a:dk1>
        <a:srgbClr val="0D0D0D"/>
      </a:dk1>
      <a:lt1>
        <a:srgbClr val="FFFFFF"/>
      </a:lt1>
      <a:dk2>
        <a:srgbClr val="570F31"/>
      </a:dk2>
      <a:lt2>
        <a:srgbClr val="F8ECDC"/>
      </a:lt2>
      <a:accent1>
        <a:srgbClr val="6B133D"/>
      </a:accent1>
      <a:accent2>
        <a:srgbClr val="7F78E8"/>
      </a:accent2>
      <a:accent3>
        <a:srgbClr val="F76650"/>
      </a:accent3>
      <a:accent4>
        <a:srgbClr val="570F31"/>
      </a:accent4>
      <a:accent5>
        <a:srgbClr val="FBB3A8"/>
      </a:accent5>
      <a:accent6>
        <a:srgbClr val="5A51E1"/>
      </a:accent6>
      <a:hlink>
        <a:srgbClr val="5A51E1"/>
      </a:hlink>
      <a:folHlink>
        <a:srgbClr val="570F31"/>
      </a:folHlink>
    </a:clrScheme>
    <a:fontScheme name="Inter">
      <a:majorFont>
        <a:latin typeface="Inter"/>
        <a:ea typeface=""/>
        <a:cs typeface=""/>
      </a:majorFont>
      <a:minorFont>
        <a:latin typeface="Inter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>
          <a:noFill/>
        </a:ln>
        <a:effectLst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accent1"/>
            </a:solidFill>
          </a:defRPr>
        </a:defPPr>
      </a:lstStyle>
      <a:style>
        <a:lnRef idx="0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novari_mal" id="{7741D5D2-0CE7-4EE8-B7F1-3B923E3E17B5}" vid="{B6DA05DE-C9FF-4D08-982E-C471DA7E6D57}"/>
    </a:ext>
  </a:extLst>
</a:theme>
</file>

<file path=ppt/theme/theme4.xml><?xml version="1.0" encoding="utf-8"?>
<a:theme xmlns:a="http://schemas.openxmlformats.org/drawingml/2006/main" name="3_Novari">
  <a:themeElements>
    <a:clrScheme name="Novari">
      <a:dk1>
        <a:srgbClr val="0D0D0D"/>
      </a:dk1>
      <a:lt1>
        <a:srgbClr val="FFFFFF"/>
      </a:lt1>
      <a:dk2>
        <a:srgbClr val="570F31"/>
      </a:dk2>
      <a:lt2>
        <a:srgbClr val="F8ECDC"/>
      </a:lt2>
      <a:accent1>
        <a:srgbClr val="6B133D"/>
      </a:accent1>
      <a:accent2>
        <a:srgbClr val="7F78E8"/>
      </a:accent2>
      <a:accent3>
        <a:srgbClr val="F76650"/>
      </a:accent3>
      <a:accent4>
        <a:srgbClr val="570F31"/>
      </a:accent4>
      <a:accent5>
        <a:srgbClr val="FBB3A8"/>
      </a:accent5>
      <a:accent6>
        <a:srgbClr val="5A51E1"/>
      </a:accent6>
      <a:hlink>
        <a:srgbClr val="5A51E1"/>
      </a:hlink>
      <a:folHlink>
        <a:srgbClr val="570F31"/>
      </a:folHlink>
    </a:clrScheme>
    <a:fontScheme name="Inter">
      <a:majorFont>
        <a:latin typeface="Inter"/>
        <a:ea typeface=""/>
        <a:cs typeface=""/>
      </a:majorFont>
      <a:minorFont>
        <a:latin typeface="Inter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>
          <a:noFill/>
        </a:ln>
        <a:effectLst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accent1"/>
            </a:solidFill>
          </a:defRPr>
        </a:defPPr>
      </a:lstStyle>
      <a:style>
        <a:lnRef idx="0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novari_mal" id="{7741D5D2-0CE7-4EE8-B7F1-3B923E3E17B5}" vid="{B6DA05DE-C9FF-4D08-982E-C471DA7E6D57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307069b-67f2-4216-aed1-f2f7862bf94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55DF83BC07CB54CA278962DEC505ADF" ma:contentTypeVersion="12" ma:contentTypeDescription="Opprett et nytt dokument." ma:contentTypeScope="" ma:versionID="c9ddc87e6256d91da4a1e13d17f3fbd6">
  <xsd:schema xmlns:xsd="http://www.w3.org/2001/XMLSchema" xmlns:xs="http://www.w3.org/2001/XMLSchema" xmlns:p="http://schemas.microsoft.com/office/2006/metadata/properties" xmlns:ns2="f307069b-67f2-4216-aed1-f2f7862bf94c" xmlns:ns3="fd3e8b7d-fdbe-4383-84a9-e440df2cdb02" targetNamespace="http://schemas.microsoft.com/office/2006/metadata/properties" ma:root="true" ma:fieldsID="33efbbc509d3fe9130e6ee13a5ddd1cf" ns2:_="" ns3:_="">
    <xsd:import namespace="f307069b-67f2-4216-aed1-f2f7862bf94c"/>
    <xsd:import namespace="fd3e8b7d-fdbe-4383-84a9-e440df2cdb0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07069b-67f2-4216-aed1-f2f7862bf9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ildemerkelapper" ma:readOnly="false" ma:fieldId="{5cf76f15-5ced-4ddc-b409-7134ff3c332f}" ma:taxonomyMulti="true" ma:sspId="875eb0eb-fbd3-4028-abcf-55f8c06e8dc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e8b7d-fdbe-4383-84a9-e440df2cdb0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E05C23-E2FB-4455-88F4-2670562440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D14274-B425-4744-B869-94E1CDA1EF34}">
  <ds:schemaRefs>
    <ds:schemaRef ds:uri="f307069b-67f2-4216-aed1-f2f7862bf94c"/>
    <ds:schemaRef ds:uri="fd3e8b7d-fdbe-4383-84a9-e440df2cdb0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E4C9BED-0D22-4468-9A01-AF1E612A7BAD}">
  <ds:schemaRefs>
    <ds:schemaRef ds:uri="f307069b-67f2-4216-aed1-f2f7862bf94c"/>
    <ds:schemaRef ds:uri="fd3e8b7d-fdbe-4383-84a9-e440df2cdb0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vari_mal</Template>
  <Application>Microsoft Office PowerPoint</Application>
  <PresentationFormat>Widescreen</PresentationFormat>
  <Slides>20</Slides>
  <Notes>6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Novari</vt:lpstr>
      <vt:lpstr>1_Novari</vt:lpstr>
      <vt:lpstr>2_Novari</vt:lpstr>
      <vt:lpstr>3_Novari</vt:lpstr>
      <vt:lpstr>PowerPoint Presentation</vt:lpstr>
      <vt:lpstr>PowerPoint Presentation</vt:lpstr>
      <vt:lpstr>PowerPoint Presentation</vt:lpstr>
      <vt:lpstr>Statusoppdatering VIGO moderniseringen</vt:lpstr>
      <vt:lpstr>PowerPoint Presentation</vt:lpstr>
      <vt:lpstr>PowerPoint Presentation</vt:lpstr>
      <vt:lpstr>PowerPoint Presentation</vt:lpstr>
      <vt:lpstr>Agil VS Fossefallsmetodikk i utvikling av IT systemer</vt:lpstr>
      <vt:lpstr>PowerPoint Presentation</vt:lpstr>
      <vt:lpstr>PowerPoint Presentation</vt:lpstr>
      <vt:lpstr>PowerPoint Presentation</vt:lpstr>
      <vt:lpstr>Medvirkning</vt:lpstr>
      <vt:lpstr>PowerPoint Presentation</vt:lpstr>
      <vt:lpstr>PowerPoint Presentation</vt:lpstr>
      <vt:lpstr>PowerPoint Presentation</vt:lpstr>
      <vt:lpstr>Nettside  Novari.no </vt:lpstr>
      <vt:lpstr> </vt:lpstr>
      <vt:lpstr>  </vt:lpstr>
      <vt:lpstr>Alle spørsmål angående VIGO moderniseringen kan rettes til:  Anne Synnøve Sundsteigen anne.synnove.sundsteigen@novari.no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enedicte Aas Glad (NO)</dc:creator>
  <cp:revision>1</cp:revision>
  <dcterms:created xsi:type="dcterms:W3CDTF">2025-01-22T13:14:48Z</dcterms:created>
  <dcterms:modified xsi:type="dcterms:W3CDTF">2025-10-29T11:3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5DF83BC07CB54CA278962DEC505ADF</vt:lpwstr>
  </property>
  <property fmtid="{D5CDD505-2E9C-101B-9397-08002B2CF9AE}" pid="3" name="MediaServiceImageTags">
    <vt:lpwstr/>
  </property>
</Properties>
</file>